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75" r:id="rId5"/>
    <p:sldMasterId id="2147484495" r:id="rId6"/>
    <p:sldMasterId id="2147484517" r:id="rId7"/>
  </p:sldMasterIdLst>
  <p:notesMasterIdLst>
    <p:notesMasterId r:id="rId52"/>
  </p:notesMasterIdLst>
  <p:handoutMasterIdLst>
    <p:handoutMasterId r:id="rId53"/>
  </p:handoutMasterIdLst>
  <p:sldIdLst>
    <p:sldId id="1607" r:id="rId8"/>
    <p:sldId id="1608" r:id="rId9"/>
    <p:sldId id="1641" r:id="rId10"/>
    <p:sldId id="1642" r:id="rId11"/>
    <p:sldId id="1582" r:id="rId12"/>
    <p:sldId id="1555" r:id="rId13"/>
    <p:sldId id="1554" r:id="rId14"/>
    <p:sldId id="1557" r:id="rId15"/>
    <p:sldId id="1570" r:id="rId16"/>
    <p:sldId id="1572" r:id="rId17"/>
    <p:sldId id="1556" r:id="rId18"/>
    <p:sldId id="1558" r:id="rId19"/>
    <p:sldId id="1618" r:id="rId20"/>
    <p:sldId id="1559" r:id="rId21"/>
    <p:sldId id="1576" r:id="rId22"/>
    <p:sldId id="1603" r:id="rId23"/>
    <p:sldId id="1627" r:id="rId24"/>
    <p:sldId id="1635" r:id="rId25"/>
    <p:sldId id="1621" r:id="rId26"/>
    <p:sldId id="1614" r:id="rId27"/>
    <p:sldId id="1611" r:id="rId28"/>
    <p:sldId id="1622" r:id="rId29"/>
    <p:sldId id="1623" r:id="rId30"/>
    <p:sldId id="1628" r:id="rId31"/>
    <p:sldId id="1617" r:id="rId32"/>
    <p:sldId id="1616" r:id="rId33"/>
    <p:sldId id="1637" r:id="rId34"/>
    <p:sldId id="1629" r:id="rId35"/>
    <p:sldId id="1638" r:id="rId36"/>
    <p:sldId id="1645" r:id="rId37"/>
    <p:sldId id="1631" r:id="rId38"/>
    <p:sldId id="1639" r:id="rId39"/>
    <p:sldId id="1646" r:id="rId40"/>
    <p:sldId id="1632" r:id="rId41"/>
    <p:sldId id="1640" r:id="rId42"/>
    <p:sldId id="1647" r:id="rId43"/>
    <p:sldId id="1633" r:id="rId44"/>
    <p:sldId id="1650" r:id="rId45"/>
    <p:sldId id="1648" r:id="rId46"/>
    <p:sldId id="1649" r:id="rId47"/>
    <p:sldId id="1643" r:id="rId48"/>
    <p:sldId id="1634" r:id="rId49"/>
    <p:sldId id="1597" r:id="rId50"/>
    <p:sldId id="1620" r:id="rId5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A0252C9D-1D6B-42F9-BA63-F39DC4D8B635}">
          <p14:sldIdLst>
            <p14:sldId id="1607"/>
            <p14:sldId id="1608"/>
            <p14:sldId id="1641"/>
            <p14:sldId id="1642"/>
            <p14:sldId id="1582"/>
            <p14:sldId id="1555"/>
            <p14:sldId id="1554"/>
            <p14:sldId id="1557"/>
            <p14:sldId id="1570"/>
            <p14:sldId id="1572"/>
            <p14:sldId id="1556"/>
            <p14:sldId id="1558"/>
            <p14:sldId id="1618"/>
            <p14:sldId id="1559"/>
          </p14:sldIdLst>
        </p14:section>
        <p14:section name="Databricks" id="{16A87369-8BF2-4041-8E8A-6B57BC583656}">
          <p14:sldIdLst>
            <p14:sldId id="1576"/>
            <p14:sldId id="1603"/>
            <p14:sldId id="1627"/>
            <p14:sldId id="1635"/>
            <p14:sldId id="1621"/>
            <p14:sldId id="1614"/>
            <p14:sldId id="1611"/>
            <p14:sldId id="1622"/>
            <p14:sldId id="1623"/>
            <p14:sldId id="1628"/>
            <p14:sldId id="1617"/>
            <p14:sldId id="1616"/>
            <p14:sldId id="1637"/>
            <p14:sldId id="1629"/>
            <p14:sldId id="1638"/>
            <p14:sldId id="1645"/>
            <p14:sldId id="1631"/>
            <p14:sldId id="1639"/>
            <p14:sldId id="1646"/>
            <p14:sldId id="1632"/>
            <p14:sldId id="1640"/>
            <p14:sldId id="1647"/>
            <p14:sldId id="1633"/>
            <p14:sldId id="1650"/>
            <p14:sldId id="1648"/>
            <p14:sldId id="1649"/>
            <p14:sldId id="1643"/>
            <p14:sldId id="1634"/>
          </p14:sldIdLst>
        </p14:section>
        <p14:section name="Done" id="{AE92B651-D308-4E9F-B040-D39921184707}">
          <p14:sldIdLst>
            <p14:sldId id="1597"/>
            <p14:sldId id="1620"/>
          </p14:sldIdLst>
        </p14:section>
        <p14:section name="Dark Gray template" id="{BB00CB64-77A4-4BA9-B0A0-EF2154DA30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C00"/>
    <a:srgbClr val="FBFDFF"/>
    <a:srgbClr val="002050"/>
    <a:srgbClr val="000E22"/>
    <a:srgbClr val="001B42"/>
    <a:srgbClr val="0078D7"/>
    <a:srgbClr val="003582"/>
    <a:srgbClr val="3393DF"/>
    <a:srgbClr val="FFFFFF"/>
    <a:srgbClr val="218A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3B25E7-64DB-4C9E-8CFB-AC78AEDEF5A2}" v="1994" dt="2018-04-20T14:32:49.5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888" autoAdjust="0"/>
  </p:normalViewPr>
  <p:slideViewPr>
    <p:cSldViewPr>
      <p:cViewPr>
        <p:scale>
          <a:sx n="75" d="100"/>
          <a:sy n="75" d="100"/>
        </p:scale>
        <p:origin x="1896" y="318"/>
      </p:cViewPr>
      <p:guideLst/>
    </p:cSldViewPr>
  </p:slideViewPr>
  <p:outlineViewPr>
    <p:cViewPr>
      <p:scale>
        <a:sx n="33" d="100"/>
        <a:sy n="33" d="100"/>
      </p:scale>
      <p:origin x="0" y="-456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93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ce Lofranco" userId="1515141e-a2ed-4ab4-a66f-6db2dda82fd4" providerId="ADAL" clId="{C7CF28B1-BD21-4B84-881F-EB9ECF147DEB}"/>
    <pc:docChg chg="undo custSel addSld delSld modSld sldOrd modMainMaster modSection">
      <pc:chgData name="Lace Lofranco" userId="1515141e-a2ed-4ab4-a66f-6db2dda82fd4" providerId="ADAL" clId="{C7CF28B1-BD21-4B84-881F-EB9ECF147DEB}" dt="2018-04-16T14:59:45.325" v="7281" actId="20577"/>
      <pc:docMkLst>
        <pc:docMk/>
      </pc:docMkLst>
      <pc:sldChg chg="modSp">
        <pc:chgData name="Lace Lofranco" userId="1515141e-a2ed-4ab4-a66f-6db2dda82fd4" providerId="ADAL" clId="{C7CF28B1-BD21-4B84-881F-EB9ECF147DEB}" dt="2018-04-16T01:06:24.587" v="5376" actId="20577"/>
        <pc:sldMkLst>
          <pc:docMk/>
          <pc:sldMk cId="3457239243" sldId="1554"/>
        </pc:sldMkLst>
        <pc:spChg chg="mod">
          <ac:chgData name="Lace Lofranco" userId="1515141e-a2ed-4ab4-a66f-6db2dda82fd4" providerId="ADAL" clId="{C7CF28B1-BD21-4B84-881F-EB9ECF147DEB}" dt="2018-04-16T01:06:24.587" v="5376" actId="20577"/>
          <ac:spMkLst>
            <pc:docMk/>
            <pc:sldMk cId="3457239243" sldId="1554"/>
            <ac:spMk id="8" creationId="{E15ED148-7651-44E6-9EA6-C95DEA4300F9}"/>
          </ac:spMkLst>
        </pc:spChg>
      </pc:sldChg>
      <pc:sldChg chg="add ord">
        <pc:chgData name="Lace Lofranco" userId="1515141e-a2ed-4ab4-a66f-6db2dda82fd4" providerId="ADAL" clId="{C7CF28B1-BD21-4B84-881F-EB9ECF147DEB}" dt="2018-04-15T08:19:46.445" v="760" actId="20577"/>
        <pc:sldMkLst>
          <pc:docMk/>
          <pc:sldMk cId="209868216" sldId="1556"/>
        </pc:sldMkLst>
      </pc:sldChg>
      <pc:sldChg chg="add">
        <pc:chgData name="Lace Lofranco" userId="1515141e-a2ed-4ab4-a66f-6db2dda82fd4" providerId="ADAL" clId="{C7CF28B1-BD21-4B84-881F-EB9ECF147DEB}" dt="2018-04-15T08:19:51.804" v="761" actId="20577"/>
        <pc:sldMkLst>
          <pc:docMk/>
          <pc:sldMk cId="1850964207" sldId="1558"/>
        </pc:sldMkLst>
      </pc:sldChg>
      <pc:sldChg chg="add ord">
        <pc:chgData name="Lace Lofranco" userId="1515141e-a2ed-4ab4-a66f-6db2dda82fd4" providerId="ADAL" clId="{C7CF28B1-BD21-4B84-881F-EB9ECF147DEB}" dt="2018-04-15T08:19:38.466" v="758" actId="20577"/>
        <pc:sldMkLst>
          <pc:docMk/>
          <pc:sldMk cId="1281881224" sldId="1570"/>
        </pc:sldMkLst>
      </pc:sldChg>
      <pc:sldChg chg="modSp">
        <pc:chgData name="Lace Lofranco" userId="1515141e-a2ed-4ab4-a66f-6db2dda82fd4" providerId="ADAL" clId="{C7CF28B1-BD21-4B84-881F-EB9ECF147DEB}" dt="2018-04-15T08:50:22.574" v="1541" actId="1076"/>
        <pc:sldMkLst>
          <pc:docMk/>
          <pc:sldMk cId="510808930" sldId="1576"/>
        </pc:sldMkLst>
        <pc:spChg chg="mod">
          <ac:chgData name="Lace Lofranco" userId="1515141e-a2ed-4ab4-a66f-6db2dda82fd4" providerId="ADAL" clId="{C7CF28B1-BD21-4B84-881F-EB9ECF147DEB}" dt="2018-04-15T08:35:57.580" v="1363" actId="20577"/>
          <ac:spMkLst>
            <pc:docMk/>
            <pc:sldMk cId="510808930" sldId="1576"/>
            <ac:spMk id="2" creationId="{BD88855E-8E5D-4E33-A6F6-30092BB1C540}"/>
          </ac:spMkLst>
        </pc:spChg>
        <pc:picChg chg="mod">
          <ac:chgData name="Lace Lofranco" userId="1515141e-a2ed-4ab4-a66f-6db2dda82fd4" providerId="ADAL" clId="{C7CF28B1-BD21-4B84-881F-EB9ECF147DEB}" dt="2018-04-15T08:50:22.574" v="1541" actId="1076"/>
          <ac:picMkLst>
            <pc:docMk/>
            <pc:sldMk cId="510808930" sldId="1576"/>
            <ac:picMk id="1026" creationId="{E162CF20-8A2B-4CD1-B116-48D6A2CC7F20}"/>
          </ac:picMkLst>
        </pc:picChg>
      </pc:sldChg>
      <pc:sldChg chg="addSp delSp modSp">
        <pc:chgData name="Lace Lofranco" userId="1515141e-a2ed-4ab4-a66f-6db2dda82fd4" providerId="ADAL" clId="{C7CF28B1-BD21-4B84-881F-EB9ECF147DEB}" dt="2018-04-15T08:24:40.742" v="795" actId="478"/>
        <pc:sldMkLst>
          <pc:docMk/>
          <pc:sldMk cId="2711043393" sldId="1582"/>
        </pc:sldMkLst>
        <pc:spChg chg="mod">
          <ac:chgData name="Lace Lofranco" userId="1515141e-a2ed-4ab4-a66f-6db2dda82fd4" providerId="ADAL" clId="{C7CF28B1-BD21-4B84-881F-EB9ECF147DEB}" dt="2018-04-15T08:24:33.276" v="793" actId="20577"/>
          <ac:spMkLst>
            <pc:docMk/>
            <pc:sldMk cId="2711043393" sldId="1582"/>
            <ac:spMk id="2" creationId="{D4D5990F-8377-46B4-9411-EC7409972715}"/>
          </ac:spMkLst>
        </pc:spChg>
        <pc:picChg chg="add del mod">
          <ac:chgData name="Lace Lofranco" userId="1515141e-a2ed-4ab4-a66f-6db2dda82fd4" providerId="ADAL" clId="{C7CF28B1-BD21-4B84-881F-EB9ECF147DEB}" dt="2018-04-15T08:24:07.092" v="771" actId="478"/>
          <ac:picMkLst>
            <pc:docMk/>
            <pc:sldMk cId="2711043393" sldId="1582"/>
            <ac:picMk id="4" creationId="{BE10E52B-7B0D-4A9D-98BD-227B56A8A04E}"/>
          </ac:picMkLst>
        </pc:picChg>
        <pc:picChg chg="add del mod">
          <ac:chgData name="Lace Lofranco" userId="1515141e-a2ed-4ab4-a66f-6db2dda82fd4" providerId="ADAL" clId="{C7CF28B1-BD21-4B84-881F-EB9ECF147DEB}" dt="2018-04-15T08:23:11.506" v="767" actId="478"/>
          <ac:picMkLst>
            <pc:docMk/>
            <pc:sldMk cId="2711043393" sldId="1582"/>
            <ac:picMk id="1026" creationId="{622254AC-6E75-48B1-ACF2-9DAA141DEF8C}"/>
          </ac:picMkLst>
        </pc:picChg>
        <pc:picChg chg="add del mod">
          <ac:chgData name="Lace Lofranco" userId="1515141e-a2ed-4ab4-a66f-6db2dda82fd4" providerId="ADAL" clId="{C7CF28B1-BD21-4B84-881F-EB9ECF147DEB}" dt="2018-04-15T08:24:40.742" v="795" actId="478"/>
          <ac:picMkLst>
            <pc:docMk/>
            <pc:sldMk cId="2711043393" sldId="1582"/>
            <ac:picMk id="1028" creationId="{E196BC40-274F-4093-991F-414628FF0B09}"/>
          </ac:picMkLst>
        </pc:picChg>
      </pc:sldChg>
      <pc:sldChg chg="modSp">
        <pc:chgData name="Lace Lofranco" userId="1515141e-a2ed-4ab4-a66f-6db2dda82fd4" providerId="ADAL" clId="{C7CF28B1-BD21-4B84-881F-EB9ECF147DEB}" dt="2018-04-16T14:59:45.325" v="7281" actId="20577"/>
        <pc:sldMkLst>
          <pc:docMk/>
          <pc:sldMk cId="4122495216" sldId="1597"/>
        </pc:sldMkLst>
        <pc:spChg chg="mod">
          <ac:chgData name="Lace Lofranco" userId="1515141e-a2ed-4ab4-a66f-6db2dda82fd4" providerId="ADAL" clId="{C7CF28B1-BD21-4B84-881F-EB9ECF147DEB}" dt="2018-04-16T14:59:45.325" v="7281" actId="20577"/>
          <ac:spMkLst>
            <pc:docMk/>
            <pc:sldMk cId="4122495216" sldId="1597"/>
            <ac:spMk id="3" creationId="{E0D031DD-8F12-445C-961A-3E30083B78A8}"/>
          </ac:spMkLst>
        </pc:spChg>
      </pc:sldChg>
      <pc:sldChg chg="addSp modSp modAnim">
        <pc:chgData name="Lace Lofranco" userId="1515141e-a2ed-4ab4-a66f-6db2dda82fd4" providerId="ADAL" clId="{C7CF28B1-BD21-4B84-881F-EB9ECF147DEB}" dt="2018-04-15T11:42:45.904" v="2024" actId="20577"/>
        <pc:sldMkLst>
          <pc:docMk/>
          <pc:sldMk cId="3641265229" sldId="1603"/>
        </pc:sldMkLst>
        <pc:spChg chg="mod">
          <ac:chgData name="Lace Lofranco" userId="1515141e-a2ed-4ab4-a66f-6db2dda82fd4" providerId="ADAL" clId="{C7CF28B1-BD21-4B84-881F-EB9ECF147DEB}" dt="2018-04-15T11:42:45.904" v="2024" actId="20577"/>
          <ac:spMkLst>
            <pc:docMk/>
            <pc:sldMk cId="3641265229" sldId="1603"/>
            <ac:spMk id="3" creationId="{CC0EC82D-97BA-4440-AADA-DA6F813A32A3}"/>
          </ac:spMkLst>
        </pc:spChg>
        <pc:spChg chg="add mod">
          <ac:chgData name="Lace Lofranco" userId="1515141e-a2ed-4ab4-a66f-6db2dda82fd4" providerId="ADAL" clId="{C7CF28B1-BD21-4B84-881F-EB9ECF147DEB}" dt="2018-04-15T08:55:24.862" v="1819" actId="1076"/>
          <ac:spMkLst>
            <pc:docMk/>
            <pc:sldMk cId="3641265229" sldId="1603"/>
            <ac:spMk id="4" creationId="{7E004467-35D3-4AB4-8E84-3705255C08D6}"/>
          </ac:spMkLst>
        </pc:spChg>
        <pc:spChg chg="add mod">
          <ac:chgData name="Lace Lofranco" userId="1515141e-a2ed-4ab4-a66f-6db2dda82fd4" providerId="ADAL" clId="{C7CF28B1-BD21-4B84-881F-EB9ECF147DEB}" dt="2018-04-15T08:55:24.862" v="1819" actId="1076"/>
          <ac:spMkLst>
            <pc:docMk/>
            <pc:sldMk cId="3641265229" sldId="1603"/>
            <ac:spMk id="5" creationId="{C9022B0B-F460-4F8C-B4C6-8735E0F6FFD5}"/>
          </ac:spMkLst>
        </pc:spChg>
        <pc:picChg chg="add mod">
          <ac:chgData name="Lace Lofranco" userId="1515141e-a2ed-4ab4-a66f-6db2dda82fd4" providerId="ADAL" clId="{C7CF28B1-BD21-4B84-881F-EB9ECF147DEB}" dt="2018-04-15T08:55:24.862" v="1819" actId="1076"/>
          <ac:picMkLst>
            <pc:docMk/>
            <pc:sldMk cId="3641265229" sldId="1603"/>
            <ac:picMk id="6" creationId="{57BE47EA-FCEA-4184-8D5D-D3DBC37160C3}"/>
          </ac:picMkLst>
        </pc:picChg>
      </pc:sldChg>
      <pc:sldChg chg="modSp add">
        <pc:chgData name="Lace Lofranco" userId="1515141e-a2ed-4ab4-a66f-6db2dda82fd4" providerId="ADAL" clId="{C7CF28B1-BD21-4B84-881F-EB9ECF147DEB}" dt="2018-04-15T08:08:36.681" v="266" actId="20577"/>
        <pc:sldMkLst>
          <pc:docMk/>
          <pc:sldMk cId="2099850975" sldId="1607"/>
        </pc:sldMkLst>
        <pc:spChg chg="mod">
          <ac:chgData name="Lace Lofranco" userId="1515141e-a2ed-4ab4-a66f-6db2dda82fd4" providerId="ADAL" clId="{C7CF28B1-BD21-4B84-881F-EB9ECF147DEB}" dt="2018-04-15T08:07:59.820" v="218" actId="20577"/>
          <ac:spMkLst>
            <pc:docMk/>
            <pc:sldMk cId="2099850975" sldId="1607"/>
            <ac:spMk id="2" creationId="{368D29AD-A1DB-4DC5-9900-9449C68FD9C9}"/>
          </ac:spMkLst>
        </pc:spChg>
        <pc:spChg chg="mod">
          <ac:chgData name="Lace Lofranco" userId="1515141e-a2ed-4ab4-a66f-6db2dda82fd4" providerId="ADAL" clId="{C7CF28B1-BD21-4B84-881F-EB9ECF147DEB}" dt="2018-04-15T08:08:28.002" v="233" actId="20577"/>
          <ac:spMkLst>
            <pc:docMk/>
            <pc:sldMk cId="2099850975" sldId="1607"/>
            <ac:spMk id="3" creationId="{2DB56B96-3DE9-4E07-A98D-40EACD0C4A86}"/>
          </ac:spMkLst>
        </pc:spChg>
        <pc:spChg chg="mod">
          <ac:chgData name="Lace Lofranco" userId="1515141e-a2ed-4ab4-a66f-6db2dda82fd4" providerId="ADAL" clId="{C7CF28B1-BD21-4B84-881F-EB9ECF147DEB}" dt="2018-04-15T08:08:36.681" v="266" actId="20577"/>
          <ac:spMkLst>
            <pc:docMk/>
            <pc:sldMk cId="2099850975" sldId="1607"/>
            <ac:spMk id="4" creationId="{54FAFECF-9A38-418C-BD9E-86A6EA29CDCD}"/>
          </ac:spMkLst>
        </pc:spChg>
      </pc:sldChg>
      <pc:sldChg chg="modSp add">
        <pc:chgData name="Lace Lofranco" userId="1515141e-a2ed-4ab4-a66f-6db2dda82fd4" providerId="ADAL" clId="{C7CF28B1-BD21-4B84-881F-EB9ECF147DEB}" dt="2018-04-15T14:24:14.212" v="3852" actId="20577"/>
        <pc:sldMkLst>
          <pc:docMk/>
          <pc:sldMk cId="4178280154" sldId="1608"/>
        </pc:sldMkLst>
        <pc:spChg chg="mod">
          <ac:chgData name="Lace Lofranco" userId="1515141e-a2ed-4ab4-a66f-6db2dda82fd4" providerId="ADAL" clId="{C7CF28B1-BD21-4B84-881F-EB9ECF147DEB}" dt="2018-04-15T08:11:54.357" v="295" actId="20577"/>
          <ac:spMkLst>
            <pc:docMk/>
            <pc:sldMk cId="4178280154" sldId="1608"/>
            <ac:spMk id="2" creationId="{75B664BF-33A4-4F3F-B072-7B3A9F1076EC}"/>
          </ac:spMkLst>
        </pc:spChg>
        <pc:spChg chg="mod">
          <ac:chgData name="Lace Lofranco" userId="1515141e-a2ed-4ab4-a66f-6db2dda82fd4" providerId="ADAL" clId="{C7CF28B1-BD21-4B84-881F-EB9ECF147DEB}" dt="2018-04-15T14:24:14.212" v="3852" actId="20577"/>
          <ac:spMkLst>
            <pc:docMk/>
            <pc:sldMk cId="4178280154" sldId="1608"/>
            <ac:spMk id="3" creationId="{84D93599-9759-43FA-9CC0-56489A769F6D}"/>
          </ac:spMkLst>
        </pc:spChg>
      </pc:sldChg>
      <pc:sldChg chg="addSp delSp modSp add ord">
        <pc:chgData name="Lace Lofranco" userId="1515141e-a2ed-4ab4-a66f-6db2dda82fd4" providerId="ADAL" clId="{C7CF28B1-BD21-4B84-881F-EB9ECF147DEB}" dt="2018-04-15T14:41:23.912" v="4189" actId="20577"/>
        <pc:sldMkLst>
          <pc:docMk/>
          <pc:sldMk cId="4276181787" sldId="1611"/>
        </pc:sldMkLst>
        <pc:spChg chg="mod">
          <ac:chgData name="Lace Lofranco" userId="1515141e-a2ed-4ab4-a66f-6db2dda82fd4" providerId="ADAL" clId="{C7CF28B1-BD21-4B84-881F-EB9ECF147DEB}" dt="2018-04-15T12:44:23.501" v="2725" actId="20577"/>
          <ac:spMkLst>
            <pc:docMk/>
            <pc:sldMk cId="4276181787" sldId="1611"/>
            <ac:spMk id="2" creationId="{47AB1A7F-4D77-4415-A1DD-7DA466310795}"/>
          </ac:spMkLst>
        </pc:spChg>
        <pc:spChg chg="del mod">
          <ac:chgData name="Lace Lofranco" userId="1515141e-a2ed-4ab4-a66f-6db2dda82fd4" providerId="ADAL" clId="{C7CF28B1-BD21-4B84-881F-EB9ECF147DEB}" dt="2018-04-15T12:58:12.077" v="2758" actId="478"/>
          <ac:spMkLst>
            <pc:docMk/>
            <pc:sldMk cId="4276181787" sldId="1611"/>
            <ac:spMk id="3" creationId="{089A75E8-12D9-498D-B3C9-33EED0D8DD72}"/>
          </ac:spMkLst>
        </pc:spChg>
        <pc:spChg chg="add del mod">
          <ac:chgData name="Lace Lofranco" userId="1515141e-a2ed-4ab4-a66f-6db2dda82fd4" providerId="ADAL" clId="{C7CF28B1-BD21-4B84-881F-EB9ECF147DEB}" dt="2018-04-15T13:00:20.512" v="2773" actId="478"/>
          <ac:spMkLst>
            <pc:docMk/>
            <pc:sldMk cId="4276181787" sldId="1611"/>
            <ac:spMk id="5" creationId="{D127B6F0-11B3-4CCF-84F6-D8C5FF815D7C}"/>
          </ac:spMkLst>
        </pc:spChg>
        <pc:spChg chg="add mod">
          <ac:chgData name="Lace Lofranco" userId="1515141e-a2ed-4ab4-a66f-6db2dda82fd4" providerId="ADAL" clId="{C7CF28B1-BD21-4B84-881F-EB9ECF147DEB}" dt="2018-04-15T13:52:34.791" v="3198" actId="164"/>
          <ac:spMkLst>
            <pc:docMk/>
            <pc:sldMk cId="4276181787" sldId="1611"/>
            <ac:spMk id="6" creationId="{F67E27F0-D33E-44C9-8CE4-7741E96685BE}"/>
          </ac:spMkLst>
        </pc:spChg>
        <pc:spChg chg="add del mod">
          <ac:chgData name="Lace Lofranco" userId="1515141e-a2ed-4ab4-a66f-6db2dda82fd4" providerId="ADAL" clId="{C7CF28B1-BD21-4B84-881F-EB9ECF147DEB}" dt="2018-04-15T12:59:49.970" v="2767" actId="478"/>
          <ac:spMkLst>
            <pc:docMk/>
            <pc:sldMk cId="4276181787" sldId="1611"/>
            <ac:spMk id="7" creationId="{2E01FC4C-4FCF-4A41-A9B7-31A74D60727C}"/>
          </ac:spMkLst>
        </pc:spChg>
        <pc:spChg chg="add mod">
          <ac:chgData name="Lace Lofranco" userId="1515141e-a2ed-4ab4-a66f-6db2dda82fd4" providerId="ADAL" clId="{C7CF28B1-BD21-4B84-881F-EB9ECF147DEB}" dt="2018-04-15T13:52:17.587" v="3191" actId="164"/>
          <ac:spMkLst>
            <pc:docMk/>
            <pc:sldMk cId="4276181787" sldId="1611"/>
            <ac:spMk id="8" creationId="{9118FAC8-0B49-4F9D-AFFA-B6153026AA37}"/>
          </ac:spMkLst>
        </pc:spChg>
        <pc:spChg chg="add mod">
          <ac:chgData name="Lace Lofranco" userId="1515141e-a2ed-4ab4-a66f-6db2dda82fd4" providerId="ADAL" clId="{C7CF28B1-BD21-4B84-881F-EB9ECF147DEB}" dt="2018-04-15T13:52:10.360" v="3189" actId="164"/>
          <ac:spMkLst>
            <pc:docMk/>
            <pc:sldMk cId="4276181787" sldId="1611"/>
            <ac:spMk id="9" creationId="{1D278599-3DB6-4438-B7C8-5A63FB0E5CD3}"/>
          </ac:spMkLst>
        </pc:spChg>
        <pc:spChg chg="add mod">
          <ac:chgData name="Lace Lofranco" userId="1515141e-a2ed-4ab4-a66f-6db2dda82fd4" providerId="ADAL" clId="{C7CF28B1-BD21-4B84-881F-EB9ECF147DEB}" dt="2018-04-15T13:45:25.819" v="3154" actId="164"/>
          <ac:spMkLst>
            <pc:docMk/>
            <pc:sldMk cId="4276181787" sldId="1611"/>
            <ac:spMk id="10" creationId="{2D123656-3031-43B8-92AE-8165A03BBCEA}"/>
          </ac:spMkLst>
        </pc:spChg>
        <pc:spChg chg="add mod">
          <ac:chgData name="Lace Lofranco" userId="1515141e-a2ed-4ab4-a66f-6db2dda82fd4" providerId="ADAL" clId="{C7CF28B1-BD21-4B84-881F-EB9ECF147DEB}" dt="2018-04-15T13:51:53.966" v="3181" actId="164"/>
          <ac:spMkLst>
            <pc:docMk/>
            <pc:sldMk cId="4276181787" sldId="1611"/>
            <ac:spMk id="11" creationId="{65819682-BFF9-4B01-B0EE-22BBDD8D2635}"/>
          </ac:spMkLst>
        </pc:spChg>
        <pc:spChg chg="add mod">
          <ac:chgData name="Lace Lofranco" userId="1515141e-a2ed-4ab4-a66f-6db2dda82fd4" providerId="ADAL" clId="{C7CF28B1-BD21-4B84-881F-EB9ECF147DEB}" dt="2018-04-15T13:51:49.465" v="3180" actId="164"/>
          <ac:spMkLst>
            <pc:docMk/>
            <pc:sldMk cId="4276181787" sldId="1611"/>
            <ac:spMk id="12" creationId="{A366DDC1-6310-4991-8043-4344E87D7445}"/>
          </ac:spMkLst>
        </pc:spChg>
        <pc:grpChg chg="add mod">
          <ac:chgData name="Lace Lofranco" userId="1515141e-a2ed-4ab4-a66f-6db2dda82fd4" providerId="ADAL" clId="{C7CF28B1-BD21-4B84-881F-EB9ECF147DEB}" dt="2018-04-15T13:53:08.249" v="3203" actId="164"/>
          <ac:grpSpMkLst>
            <pc:docMk/>
            <pc:sldMk cId="4276181787" sldId="1611"/>
            <ac:grpSpMk id="27" creationId="{80F3598B-1EDD-4735-BA59-CD689BFD9440}"/>
          </ac:grpSpMkLst>
        </pc:grpChg>
        <pc:grpChg chg="add mod">
          <ac:chgData name="Lace Lofranco" userId="1515141e-a2ed-4ab4-a66f-6db2dda82fd4" providerId="ADAL" clId="{C7CF28B1-BD21-4B84-881F-EB9ECF147DEB}" dt="2018-04-15T13:53:08.249" v="3203" actId="164"/>
          <ac:grpSpMkLst>
            <pc:docMk/>
            <pc:sldMk cId="4276181787" sldId="1611"/>
            <ac:grpSpMk id="33" creationId="{11AA444B-FFA5-4766-9B53-43A01E6C4B34}"/>
          </ac:grpSpMkLst>
        </pc:grpChg>
        <pc:grpChg chg="add mod">
          <ac:chgData name="Lace Lofranco" userId="1515141e-a2ed-4ab4-a66f-6db2dda82fd4" providerId="ADAL" clId="{C7CF28B1-BD21-4B84-881F-EB9ECF147DEB}" dt="2018-04-15T13:53:08.249" v="3203" actId="164"/>
          <ac:grpSpMkLst>
            <pc:docMk/>
            <pc:sldMk cId="4276181787" sldId="1611"/>
            <ac:grpSpMk id="34" creationId="{7A4A36BE-C2F6-4EBD-922F-9B8681EC53E8}"/>
          </ac:grpSpMkLst>
        </pc:grpChg>
        <pc:grpChg chg="add mod">
          <ac:chgData name="Lace Lofranco" userId="1515141e-a2ed-4ab4-a66f-6db2dda82fd4" providerId="ADAL" clId="{C7CF28B1-BD21-4B84-881F-EB9ECF147DEB}" dt="2018-04-15T13:53:08.249" v="3203" actId="164"/>
          <ac:grpSpMkLst>
            <pc:docMk/>
            <pc:sldMk cId="4276181787" sldId="1611"/>
            <ac:grpSpMk id="35" creationId="{5075C28E-4C09-4567-A931-6237B5277BB9}"/>
          </ac:grpSpMkLst>
        </pc:grpChg>
        <pc:grpChg chg="add mod">
          <ac:chgData name="Lace Lofranco" userId="1515141e-a2ed-4ab4-a66f-6db2dda82fd4" providerId="ADAL" clId="{C7CF28B1-BD21-4B84-881F-EB9ECF147DEB}" dt="2018-04-15T13:53:08.249" v="3203" actId="164"/>
          <ac:grpSpMkLst>
            <pc:docMk/>
            <pc:sldMk cId="4276181787" sldId="1611"/>
            <ac:grpSpMk id="36" creationId="{339FFAC2-46BB-4BC5-A66E-BF3B95BDCDB6}"/>
          </ac:grpSpMkLst>
        </pc:grpChg>
        <pc:grpChg chg="add mod">
          <ac:chgData name="Lace Lofranco" userId="1515141e-a2ed-4ab4-a66f-6db2dda82fd4" providerId="ADAL" clId="{C7CF28B1-BD21-4B84-881F-EB9ECF147DEB}" dt="2018-04-15T13:53:08.249" v="3203" actId="164"/>
          <ac:grpSpMkLst>
            <pc:docMk/>
            <pc:sldMk cId="4276181787" sldId="1611"/>
            <ac:grpSpMk id="37" creationId="{35BEB623-4FC9-4EF1-A52F-6CE28C7AB79E}"/>
          </ac:grpSpMkLst>
        </pc:grpChg>
        <pc:grpChg chg="add mod">
          <ac:chgData name="Lace Lofranco" userId="1515141e-a2ed-4ab4-a66f-6db2dda82fd4" providerId="ADAL" clId="{C7CF28B1-BD21-4B84-881F-EB9ECF147DEB}" dt="2018-04-15T13:53:10.007" v="3204" actId="1076"/>
          <ac:grpSpMkLst>
            <pc:docMk/>
            <pc:sldMk cId="4276181787" sldId="1611"/>
            <ac:grpSpMk id="38" creationId="{0E402469-3F7E-41A8-BDB3-B264B71EEE39}"/>
          </ac:grpSpMkLst>
        </pc:grpChg>
        <pc:graphicFrameChg chg="add del mod">
          <ac:chgData name="Lace Lofranco" userId="1515141e-a2ed-4ab4-a66f-6db2dda82fd4" providerId="ADAL" clId="{C7CF28B1-BD21-4B84-881F-EB9ECF147DEB}" dt="2018-04-15T13:22:01.298" v="3084" actId="478"/>
          <ac:graphicFrameMkLst>
            <pc:docMk/>
            <pc:sldMk cId="4276181787" sldId="1611"/>
            <ac:graphicFrameMk id="13" creationId="{5AEF3F67-463E-40F5-9DAF-DCFE12E509A2}"/>
          </ac:graphicFrameMkLst>
        </pc:graphicFrameChg>
        <pc:picChg chg="add mod">
          <ac:chgData name="Lace Lofranco" userId="1515141e-a2ed-4ab4-a66f-6db2dda82fd4" providerId="ADAL" clId="{C7CF28B1-BD21-4B84-881F-EB9ECF147DEB}" dt="2018-04-15T13:53:08.249" v="3203" actId="164"/>
          <ac:picMkLst>
            <pc:docMk/>
            <pc:sldMk cId="4276181787" sldId="1611"/>
            <ac:picMk id="4" creationId="{16BC4200-C5B3-4296-BA49-000ABA74E9D6}"/>
          </ac:picMkLst>
        </pc:picChg>
        <pc:picChg chg="add del">
          <ac:chgData name="Lace Lofranco" userId="1515141e-a2ed-4ab4-a66f-6db2dda82fd4" providerId="ADAL" clId="{C7CF28B1-BD21-4B84-881F-EB9ECF147DEB}" dt="2018-04-15T13:22:16.301" v="3086" actId="478"/>
          <ac:picMkLst>
            <pc:docMk/>
            <pc:sldMk cId="4276181787" sldId="1611"/>
            <ac:picMk id="14" creationId="{4D018A24-5C9E-4589-B7EF-A7FF05E2D3DF}"/>
          </ac:picMkLst>
        </pc:picChg>
        <pc:picChg chg="add del mod">
          <ac:chgData name="Lace Lofranco" userId="1515141e-a2ed-4ab4-a66f-6db2dda82fd4" providerId="ADAL" clId="{C7CF28B1-BD21-4B84-881F-EB9ECF147DEB}" dt="2018-04-15T13:32:48.022" v="3105" actId="478"/>
          <ac:picMkLst>
            <pc:docMk/>
            <pc:sldMk cId="4276181787" sldId="1611"/>
            <ac:picMk id="15" creationId="{88A77C6B-31F6-4CDC-81CF-4DDC11693090}"/>
          </ac:picMkLst>
        </pc:picChg>
        <pc:picChg chg="add del mod">
          <ac:chgData name="Lace Lofranco" userId="1515141e-a2ed-4ab4-a66f-6db2dda82fd4" providerId="ADAL" clId="{C7CF28B1-BD21-4B84-881F-EB9ECF147DEB}" dt="2018-04-15T13:49:39.053" v="3174" actId="478"/>
          <ac:picMkLst>
            <pc:docMk/>
            <pc:sldMk cId="4276181787" sldId="1611"/>
            <ac:picMk id="16" creationId="{848469D0-F68B-4E70-BE64-65474E01E3F8}"/>
          </ac:picMkLst>
        </pc:picChg>
        <pc:picChg chg="add del mod">
          <ac:chgData name="Lace Lofranco" userId="1515141e-a2ed-4ab4-a66f-6db2dda82fd4" providerId="ADAL" clId="{C7CF28B1-BD21-4B84-881F-EB9ECF147DEB}" dt="2018-04-15T13:31:02.452" v="3104" actId="478"/>
          <ac:picMkLst>
            <pc:docMk/>
            <pc:sldMk cId="4276181787" sldId="1611"/>
            <ac:picMk id="17" creationId="{EF0A4E4B-5EF8-4770-83E4-C432D557F0AC}"/>
          </ac:picMkLst>
        </pc:picChg>
        <pc:picChg chg="add del mod">
          <ac:chgData name="Lace Lofranco" userId="1515141e-a2ed-4ab4-a66f-6db2dda82fd4" providerId="ADAL" clId="{C7CF28B1-BD21-4B84-881F-EB9ECF147DEB}" dt="2018-04-15T13:32:53.326" v="3108" actId="478"/>
          <ac:picMkLst>
            <pc:docMk/>
            <pc:sldMk cId="4276181787" sldId="1611"/>
            <ac:picMk id="18" creationId="{6884FBB1-59DD-4B12-8842-12683B24AD17}"/>
          </ac:picMkLst>
        </pc:picChg>
        <pc:picChg chg="add del mod">
          <ac:chgData name="Lace Lofranco" userId="1515141e-a2ed-4ab4-a66f-6db2dda82fd4" providerId="ADAL" clId="{C7CF28B1-BD21-4B84-881F-EB9ECF147DEB}" dt="2018-04-15T13:38:42.610" v="3126" actId="478"/>
          <ac:picMkLst>
            <pc:docMk/>
            <pc:sldMk cId="4276181787" sldId="1611"/>
            <ac:picMk id="19" creationId="{BBF6757E-976C-47F4-8E8F-F543798B4ED0}"/>
          </ac:picMkLst>
        </pc:picChg>
        <pc:picChg chg="add del mod">
          <ac:chgData name="Lace Lofranco" userId="1515141e-a2ed-4ab4-a66f-6db2dda82fd4" providerId="ADAL" clId="{C7CF28B1-BD21-4B84-881F-EB9ECF147DEB}" dt="2018-04-15T13:48:07.368" v="3166" actId="478"/>
          <ac:picMkLst>
            <pc:docMk/>
            <pc:sldMk cId="4276181787" sldId="1611"/>
            <ac:picMk id="20" creationId="{4241E43E-34C8-4F89-814D-F9C385319A1C}"/>
          </ac:picMkLst>
        </pc:picChg>
        <pc:picChg chg="add del mod">
          <ac:chgData name="Lace Lofranco" userId="1515141e-a2ed-4ab4-a66f-6db2dda82fd4" providerId="ADAL" clId="{C7CF28B1-BD21-4B84-881F-EB9ECF147DEB}" dt="2018-04-15T13:36:41.843" v="3120" actId="478"/>
          <ac:picMkLst>
            <pc:docMk/>
            <pc:sldMk cId="4276181787" sldId="1611"/>
            <ac:picMk id="21" creationId="{A37304D0-3566-42BD-A841-E2521FF65F44}"/>
          </ac:picMkLst>
        </pc:picChg>
        <pc:picChg chg="add del mod">
          <ac:chgData name="Lace Lofranco" userId="1515141e-a2ed-4ab4-a66f-6db2dda82fd4" providerId="ADAL" clId="{C7CF28B1-BD21-4B84-881F-EB9ECF147DEB}" dt="2018-04-15T13:36:58.171" v="3123" actId="478"/>
          <ac:picMkLst>
            <pc:docMk/>
            <pc:sldMk cId="4276181787" sldId="1611"/>
            <ac:picMk id="22" creationId="{2F1F486E-48A3-45F7-A318-EA8F612CF512}"/>
          </ac:picMkLst>
        </pc:picChg>
        <pc:picChg chg="add del mod">
          <ac:chgData name="Lace Lofranco" userId="1515141e-a2ed-4ab4-a66f-6db2dda82fd4" providerId="ADAL" clId="{C7CF28B1-BD21-4B84-881F-EB9ECF147DEB}" dt="2018-04-15T13:47:06.776" v="3163" actId="478"/>
          <ac:picMkLst>
            <pc:docMk/>
            <pc:sldMk cId="4276181787" sldId="1611"/>
            <ac:picMk id="23" creationId="{28497876-C92E-4E86-AB0D-34BE066C1227}"/>
          </ac:picMkLst>
        </pc:picChg>
        <pc:picChg chg="add del mod">
          <ac:chgData name="Lace Lofranco" userId="1515141e-a2ed-4ab4-a66f-6db2dda82fd4" providerId="ADAL" clId="{C7CF28B1-BD21-4B84-881F-EB9ECF147DEB}" dt="2018-04-15T13:44:54.961" v="3141" actId="478"/>
          <ac:picMkLst>
            <pc:docMk/>
            <pc:sldMk cId="4276181787" sldId="1611"/>
            <ac:picMk id="24" creationId="{FA69C08E-E991-4D00-804C-13CB0A9F8547}"/>
          </ac:picMkLst>
        </pc:picChg>
        <pc:picChg chg="add mod">
          <ac:chgData name="Lace Lofranco" userId="1515141e-a2ed-4ab4-a66f-6db2dda82fd4" providerId="ADAL" clId="{C7CF28B1-BD21-4B84-881F-EB9ECF147DEB}" dt="2018-04-15T13:45:25.819" v="3154" actId="164"/>
          <ac:picMkLst>
            <pc:docMk/>
            <pc:sldMk cId="4276181787" sldId="1611"/>
            <ac:picMk id="25" creationId="{D2EFA565-F693-4D88-BBE3-AC91E04C65E5}"/>
          </ac:picMkLst>
        </pc:picChg>
        <pc:picChg chg="add mod">
          <ac:chgData name="Lace Lofranco" userId="1515141e-a2ed-4ab4-a66f-6db2dda82fd4" providerId="ADAL" clId="{C7CF28B1-BD21-4B84-881F-EB9ECF147DEB}" dt="2018-04-15T13:52:17.587" v="3191" actId="164"/>
          <ac:picMkLst>
            <pc:docMk/>
            <pc:sldMk cId="4276181787" sldId="1611"/>
            <ac:picMk id="26" creationId="{6FE22100-1B49-479D-ADD0-3C92BF3B3BB6}"/>
          </ac:picMkLst>
        </pc:picChg>
        <pc:picChg chg="add mod">
          <ac:chgData name="Lace Lofranco" userId="1515141e-a2ed-4ab4-a66f-6db2dda82fd4" providerId="ADAL" clId="{C7CF28B1-BD21-4B84-881F-EB9ECF147DEB}" dt="2018-04-15T13:51:53.966" v="3181" actId="164"/>
          <ac:picMkLst>
            <pc:docMk/>
            <pc:sldMk cId="4276181787" sldId="1611"/>
            <ac:picMk id="28" creationId="{ECFF8F85-E52C-4FAD-9AC4-23A149B9789F}"/>
          </ac:picMkLst>
        </pc:picChg>
        <pc:picChg chg="add del mod">
          <ac:chgData name="Lace Lofranco" userId="1515141e-a2ed-4ab4-a66f-6db2dda82fd4" providerId="ADAL" clId="{C7CF28B1-BD21-4B84-881F-EB9ECF147DEB}" dt="2018-04-15T13:48:40.618" v="3171" actId="478"/>
          <ac:picMkLst>
            <pc:docMk/>
            <pc:sldMk cId="4276181787" sldId="1611"/>
            <ac:picMk id="29" creationId="{AD77112B-A5AD-4289-ADC7-AA1DA62BD9B2}"/>
          </ac:picMkLst>
        </pc:picChg>
        <pc:picChg chg="add mod">
          <ac:chgData name="Lace Lofranco" userId="1515141e-a2ed-4ab4-a66f-6db2dda82fd4" providerId="ADAL" clId="{C7CF28B1-BD21-4B84-881F-EB9ECF147DEB}" dt="2018-04-15T13:52:10.360" v="3189" actId="164"/>
          <ac:picMkLst>
            <pc:docMk/>
            <pc:sldMk cId="4276181787" sldId="1611"/>
            <ac:picMk id="30" creationId="{79914935-BD72-4E15-93BF-668E10AAD1A3}"/>
          </ac:picMkLst>
        </pc:picChg>
        <pc:picChg chg="add mod">
          <ac:chgData name="Lace Lofranco" userId="1515141e-a2ed-4ab4-a66f-6db2dda82fd4" providerId="ADAL" clId="{C7CF28B1-BD21-4B84-881F-EB9ECF147DEB}" dt="2018-04-15T13:52:34.791" v="3198" actId="164"/>
          <ac:picMkLst>
            <pc:docMk/>
            <pc:sldMk cId="4276181787" sldId="1611"/>
            <ac:picMk id="31" creationId="{9DA1B269-EA5A-4341-9615-D55E21E63D9E}"/>
          </ac:picMkLst>
        </pc:picChg>
        <pc:picChg chg="add mod">
          <ac:chgData name="Lace Lofranco" userId="1515141e-a2ed-4ab4-a66f-6db2dda82fd4" providerId="ADAL" clId="{C7CF28B1-BD21-4B84-881F-EB9ECF147DEB}" dt="2018-04-15T13:51:49.465" v="3180" actId="164"/>
          <ac:picMkLst>
            <pc:docMk/>
            <pc:sldMk cId="4276181787" sldId="1611"/>
            <ac:picMk id="32" creationId="{6EB67BA4-F0DC-4413-84F5-5F09A7FBDEB1}"/>
          </ac:picMkLst>
        </pc:picChg>
      </pc:sldChg>
      <pc:sldChg chg="addSp delSp modSp add ord">
        <pc:chgData name="Lace Lofranco" userId="1515141e-a2ed-4ab4-a66f-6db2dda82fd4" providerId="ADAL" clId="{C7CF28B1-BD21-4B84-881F-EB9ECF147DEB}" dt="2018-04-16T00:42:14.546" v="4926" actId="1036"/>
        <pc:sldMkLst>
          <pc:docMk/>
          <pc:sldMk cId="4142295385" sldId="1614"/>
        </pc:sldMkLst>
        <pc:spChg chg="mod">
          <ac:chgData name="Lace Lofranco" userId="1515141e-a2ed-4ab4-a66f-6db2dda82fd4" providerId="ADAL" clId="{C7CF28B1-BD21-4B84-881F-EB9ECF147DEB}" dt="2018-04-15T09:06:11.049" v="1930" actId="20577"/>
          <ac:spMkLst>
            <pc:docMk/>
            <pc:sldMk cId="4142295385" sldId="1614"/>
            <ac:spMk id="2" creationId="{93571C39-464D-4861-AA04-F504F0A2B102}"/>
          </ac:spMkLst>
        </pc:spChg>
        <pc:spChg chg="add mod topLvl">
          <ac:chgData name="Lace Lofranco" userId="1515141e-a2ed-4ab4-a66f-6db2dda82fd4" providerId="ADAL" clId="{C7CF28B1-BD21-4B84-881F-EB9ECF147DEB}" dt="2018-04-15T12:16:25.838" v="2543" actId="165"/>
          <ac:spMkLst>
            <pc:docMk/>
            <pc:sldMk cId="4142295385" sldId="1614"/>
            <ac:spMk id="13" creationId="{DCFAC561-02E8-4888-B566-31D3B6D2D48E}"/>
          </ac:spMkLst>
        </pc:spChg>
        <pc:spChg chg="add mod">
          <ac:chgData name="Lace Lofranco" userId="1515141e-a2ed-4ab4-a66f-6db2dda82fd4" providerId="ADAL" clId="{C7CF28B1-BD21-4B84-881F-EB9ECF147DEB}" dt="2018-04-15T12:14:38.763" v="2531" actId="1076"/>
          <ac:spMkLst>
            <pc:docMk/>
            <pc:sldMk cId="4142295385" sldId="1614"/>
            <ac:spMk id="16" creationId="{7DB4DADB-6A97-4734-BD59-9E8D7CE88C94}"/>
          </ac:spMkLst>
        </pc:spChg>
        <pc:spChg chg="add mod topLvl">
          <ac:chgData name="Lace Lofranco" userId="1515141e-a2ed-4ab4-a66f-6db2dda82fd4" providerId="ADAL" clId="{C7CF28B1-BD21-4B84-881F-EB9ECF147DEB}" dt="2018-04-15T12:16:25.838" v="2543" actId="165"/>
          <ac:spMkLst>
            <pc:docMk/>
            <pc:sldMk cId="4142295385" sldId="1614"/>
            <ac:spMk id="17" creationId="{2DD887DA-9ADC-42EF-970F-D4AFE425A63A}"/>
          </ac:spMkLst>
        </pc:spChg>
        <pc:spChg chg="add mod topLvl">
          <ac:chgData name="Lace Lofranco" userId="1515141e-a2ed-4ab4-a66f-6db2dda82fd4" providerId="ADAL" clId="{C7CF28B1-BD21-4B84-881F-EB9ECF147DEB}" dt="2018-04-16T00:42:14.546" v="4926" actId="1036"/>
          <ac:spMkLst>
            <pc:docMk/>
            <pc:sldMk cId="4142295385" sldId="1614"/>
            <ac:spMk id="18" creationId="{70C931F2-F242-4CD4-9C7B-9771605E89BA}"/>
          </ac:spMkLst>
        </pc:spChg>
        <pc:spChg chg="add mod topLvl">
          <ac:chgData name="Lace Lofranco" userId="1515141e-a2ed-4ab4-a66f-6db2dda82fd4" providerId="ADAL" clId="{C7CF28B1-BD21-4B84-881F-EB9ECF147DEB}" dt="2018-04-15T12:19:06.906" v="2560" actId="1582"/>
          <ac:spMkLst>
            <pc:docMk/>
            <pc:sldMk cId="4142295385" sldId="1614"/>
            <ac:spMk id="19" creationId="{4148A32F-C3E3-4DD1-B053-91AD67FE1913}"/>
          </ac:spMkLst>
        </pc:spChg>
        <pc:spChg chg="add mod topLvl">
          <ac:chgData name="Lace Lofranco" userId="1515141e-a2ed-4ab4-a66f-6db2dda82fd4" providerId="ADAL" clId="{C7CF28B1-BD21-4B84-881F-EB9ECF147DEB}" dt="2018-04-15T14:10:00.483" v="3700" actId="207"/>
          <ac:spMkLst>
            <pc:docMk/>
            <pc:sldMk cId="4142295385" sldId="1614"/>
            <ac:spMk id="20" creationId="{D92ECC83-FB61-4E7F-92D5-D3D1745A44B4}"/>
          </ac:spMkLst>
        </pc:spChg>
        <pc:spChg chg="add del mod">
          <ac:chgData name="Lace Lofranco" userId="1515141e-a2ed-4ab4-a66f-6db2dda82fd4" providerId="ADAL" clId="{C7CF28B1-BD21-4B84-881F-EB9ECF147DEB}" dt="2018-04-15T11:51:44.962" v="2216" actId="478"/>
          <ac:spMkLst>
            <pc:docMk/>
            <pc:sldMk cId="4142295385" sldId="1614"/>
            <ac:spMk id="21" creationId="{F3783B95-71EC-4C75-A0CB-8E1CE904D01B}"/>
          </ac:spMkLst>
        </pc:spChg>
        <pc:spChg chg="add del mod">
          <ac:chgData name="Lace Lofranco" userId="1515141e-a2ed-4ab4-a66f-6db2dda82fd4" providerId="ADAL" clId="{C7CF28B1-BD21-4B84-881F-EB9ECF147DEB}" dt="2018-04-15T11:52:34.750" v="2242" actId="478"/>
          <ac:spMkLst>
            <pc:docMk/>
            <pc:sldMk cId="4142295385" sldId="1614"/>
            <ac:spMk id="25" creationId="{D266D4ED-EE36-4BF9-B2B3-7B05EC960EC6}"/>
          </ac:spMkLst>
        </pc:spChg>
        <pc:spChg chg="add mod topLvl">
          <ac:chgData name="Lace Lofranco" userId="1515141e-a2ed-4ab4-a66f-6db2dda82fd4" providerId="ADAL" clId="{C7CF28B1-BD21-4B84-881F-EB9ECF147DEB}" dt="2018-04-15T12:19:06.906" v="2560" actId="1582"/>
          <ac:spMkLst>
            <pc:docMk/>
            <pc:sldMk cId="4142295385" sldId="1614"/>
            <ac:spMk id="27" creationId="{32A02D90-CEE0-4B51-BF75-4D91E77C3AB4}"/>
          </ac:spMkLst>
        </pc:spChg>
        <pc:spChg chg="add mod topLvl">
          <ac:chgData name="Lace Lofranco" userId="1515141e-a2ed-4ab4-a66f-6db2dda82fd4" providerId="ADAL" clId="{C7CF28B1-BD21-4B84-881F-EB9ECF147DEB}" dt="2018-04-15T14:10:27.116" v="3707" actId="207"/>
          <ac:spMkLst>
            <pc:docMk/>
            <pc:sldMk cId="4142295385" sldId="1614"/>
            <ac:spMk id="28" creationId="{E846AA0D-5EF8-42F2-8C21-A854DA4F372D}"/>
          </ac:spMkLst>
        </pc:spChg>
        <pc:spChg chg="add mod">
          <ac:chgData name="Lace Lofranco" userId="1515141e-a2ed-4ab4-a66f-6db2dda82fd4" providerId="ADAL" clId="{C7CF28B1-BD21-4B84-881F-EB9ECF147DEB}" dt="2018-04-15T12:19:06.906" v="2560" actId="1582"/>
          <ac:spMkLst>
            <pc:docMk/>
            <pc:sldMk cId="4142295385" sldId="1614"/>
            <ac:spMk id="30" creationId="{E0953CE4-1F95-4D14-8283-E1E3E06FA943}"/>
          </ac:spMkLst>
        </pc:spChg>
        <pc:spChg chg="add mod">
          <ac:chgData name="Lace Lofranco" userId="1515141e-a2ed-4ab4-a66f-6db2dda82fd4" providerId="ADAL" clId="{C7CF28B1-BD21-4B84-881F-EB9ECF147DEB}" dt="2018-04-15T14:21:23.175" v="3844" actId="6549"/>
          <ac:spMkLst>
            <pc:docMk/>
            <pc:sldMk cId="4142295385" sldId="1614"/>
            <ac:spMk id="31" creationId="{C4F701C8-C724-4F2E-8248-75EBAC03F8E8}"/>
          </ac:spMkLst>
        </pc:spChg>
        <pc:spChg chg="add mod">
          <ac:chgData name="Lace Lofranco" userId="1515141e-a2ed-4ab4-a66f-6db2dda82fd4" providerId="ADAL" clId="{C7CF28B1-BD21-4B84-881F-EB9ECF147DEB}" dt="2018-04-15T12:19:06.906" v="2560" actId="1582"/>
          <ac:spMkLst>
            <pc:docMk/>
            <pc:sldMk cId="4142295385" sldId="1614"/>
            <ac:spMk id="33" creationId="{323202C6-F8F1-475D-9294-5CF777E00C7D}"/>
          </ac:spMkLst>
        </pc:spChg>
        <pc:spChg chg="add del">
          <ac:chgData name="Lace Lofranco" userId="1515141e-a2ed-4ab4-a66f-6db2dda82fd4" providerId="ADAL" clId="{C7CF28B1-BD21-4B84-881F-EB9ECF147DEB}" dt="2018-04-15T12:00:15.921" v="2319" actId="1036"/>
          <ac:spMkLst>
            <pc:docMk/>
            <pc:sldMk cId="4142295385" sldId="1614"/>
            <ac:spMk id="34" creationId="{52A7EF44-0F77-463F-BED8-CBD3EC58C7F3}"/>
          </ac:spMkLst>
        </pc:spChg>
        <pc:spChg chg="add mod">
          <ac:chgData name="Lace Lofranco" userId="1515141e-a2ed-4ab4-a66f-6db2dda82fd4" providerId="ADAL" clId="{C7CF28B1-BD21-4B84-881F-EB9ECF147DEB}" dt="2018-04-15T14:10:02.462" v="3701" actId="207"/>
          <ac:spMkLst>
            <pc:docMk/>
            <pc:sldMk cId="4142295385" sldId="1614"/>
            <ac:spMk id="35" creationId="{C4F3415C-5235-4881-B88F-E15502C430A3}"/>
          </ac:spMkLst>
        </pc:spChg>
        <pc:spChg chg="add del mod">
          <ac:chgData name="Lace Lofranco" userId="1515141e-a2ed-4ab4-a66f-6db2dda82fd4" providerId="ADAL" clId="{C7CF28B1-BD21-4B84-881F-EB9ECF147DEB}" dt="2018-04-15T12:05:31.566" v="2358" actId="478"/>
          <ac:spMkLst>
            <pc:docMk/>
            <pc:sldMk cId="4142295385" sldId="1614"/>
            <ac:spMk id="36" creationId="{6296EE00-0077-4254-93B0-6EBAB85ECFD2}"/>
          </ac:spMkLst>
        </pc:spChg>
        <pc:spChg chg="add del mod">
          <ac:chgData name="Lace Lofranco" userId="1515141e-a2ed-4ab4-a66f-6db2dda82fd4" providerId="ADAL" clId="{C7CF28B1-BD21-4B84-881F-EB9ECF147DEB}" dt="2018-04-15T12:05:30.858" v="2357" actId="478"/>
          <ac:spMkLst>
            <pc:docMk/>
            <pc:sldMk cId="4142295385" sldId="1614"/>
            <ac:spMk id="37" creationId="{BA1DA5E0-C495-4C5D-AF7A-0E6BE0ED381C}"/>
          </ac:spMkLst>
        </pc:spChg>
        <pc:spChg chg="add mod">
          <ac:chgData name="Lace Lofranco" userId="1515141e-a2ed-4ab4-a66f-6db2dda82fd4" providerId="ADAL" clId="{C7CF28B1-BD21-4B84-881F-EB9ECF147DEB}" dt="2018-04-15T14:09:51.817" v="3698" actId="207"/>
          <ac:spMkLst>
            <pc:docMk/>
            <pc:sldMk cId="4142295385" sldId="1614"/>
            <ac:spMk id="38" creationId="{6EBA53D4-1EFB-4C24-8C77-48085BB377BD}"/>
          </ac:spMkLst>
        </pc:spChg>
        <pc:spChg chg="add mod">
          <ac:chgData name="Lace Lofranco" userId="1515141e-a2ed-4ab4-a66f-6db2dda82fd4" providerId="ADAL" clId="{C7CF28B1-BD21-4B84-881F-EB9ECF147DEB}" dt="2018-04-15T12:12:18.344" v="2460" actId="1076"/>
          <ac:spMkLst>
            <pc:docMk/>
            <pc:sldMk cId="4142295385" sldId="1614"/>
            <ac:spMk id="39" creationId="{2C585B49-9403-4CA5-9560-EECF3A6BE9E7}"/>
          </ac:spMkLst>
        </pc:spChg>
        <pc:spChg chg="add mod ord">
          <ac:chgData name="Lace Lofranco" userId="1515141e-a2ed-4ab4-a66f-6db2dda82fd4" providerId="ADAL" clId="{C7CF28B1-BD21-4B84-881F-EB9ECF147DEB}" dt="2018-04-15T12:12:18.344" v="2460" actId="1076"/>
          <ac:spMkLst>
            <pc:docMk/>
            <pc:sldMk cId="4142295385" sldId="1614"/>
            <ac:spMk id="40" creationId="{17F7FEA0-120B-46EB-97B1-31765F22574A}"/>
          </ac:spMkLst>
        </pc:spChg>
        <pc:spChg chg="mod">
          <ac:chgData name="Lace Lofranco" userId="1515141e-a2ed-4ab4-a66f-6db2dda82fd4" providerId="ADAL" clId="{C7CF28B1-BD21-4B84-881F-EB9ECF147DEB}" dt="2018-04-15T12:12:48.262" v="2487" actId="20577"/>
          <ac:spMkLst>
            <pc:docMk/>
            <pc:sldMk cId="4142295385" sldId="1614"/>
            <ac:spMk id="49" creationId="{21E51F5A-7D88-486B-970A-835A94351907}"/>
          </ac:spMkLst>
        </pc:spChg>
        <pc:spChg chg="add del mod">
          <ac:chgData name="Lace Lofranco" userId="1515141e-a2ed-4ab4-a66f-6db2dda82fd4" providerId="ADAL" clId="{C7CF28B1-BD21-4B84-881F-EB9ECF147DEB}" dt="2018-04-15T12:13:47.953" v="2496" actId="478"/>
          <ac:spMkLst>
            <pc:docMk/>
            <pc:sldMk cId="4142295385" sldId="1614"/>
            <ac:spMk id="50" creationId="{CB8AEF1F-F0F4-45ED-BFC9-92966EDD027D}"/>
          </ac:spMkLst>
        </pc:spChg>
        <pc:spChg chg="add del mod">
          <ac:chgData name="Lace Lofranco" userId="1515141e-a2ed-4ab4-a66f-6db2dda82fd4" providerId="ADAL" clId="{C7CF28B1-BD21-4B84-881F-EB9ECF147DEB}" dt="2018-04-15T12:13:47.281" v="2495" actId="478"/>
          <ac:spMkLst>
            <pc:docMk/>
            <pc:sldMk cId="4142295385" sldId="1614"/>
            <ac:spMk id="51" creationId="{02D1EC13-ECC0-4FCE-A3F0-EE74BE70ADD6}"/>
          </ac:spMkLst>
        </pc:spChg>
        <pc:spChg chg="add del mod">
          <ac:chgData name="Lace Lofranco" userId="1515141e-a2ed-4ab4-a66f-6db2dda82fd4" providerId="ADAL" clId="{C7CF28B1-BD21-4B84-881F-EB9ECF147DEB}" dt="2018-04-15T12:13:44.782" v="2494" actId="478"/>
          <ac:spMkLst>
            <pc:docMk/>
            <pc:sldMk cId="4142295385" sldId="1614"/>
            <ac:spMk id="52" creationId="{AD6DD40F-63DE-4D7C-ADA0-429161AA2A68}"/>
          </ac:spMkLst>
        </pc:spChg>
        <pc:spChg chg="mod topLvl">
          <ac:chgData name="Lace Lofranco" userId="1515141e-a2ed-4ab4-a66f-6db2dda82fd4" providerId="ADAL" clId="{C7CF28B1-BD21-4B84-881F-EB9ECF147DEB}" dt="2018-04-15T12:19:06.906" v="2560" actId="1582"/>
          <ac:spMkLst>
            <pc:docMk/>
            <pc:sldMk cId="4142295385" sldId="1614"/>
            <ac:spMk id="59" creationId="{C9594BA9-1781-4079-9E3F-D0023DFD8821}"/>
          </ac:spMkLst>
        </pc:spChg>
        <pc:spChg chg="mod topLvl">
          <ac:chgData name="Lace Lofranco" userId="1515141e-a2ed-4ab4-a66f-6db2dda82fd4" providerId="ADAL" clId="{C7CF28B1-BD21-4B84-881F-EB9ECF147DEB}" dt="2018-04-15T14:10:04.127" v="3702" actId="207"/>
          <ac:spMkLst>
            <pc:docMk/>
            <pc:sldMk cId="4142295385" sldId="1614"/>
            <ac:spMk id="60" creationId="{2A535E76-BCB7-44F1-ADC6-E48266D77B24}"/>
          </ac:spMkLst>
        </pc:spChg>
        <pc:grpChg chg="add del mod">
          <ac:chgData name="Lace Lofranco" userId="1515141e-a2ed-4ab4-a66f-6db2dda82fd4" providerId="ADAL" clId="{C7CF28B1-BD21-4B84-881F-EB9ECF147DEB}" dt="2018-04-15T12:16:25.838" v="2543" actId="165"/>
          <ac:grpSpMkLst>
            <pc:docMk/>
            <pc:sldMk cId="4142295385" sldId="1614"/>
            <ac:grpSpMk id="15" creationId="{8641C615-A0E9-42A0-8110-FBCD0D0A67A7}"/>
          </ac:grpSpMkLst>
        </pc:grpChg>
        <pc:grpChg chg="add mod topLvl">
          <ac:chgData name="Lace Lofranco" userId="1515141e-a2ed-4ab4-a66f-6db2dda82fd4" providerId="ADAL" clId="{C7CF28B1-BD21-4B84-881F-EB9ECF147DEB}" dt="2018-04-15T12:16:25.838" v="2543" actId="165"/>
          <ac:grpSpMkLst>
            <pc:docMk/>
            <pc:sldMk cId="4142295385" sldId="1614"/>
            <ac:grpSpMk id="22" creationId="{3B6538B7-E8BF-4E08-BE82-B7D0700F8AC0}"/>
          </ac:grpSpMkLst>
        </pc:grpChg>
        <pc:grpChg chg="add del mod">
          <ac:chgData name="Lace Lofranco" userId="1515141e-a2ed-4ab4-a66f-6db2dda82fd4" providerId="ADAL" clId="{C7CF28B1-BD21-4B84-881F-EB9ECF147DEB}" dt="2018-04-15T12:16:25.838" v="2543" actId="165"/>
          <ac:grpSpMkLst>
            <pc:docMk/>
            <pc:sldMk cId="4142295385" sldId="1614"/>
            <ac:grpSpMk id="23" creationId="{7507E472-3ACA-4379-AEE0-B88BF6A17FEB}"/>
          </ac:grpSpMkLst>
        </pc:grpChg>
        <pc:grpChg chg="add del mod">
          <ac:chgData name="Lace Lofranco" userId="1515141e-a2ed-4ab4-a66f-6db2dda82fd4" providerId="ADAL" clId="{C7CF28B1-BD21-4B84-881F-EB9ECF147DEB}" dt="2018-04-15T12:16:25.838" v="2543" actId="165"/>
          <ac:grpSpMkLst>
            <pc:docMk/>
            <pc:sldMk cId="4142295385" sldId="1614"/>
            <ac:grpSpMk id="24" creationId="{0FD96581-6B47-4741-A710-B9985C095147}"/>
          </ac:grpSpMkLst>
        </pc:grpChg>
        <pc:grpChg chg="add del mod">
          <ac:chgData name="Lace Lofranco" userId="1515141e-a2ed-4ab4-a66f-6db2dda82fd4" providerId="ADAL" clId="{C7CF28B1-BD21-4B84-881F-EB9ECF147DEB}" dt="2018-04-15T12:16:25.838" v="2543" actId="165"/>
          <ac:grpSpMkLst>
            <pc:docMk/>
            <pc:sldMk cId="4142295385" sldId="1614"/>
            <ac:grpSpMk id="29" creationId="{EF021331-7301-41AF-9642-9462931573DD}"/>
          </ac:grpSpMkLst>
        </pc:grpChg>
        <pc:grpChg chg="add del mod">
          <ac:chgData name="Lace Lofranco" userId="1515141e-a2ed-4ab4-a66f-6db2dda82fd4" providerId="ADAL" clId="{C7CF28B1-BD21-4B84-881F-EB9ECF147DEB}" dt="2018-04-15T12:16:25.838" v="2543" actId="165"/>
          <ac:grpSpMkLst>
            <pc:docMk/>
            <pc:sldMk cId="4142295385" sldId="1614"/>
            <ac:grpSpMk id="32" creationId="{0A342BD8-37B8-47A6-A61C-501BDA83A126}"/>
          </ac:grpSpMkLst>
        </pc:grpChg>
        <pc:grpChg chg="add del mod">
          <ac:chgData name="Lace Lofranco" userId="1515141e-a2ed-4ab4-a66f-6db2dda82fd4" providerId="ADAL" clId="{C7CF28B1-BD21-4B84-881F-EB9ECF147DEB}" dt="2018-04-15T12:12:32.739" v="2463" actId="478"/>
          <ac:grpSpMkLst>
            <pc:docMk/>
            <pc:sldMk cId="4142295385" sldId="1614"/>
            <ac:grpSpMk id="42" creationId="{CB0347EC-4FFD-4125-9D24-226F32A7C5C1}"/>
          </ac:grpSpMkLst>
        </pc:grpChg>
        <pc:grpChg chg="add del mod">
          <ac:chgData name="Lace Lofranco" userId="1515141e-a2ed-4ab4-a66f-6db2dda82fd4" providerId="ADAL" clId="{C7CF28B1-BD21-4B84-881F-EB9ECF147DEB}" dt="2018-04-15T12:12:55.664" v="2488" actId="478"/>
          <ac:grpSpMkLst>
            <pc:docMk/>
            <pc:sldMk cId="4142295385" sldId="1614"/>
            <ac:grpSpMk id="46" creationId="{9A511021-6CBA-47AA-8AAD-A481BB7C2786}"/>
          </ac:grpSpMkLst>
        </pc:grpChg>
        <pc:grpChg chg="add del mod">
          <ac:chgData name="Lace Lofranco" userId="1515141e-a2ed-4ab4-a66f-6db2dda82fd4" providerId="ADAL" clId="{C7CF28B1-BD21-4B84-881F-EB9ECF147DEB}" dt="2018-04-15T12:13:52.754" v="2500" actId="1036"/>
          <ac:grpSpMkLst>
            <pc:docMk/>
            <pc:sldMk cId="4142295385" sldId="1614"/>
            <ac:grpSpMk id="53" creationId="{72420DCB-B67B-4F78-AAF2-E1E54F7155B9}"/>
          </ac:grpSpMkLst>
        </pc:grpChg>
        <pc:grpChg chg="add del mod">
          <ac:chgData name="Lace Lofranco" userId="1515141e-a2ed-4ab4-a66f-6db2dda82fd4" providerId="ADAL" clId="{C7CF28B1-BD21-4B84-881F-EB9ECF147DEB}" dt="2018-04-15T12:16:25.838" v="2543" actId="165"/>
          <ac:grpSpMkLst>
            <pc:docMk/>
            <pc:sldMk cId="4142295385" sldId="1614"/>
            <ac:grpSpMk id="57" creationId="{0CBBC71D-8A71-42E7-9E2D-B93FF6CEB77D}"/>
          </ac:grpSpMkLst>
        </pc:grpChg>
        <pc:picChg chg="add mod">
          <ac:chgData name="Lace Lofranco" userId="1515141e-a2ed-4ab4-a66f-6db2dda82fd4" providerId="ADAL" clId="{C7CF28B1-BD21-4B84-881F-EB9ECF147DEB}" dt="2018-04-15T12:19:17.089" v="2561" actId="1035"/>
          <ac:picMkLst>
            <pc:docMk/>
            <pc:sldMk cId="4142295385" sldId="1614"/>
            <ac:picMk id="3" creationId="{85D23171-F1AE-403F-9294-298E91783C65}"/>
          </ac:picMkLst>
        </pc:picChg>
        <pc:picChg chg="add del mod">
          <ac:chgData name="Lace Lofranco" userId="1515141e-a2ed-4ab4-a66f-6db2dda82fd4" providerId="ADAL" clId="{C7CF28B1-BD21-4B84-881F-EB9ECF147DEB}" dt="2018-04-15T12:12:00.114" v="2456" actId="478"/>
          <ac:picMkLst>
            <pc:docMk/>
            <pc:sldMk cId="4142295385" sldId="1614"/>
            <ac:picMk id="4" creationId="{99A17474-31BF-494B-B978-21394890047D}"/>
          </ac:picMkLst>
        </pc:picChg>
        <pc:picChg chg="add mod">
          <ac:chgData name="Lace Lofranco" userId="1515141e-a2ed-4ab4-a66f-6db2dda82fd4" providerId="ADAL" clId="{C7CF28B1-BD21-4B84-881F-EB9ECF147DEB}" dt="2018-04-15T12:14:38.763" v="2531" actId="1076"/>
          <ac:picMkLst>
            <pc:docMk/>
            <pc:sldMk cId="4142295385" sldId="1614"/>
            <ac:picMk id="5" creationId="{C96A36BD-C7ED-47F9-92F2-4F2E346B13A1}"/>
          </ac:picMkLst>
        </pc:picChg>
        <pc:picChg chg="add mod topLvl">
          <ac:chgData name="Lace Lofranco" userId="1515141e-a2ed-4ab4-a66f-6db2dda82fd4" providerId="ADAL" clId="{C7CF28B1-BD21-4B84-881F-EB9ECF147DEB}" dt="2018-04-15T12:16:25.838" v="2543" actId="165"/>
          <ac:picMkLst>
            <pc:docMk/>
            <pc:sldMk cId="4142295385" sldId="1614"/>
            <ac:picMk id="6" creationId="{C8C9FF08-8699-489F-9811-90E8F50F445E}"/>
          </ac:picMkLst>
        </pc:picChg>
        <pc:picChg chg="add del mod topLvl">
          <ac:chgData name="Lace Lofranco" userId="1515141e-a2ed-4ab4-a66f-6db2dda82fd4" providerId="ADAL" clId="{C7CF28B1-BD21-4B84-881F-EB9ECF147DEB}" dt="2018-04-15T12:17:56.387" v="2553" actId="478"/>
          <ac:picMkLst>
            <pc:docMk/>
            <pc:sldMk cId="4142295385" sldId="1614"/>
            <ac:picMk id="7" creationId="{6C8FB36A-F97C-46F0-B02D-3619DBF9A6F4}"/>
          </ac:picMkLst>
        </pc:picChg>
        <pc:picChg chg="add del mod">
          <ac:chgData name="Lace Lofranco" userId="1515141e-a2ed-4ab4-a66f-6db2dda82fd4" providerId="ADAL" clId="{C7CF28B1-BD21-4B84-881F-EB9ECF147DEB}" dt="2018-04-15T11:45:05.200" v="2078" actId="478"/>
          <ac:picMkLst>
            <pc:docMk/>
            <pc:sldMk cId="4142295385" sldId="1614"/>
            <ac:picMk id="8" creationId="{02554814-0567-48FD-B592-9BF3569C141D}"/>
          </ac:picMkLst>
        </pc:picChg>
        <pc:picChg chg="add mod">
          <ac:chgData name="Lace Lofranco" userId="1515141e-a2ed-4ab4-a66f-6db2dda82fd4" providerId="ADAL" clId="{C7CF28B1-BD21-4B84-881F-EB9ECF147DEB}" dt="2018-04-15T12:12:18.344" v="2460" actId="1076"/>
          <ac:picMkLst>
            <pc:docMk/>
            <pc:sldMk cId="4142295385" sldId="1614"/>
            <ac:picMk id="9" creationId="{03B4FE75-4C02-4085-87CA-3479052F7AE1}"/>
          </ac:picMkLst>
        </pc:picChg>
        <pc:picChg chg="add mod topLvl">
          <ac:chgData name="Lace Lofranco" userId="1515141e-a2ed-4ab4-a66f-6db2dda82fd4" providerId="ADAL" clId="{C7CF28B1-BD21-4B84-881F-EB9ECF147DEB}" dt="2018-04-16T00:42:14.546" v="4926" actId="1036"/>
          <ac:picMkLst>
            <pc:docMk/>
            <pc:sldMk cId="4142295385" sldId="1614"/>
            <ac:picMk id="10" creationId="{5AA2A879-5367-4FC9-A12D-DDCD8BA47DCC}"/>
          </ac:picMkLst>
        </pc:picChg>
        <pc:picChg chg="add del mod topLvl">
          <ac:chgData name="Lace Lofranco" userId="1515141e-a2ed-4ab4-a66f-6db2dda82fd4" providerId="ADAL" clId="{C7CF28B1-BD21-4B84-881F-EB9ECF147DEB}" dt="2018-04-15T14:10:21.823" v="3706" actId="1036"/>
          <ac:picMkLst>
            <pc:docMk/>
            <pc:sldMk cId="4142295385" sldId="1614"/>
            <ac:picMk id="11" creationId="{D9073770-4DF9-46CF-83F0-1C1BD69DB09E}"/>
          </ac:picMkLst>
        </pc:picChg>
        <pc:picChg chg="add mod topLvl">
          <ac:chgData name="Lace Lofranco" userId="1515141e-a2ed-4ab4-a66f-6db2dda82fd4" providerId="ADAL" clId="{C7CF28B1-BD21-4B84-881F-EB9ECF147DEB}" dt="2018-04-15T12:16:25.838" v="2543" actId="165"/>
          <ac:picMkLst>
            <pc:docMk/>
            <pc:sldMk cId="4142295385" sldId="1614"/>
            <ac:picMk id="12" creationId="{954C3D4D-0516-4257-88D2-14AA342D2AD8}"/>
          </ac:picMkLst>
        </pc:picChg>
        <pc:picChg chg="add mod">
          <ac:chgData name="Lace Lofranco" userId="1515141e-a2ed-4ab4-a66f-6db2dda82fd4" providerId="ADAL" clId="{C7CF28B1-BD21-4B84-881F-EB9ECF147DEB}" dt="2018-04-15T12:20:30.844" v="2562" actId="1036"/>
          <ac:picMkLst>
            <pc:docMk/>
            <pc:sldMk cId="4142295385" sldId="1614"/>
            <ac:picMk id="14" creationId="{09BD96AB-40C7-42B7-BAD9-AD5F438B85A3}"/>
          </ac:picMkLst>
        </pc:picChg>
        <pc:picChg chg="add del mod">
          <ac:chgData name="Lace Lofranco" userId="1515141e-a2ed-4ab4-a66f-6db2dda82fd4" providerId="ADAL" clId="{C7CF28B1-BD21-4B84-881F-EB9ECF147DEB}" dt="2018-04-15T11:52:18.309" v="2231" actId="478"/>
          <ac:picMkLst>
            <pc:docMk/>
            <pc:sldMk cId="4142295385" sldId="1614"/>
            <ac:picMk id="26" creationId="{394E9F23-4158-4A15-977E-C65A0601F007}"/>
          </ac:picMkLst>
        </pc:picChg>
        <pc:picChg chg="add mod">
          <ac:chgData name="Lace Lofranco" userId="1515141e-a2ed-4ab4-a66f-6db2dda82fd4" providerId="ADAL" clId="{C7CF28B1-BD21-4B84-881F-EB9ECF147DEB}" dt="2018-04-15T12:12:18.344" v="2460" actId="1076"/>
          <ac:picMkLst>
            <pc:docMk/>
            <pc:sldMk cId="4142295385" sldId="1614"/>
            <ac:picMk id="41" creationId="{4A015396-37C5-4296-989E-97330DF47CB4}"/>
          </ac:picMkLst>
        </pc:picChg>
        <pc:picChg chg="del">
          <ac:chgData name="Lace Lofranco" userId="1515141e-a2ed-4ab4-a66f-6db2dda82fd4" providerId="ADAL" clId="{C7CF28B1-BD21-4B84-881F-EB9ECF147DEB}" dt="2018-04-15T12:12:39.638" v="2466" actId="478"/>
          <ac:picMkLst>
            <pc:docMk/>
            <pc:sldMk cId="4142295385" sldId="1614"/>
            <ac:picMk id="47" creationId="{70DD149B-9386-4FDE-BCD7-3151F743DBB3}"/>
          </ac:picMkLst>
        </pc:picChg>
        <pc:picChg chg="del">
          <ac:chgData name="Lace Lofranco" userId="1515141e-a2ed-4ab4-a66f-6db2dda82fd4" providerId="ADAL" clId="{C7CF28B1-BD21-4B84-881F-EB9ECF147DEB}" dt="2018-04-15T12:14:07.346" v="2520" actId="478"/>
          <ac:picMkLst>
            <pc:docMk/>
            <pc:sldMk cId="4142295385" sldId="1614"/>
            <ac:picMk id="58" creationId="{8048158F-BD04-41B1-A862-099978ECE409}"/>
          </ac:picMkLst>
        </pc:picChg>
        <pc:picChg chg="add del mod">
          <ac:chgData name="Lace Lofranco" userId="1515141e-a2ed-4ab4-a66f-6db2dda82fd4" providerId="ADAL" clId="{C7CF28B1-BD21-4B84-881F-EB9ECF147DEB}" dt="2018-04-15T12:18:13.658" v="2557" actId="478"/>
          <ac:picMkLst>
            <pc:docMk/>
            <pc:sldMk cId="4142295385" sldId="1614"/>
            <ac:picMk id="61" creationId="{376C8858-9A4B-49D7-ADCC-46B3EE2D8A80}"/>
          </ac:picMkLst>
        </pc:picChg>
        <pc:picChg chg="add mod">
          <ac:chgData name="Lace Lofranco" userId="1515141e-a2ed-4ab4-a66f-6db2dda82fd4" providerId="ADAL" clId="{C7CF28B1-BD21-4B84-881F-EB9ECF147DEB}" dt="2018-04-15T12:18:50.126" v="2559" actId="1076"/>
          <ac:picMkLst>
            <pc:docMk/>
            <pc:sldMk cId="4142295385" sldId="1614"/>
            <ac:picMk id="62" creationId="{7EECE0C2-C2EB-44CB-900B-991BBC65F989}"/>
          </ac:picMkLst>
        </pc:picChg>
      </pc:sldChg>
      <pc:sldChg chg="modSp add ord">
        <pc:chgData name="Lace Lofranco" userId="1515141e-a2ed-4ab4-a66f-6db2dda82fd4" providerId="ADAL" clId="{C7CF28B1-BD21-4B84-881F-EB9ECF147DEB}" dt="2018-04-15T14:31:32.357" v="4028" actId="20577"/>
        <pc:sldMkLst>
          <pc:docMk/>
          <pc:sldMk cId="1586474030" sldId="1616"/>
        </pc:sldMkLst>
        <pc:spChg chg="mod">
          <ac:chgData name="Lace Lofranco" userId="1515141e-a2ed-4ab4-a66f-6db2dda82fd4" providerId="ADAL" clId="{C7CF28B1-BD21-4B84-881F-EB9ECF147DEB}" dt="2018-04-15T09:09:34.014" v="1988" actId="20577"/>
          <ac:spMkLst>
            <pc:docMk/>
            <pc:sldMk cId="1586474030" sldId="1616"/>
            <ac:spMk id="2" creationId="{F188B958-FB9B-46F0-A681-32731DE8697B}"/>
          </ac:spMkLst>
        </pc:spChg>
      </pc:sldChg>
      <pc:sldChg chg="addSp modSp add ord">
        <pc:chgData name="Lace Lofranco" userId="1515141e-a2ed-4ab4-a66f-6db2dda82fd4" providerId="ADAL" clId="{C7CF28B1-BD21-4B84-881F-EB9ECF147DEB}" dt="2018-04-15T15:06:15.794" v="4924" actId="113"/>
        <pc:sldMkLst>
          <pc:docMk/>
          <pc:sldMk cId="281606097" sldId="1617"/>
        </pc:sldMkLst>
        <pc:spChg chg="mod">
          <ac:chgData name="Lace Lofranco" userId="1515141e-a2ed-4ab4-a66f-6db2dda82fd4" providerId="ADAL" clId="{C7CF28B1-BD21-4B84-881F-EB9ECF147DEB}" dt="2018-04-15T15:03:09.871" v="4896" actId="20577"/>
          <ac:spMkLst>
            <pc:docMk/>
            <pc:sldMk cId="281606097" sldId="1617"/>
            <ac:spMk id="2" creationId="{512279D8-E21E-4353-B9ED-A6D18B330F2E}"/>
          </ac:spMkLst>
        </pc:spChg>
        <pc:spChg chg="mod">
          <ac:chgData name="Lace Lofranco" userId="1515141e-a2ed-4ab4-a66f-6db2dda82fd4" providerId="ADAL" clId="{C7CF28B1-BD21-4B84-881F-EB9ECF147DEB}" dt="2018-04-15T15:06:15.794" v="4924" actId="113"/>
          <ac:spMkLst>
            <pc:docMk/>
            <pc:sldMk cId="281606097" sldId="1617"/>
            <ac:spMk id="3" creationId="{BBC62792-B162-4FC7-BC6A-C2E1CD3E9C3D}"/>
          </ac:spMkLst>
        </pc:spChg>
        <pc:spChg chg="add mod">
          <ac:chgData name="Lace Lofranco" userId="1515141e-a2ed-4ab4-a66f-6db2dda82fd4" providerId="ADAL" clId="{C7CF28B1-BD21-4B84-881F-EB9ECF147DEB}" dt="2018-04-15T15:06:02.059" v="4920" actId="14100"/>
          <ac:spMkLst>
            <pc:docMk/>
            <pc:sldMk cId="281606097" sldId="1617"/>
            <ac:spMk id="4" creationId="{F85DCE78-31FF-4533-86F8-53C701635B6A}"/>
          </ac:spMkLst>
        </pc:spChg>
        <pc:picChg chg="add mod">
          <ac:chgData name="Lace Lofranco" userId="1515141e-a2ed-4ab4-a66f-6db2dda82fd4" providerId="ADAL" clId="{C7CF28B1-BD21-4B84-881F-EB9ECF147DEB}" dt="2018-04-15T15:05:57.161" v="4919" actId="1076"/>
          <ac:picMkLst>
            <pc:docMk/>
            <pc:sldMk cId="281606097" sldId="1617"/>
            <ac:picMk id="5" creationId="{D6D6BF96-DA16-4B62-B03C-CEE75D884BA4}"/>
          </ac:picMkLst>
        </pc:picChg>
      </pc:sldChg>
      <pc:sldChg chg="addSp delSp modSp add">
        <pc:chgData name="Lace Lofranco" userId="1515141e-a2ed-4ab4-a66f-6db2dda82fd4" providerId="ADAL" clId="{C7CF28B1-BD21-4B84-881F-EB9ECF147DEB}" dt="2018-04-15T14:17:24.062" v="3801" actId="5793"/>
        <pc:sldMkLst>
          <pc:docMk/>
          <pc:sldMk cId="1021249797" sldId="1618"/>
        </pc:sldMkLst>
        <pc:spChg chg="del">
          <ac:chgData name="Lace Lofranco" userId="1515141e-a2ed-4ab4-a66f-6db2dda82fd4" providerId="ADAL" clId="{C7CF28B1-BD21-4B84-881F-EB9ECF147DEB}" dt="2018-04-15T12:35:20.932" v="2564" actId="478"/>
          <ac:spMkLst>
            <pc:docMk/>
            <pc:sldMk cId="1021249797" sldId="1618"/>
            <ac:spMk id="5" creationId="{E72AA023-3808-49AF-8F51-7D069CE1AB83}"/>
          </ac:spMkLst>
        </pc:spChg>
        <pc:spChg chg="del">
          <ac:chgData name="Lace Lofranco" userId="1515141e-a2ed-4ab4-a66f-6db2dda82fd4" providerId="ADAL" clId="{C7CF28B1-BD21-4B84-881F-EB9ECF147DEB}" dt="2018-04-15T12:35:20.932" v="2564" actId="478"/>
          <ac:spMkLst>
            <pc:docMk/>
            <pc:sldMk cId="1021249797" sldId="1618"/>
            <ac:spMk id="12" creationId="{F9439DEC-C272-4C8B-BD21-047D44CD36BA}"/>
          </ac:spMkLst>
        </pc:spChg>
        <pc:spChg chg="del">
          <ac:chgData name="Lace Lofranco" userId="1515141e-a2ed-4ab4-a66f-6db2dda82fd4" providerId="ADAL" clId="{C7CF28B1-BD21-4B84-881F-EB9ECF147DEB}" dt="2018-04-15T12:35:20.932" v="2564" actId="478"/>
          <ac:spMkLst>
            <pc:docMk/>
            <pc:sldMk cId="1021249797" sldId="1618"/>
            <ac:spMk id="13" creationId="{A15736E8-5F88-439A-B04C-0D5AABA4502F}"/>
          </ac:spMkLst>
        </pc:spChg>
        <pc:spChg chg="del">
          <ac:chgData name="Lace Lofranco" userId="1515141e-a2ed-4ab4-a66f-6db2dda82fd4" providerId="ADAL" clId="{C7CF28B1-BD21-4B84-881F-EB9ECF147DEB}" dt="2018-04-15T12:35:20.932" v="2564" actId="478"/>
          <ac:spMkLst>
            <pc:docMk/>
            <pc:sldMk cId="1021249797" sldId="1618"/>
            <ac:spMk id="15" creationId="{42F35873-4599-4587-B242-C96EE95D3DD2}"/>
          </ac:spMkLst>
        </pc:spChg>
        <pc:spChg chg="del">
          <ac:chgData name="Lace Lofranco" userId="1515141e-a2ed-4ab4-a66f-6db2dda82fd4" providerId="ADAL" clId="{C7CF28B1-BD21-4B84-881F-EB9ECF147DEB}" dt="2018-04-15T12:35:20.932" v="2564" actId="478"/>
          <ac:spMkLst>
            <pc:docMk/>
            <pc:sldMk cId="1021249797" sldId="1618"/>
            <ac:spMk id="16" creationId="{97C1C1CE-5B9F-4C1D-B58F-A25D56ED0F49}"/>
          </ac:spMkLst>
        </pc:spChg>
        <pc:grpChg chg="del">
          <ac:chgData name="Lace Lofranco" userId="1515141e-a2ed-4ab4-a66f-6db2dda82fd4" providerId="ADAL" clId="{C7CF28B1-BD21-4B84-881F-EB9ECF147DEB}" dt="2018-04-15T12:35:20.932" v="2564" actId="478"/>
          <ac:grpSpMkLst>
            <pc:docMk/>
            <pc:sldMk cId="1021249797" sldId="1618"/>
            <ac:grpSpMk id="6" creationId="{7A650CF2-97DC-460F-84AE-5881A0C19F16}"/>
          </ac:grpSpMkLst>
        </pc:grpChg>
        <pc:graphicFrameChg chg="add mod modGraphic">
          <ac:chgData name="Lace Lofranco" userId="1515141e-a2ed-4ab4-a66f-6db2dda82fd4" providerId="ADAL" clId="{C7CF28B1-BD21-4B84-881F-EB9ECF147DEB}" dt="2018-04-15T14:17:24.062" v="3801" actId="5793"/>
          <ac:graphicFrameMkLst>
            <pc:docMk/>
            <pc:sldMk cId="1021249797" sldId="1618"/>
            <ac:graphicFrameMk id="20" creationId="{DB4855B9-26F5-49EE-BA13-29851CD5C5AB}"/>
          </ac:graphicFrameMkLst>
        </pc:graphicFrameChg>
        <pc:cxnChg chg="del">
          <ac:chgData name="Lace Lofranco" userId="1515141e-a2ed-4ab4-a66f-6db2dda82fd4" providerId="ADAL" clId="{C7CF28B1-BD21-4B84-881F-EB9ECF147DEB}" dt="2018-04-15T12:35:20.932" v="2564" actId="478"/>
          <ac:cxnSpMkLst>
            <pc:docMk/>
            <pc:sldMk cId="1021249797" sldId="1618"/>
            <ac:cxnSpMk id="3" creationId="{E74009B1-8F81-484C-B82D-202E86924AA7}"/>
          </ac:cxnSpMkLst>
        </pc:cxnChg>
        <pc:cxnChg chg="del">
          <ac:chgData name="Lace Lofranco" userId="1515141e-a2ed-4ab4-a66f-6db2dda82fd4" providerId="ADAL" clId="{C7CF28B1-BD21-4B84-881F-EB9ECF147DEB}" dt="2018-04-15T12:35:20.932" v="2564" actId="478"/>
          <ac:cxnSpMkLst>
            <pc:docMk/>
            <pc:sldMk cId="1021249797" sldId="1618"/>
            <ac:cxnSpMk id="4" creationId="{A4077ED3-096F-4E8F-9188-0A8BFA72408D}"/>
          </ac:cxnSpMkLst>
        </pc:cxnChg>
        <pc:cxnChg chg="del">
          <ac:chgData name="Lace Lofranco" userId="1515141e-a2ed-4ab4-a66f-6db2dda82fd4" providerId="ADAL" clId="{C7CF28B1-BD21-4B84-881F-EB9ECF147DEB}" dt="2018-04-15T12:35:20.932" v="2564" actId="478"/>
          <ac:cxnSpMkLst>
            <pc:docMk/>
            <pc:sldMk cId="1021249797" sldId="1618"/>
            <ac:cxnSpMk id="14" creationId="{B5CB7737-5E4E-4A1C-8F38-95073A8FC57F}"/>
          </ac:cxnSpMkLst>
        </pc:cxnChg>
        <pc:cxnChg chg="del">
          <ac:chgData name="Lace Lofranco" userId="1515141e-a2ed-4ab4-a66f-6db2dda82fd4" providerId="ADAL" clId="{C7CF28B1-BD21-4B84-881F-EB9ECF147DEB}" dt="2018-04-15T12:35:20.932" v="2564" actId="478"/>
          <ac:cxnSpMkLst>
            <pc:docMk/>
            <pc:sldMk cId="1021249797" sldId="1618"/>
            <ac:cxnSpMk id="17" creationId="{1A0CF441-2191-4C7D-830E-9F5C44389C8F}"/>
          </ac:cxnSpMkLst>
        </pc:cxnChg>
        <pc:cxnChg chg="del mod">
          <ac:chgData name="Lace Lofranco" userId="1515141e-a2ed-4ab4-a66f-6db2dda82fd4" providerId="ADAL" clId="{C7CF28B1-BD21-4B84-881F-EB9ECF147DEB}" dt="2018-04-15T12:35:20.932" v="2564" actId="478"/>
          <ac:cxnSpMkLst>
            <pc:docMk/>
            <pc:sldMk cId="1021249797" sldId="1618"/>
            <ac:cxnSpMk id="18" creationId="{EFC51629-3FC9-40AA-B2A7-3CEEFE03C05E}"/>
          </ac:cxnSpMkLst>
        </pc:cxnChg>
        <pc:cxnChg chg="del">
          <ac:chgData name="Lace Lofranco" userId="1515141e-a2ed-4ab4-a66f-6db2dda82fd4" providerId="ADAL" clId="{C7CF28B1-BD21-4B84-881F-EB9ECF147DEB}" dt="2018-04-15T12:35:20.932" v="2564" actId="478"/>
          <ac:cxnSpMkLst>
            <pc:docMk/>
            <pc:sldMk cId="1021249797" sldId="1618"/>
            <ac:cxnSpMk id="19" creationId="{424DB73B-B7CC-4262-8834-53980C31EA96}"/>
          </ac:cxnSpMkLst>
        </pc:cxnChg>
      </pc:sldChg>
      <pc:sldChg chg="addSp delSp modSp add ord">
        <pc:chgData name="Lace Lofranco" userId="1515141e-a2ed-4ab4-a66f-6db2dda82fd4" providerId="ADAL" clId="{C7CF28B1-BD21-4B84-881F-EB9ECF147DEB}" dt="2018-04-15T14:46:22.376" v="4234" actId="20577"/>
        <pc:sldMkLst>
          <pc:docMk/>
          <pc:sldMk cId="195203474" sldId="1620"/>
        </pc:sldMkLst>
        <pc:spChg chg="del">
          <ac:chgData name="Lace Lofranco" userId="1515141e-a2ed-4ab4-a66f-6db2dda82fd4" providerId="ADAL" clId="{C7CF28B1-BD21-4B84-881F-EB9ECF147DEB}" dt="2018-04-15T13:02:13.573" v="2881" actId="478"/>
          <ac:spMkLst>
            <pc:docMk/>
            <pc:sldMk cId="195203474" sldId="1620"/>
            <ac:spMk id="44" creationId="{158760C6-E8FD-4864-B22A-6DC5DD5500C6}"/>
          </ac:spMkLst>
        </pc:spChg>
        <pc:spChg chg="add mod">
          <ac:chgData name="Lace Lofranco" userId="1515141e-a2ed-4ab4-a66f-6db2dda82fd4" providerId="ADAL" clId="{C7CF28B1-BD21-4B84-881F-EB9ECF147DEB}" dt="2018-04-15T13:04:34.248" v="3009" actId="20577"/>
          <ac:spMkLst>
            <pc:docMk/>
            <pc:sldMk cId="195203474" sldId="1620"/>
            <ac:spMk id="45" creationId="{B877D358-EF59-463F-8C72-2FE417FC1230}"/>
          </ac:spMkLst>
        </pc:spChg>
      </pc:sldChg>
      <pc:sldChg chg="addSp delSp modSp add del ord">
        <pc:chgData name="Lace Lofranco" userId="1515141e-a2ed-4ab4-a66f-6db2dda82fd4" providerId="ADAL" clId="{C7CF28B1-BD21-4B84-881F-EB9ECF147DEB}" dt="2018-04-16T02:56:35.932" v="6476" actId="1076"/>
        <pc:sldMkLst>
          <pc:docMk/>
          <pc:sldMk cId="766427523" sldId="1621"/>
        </pc:sldMkLst>
        <pc:spChg chg="mod">
          <ac:chgData name="Lace Lofranco" userId="1515141e-a2ed-4ab4-a66f-6db2dda82fd4" providerId="ADAL" clId="{C7CF28B1-BD21-4B84-881F-EB9ECF147DEB}" dt="2018-04-15T14:17:55.339" v="3803" actId="208"/>
          <ac:spMkLst>
            <pc:docMk/>
            <pc:sldMk cId="766427523" sldId="1621"/>
            <ac:spMk id="5" creationId="{00000000-0000-0000-0000-000000000000}"/>
          </ac:spMkLst>
        </pc:spChg>
        <pc:spChg chg="mod">
          <ac:chgData name="Lace Lofranco" userId="1515141e-a2ed-4ab4-a66f-6db2dda82fd4" providerId="ADAL" clId="{C7CF28B1-BD21-4B84-881F-EB9ECF147DEB}" dt="2018-04-15T13:11:07.341" v="3073" actId="1038"/>
          <ac:spMkLst>
            <pc:docMk/>
            <pc:sldMk cId="766427523" sldId="1621"/>
            <ac:spMk id="11" creationId="{949023DE-2731-4F78-AC2E-0DDF7085F71C}"/>
          </ac:spMkLst>
        </pc:spChg>
        <pc:spChg chg="mod">
          <ac:chgData name="Lace Lofranco" userId="1515141e-a2ed-4ab4-a66f-6db2dda82fd4" providerId="ADAL" clId="{C7CF28B1-BD21-4B84-881F-EB9ECF147DEB}" dt="2018-04-15T14:18:20.349" v="3812" actId="208"/>
          <ac:spMkLst>
            <pc:docMk/>
            <pc:sldMk cId="766427523" sldId="1621"/>
            <ac:spMk id="167" creationId="{D41FA54A-BF28-42C1-BAB5-00F77F2BE36E}"/>
          </ac:spMkLst>
        </pc:spChg>
        <pc:spChg chg="mod">
          <ac:chgData name="Lace Lofranco" userId="1515141e-a2ed-4ab4-a66f-6db2dda82fd4" providerId="ADAL" clId="{C7CF28B1-BD21-4B84-881F-EB9ECF147DEB}" dt="2018-04-15T14:18:20.349" v="3812" actId="208"/>
          <ac:spMkLst>
            <pc:docMk/>
            <pc:sldMk cId="766427523" sldId="1621"/>
            <ac:spMk id="168" creationId="{EF12A1BF-A814-4491-97D6-31BAC827D32B}"/>
          </ac:spMkLst>
        </pc:spChg>
        <pc:spChg chg="mod">
          <ac:chgData name="Lace Lofranco" userId="1515141e-a2ed-4ab4-a66f-6db2dda82fd4" providerId="ADAL" clId="{C7CF28B1-BD21-4B84-881F-EB9ECF147DEB}" dt="2018-04-15T14:18:20.349" v="3812" actId="208"/>
          <ac:spMkLst>
            <pc:docMk/>
            <pc:sldMk cId="766427523" sldId="1621"/>
            <ac:spMk id="169" creationId="{CE25C6EB-E7AE-47CE-AF01-64A9FFD04266}"/>
          </ac:spMkLst>
        </pc:spChg>
        <pc:spChg chg="mod">
          <ac:chgData name="Lace Lofranco" userId="1515141e-a2ed-4ab4-a66f-6db2dda82fd4" providerId="ADAL" clId="{C7CF28B1-BD21-4B84-881F-EB9ECF147DEB}" dt="2018-04-15T14:17:55.339" v="3803" actId="208"/>
          <ac:spMkLst>
            <pc:docMk/>
            <pc:sldMk cId="766427523" sldId="1621"/>
            <ac:spMk id="171" creationId="{82403A1B-46A8-496D-97A1-D6CD697255D0}"/>
          </ac:spMkLst>
        </pc:spChg>
        <pc:spChg chg="mod">
          <ac:chgData name="Lace Lofranco" userId="1515141e-a2ed-4ab4-a66f-6db2dda82fd4" providerId="ADAL" clId="{C7CF28B1-BD21-4B84-881F-EB9ECF147DEB}" dt="2018-04-15T14:17:55.339" v="3803" actId="208"/>
          <ac:spMkLst>
            <pc:docMk/>
            <pc:sldMk cId="766427523" sldId="1621"/>
            <ac:spMk id="172" creationId="{4955A11D-DC58-4772-9411-DE2AE3195549}"/>
          </ac:spMkLst>
        </pc:spChg>
        <pc:spChg chg="mod">
          <ac:chgData name="Lace Lofranco" userId="1515141e-a2ed-4ab4-a66f-6db2dda82fd4" providerId="ADAL" clId="{C7CF28B1-BD21-4B84-881F-EB9ECF147DEB}" dt="2018-04-15T14:17:55.339" v="3803" actId="208"/>
          <ac:spMkLst>
            <pc:docMk/>
            <pc:sldMk cId="766427523" sldId="1621"/>
            <ac:spMk id="173" creationId="{DB0A5B1D-F31E-4BE1-9830-C9C3C44A294F}"/>
          </ac:spMkLst>
        </pc:spChg>
        <pc:spChg chg="mod">
          <ac:chgData name="Lace Lofranco" userId="1515141e-a2ed-4ab4-a66f-6db2dda82fd4" providerId="ADAL" clId="{C7CF28B1-BD21-4B84-881F-EB9ECF147DEB}" dt="2018-04-15T14:18:20.349" v="3812" actId="208"/>
          <ac:spMkLst>
            <pc:docMk/>
            <pc:sldMk cId="766427523" sldId="1621"/>
            <ac:spMk id="174" creationId="{B0854FBD-403C-4B0D-B2BB-E9D2C2068322}"/>
          </ac:spMkLst>
        </pc:spChg>
        <pc:spChg chg="mod">
          <ac:chgData name="Lace Lofranco" userId="1515141e-a2ed-4ab4-a66f-6db2dda82fd4" providerId="ADAL" clId="{C7CF28B1-BD21-4B84-881F-EB9ECF147DEB}" dt="2018-04-15T14:18:20.349" v="3812" actId="208"/>
          <ac:spMkLst>
            <pc:docMk/>
            <pc:sldMk cId="766427523" sldId="1621"/>
            <ac:spMk id="175" creationId="{4F75DB51-D6A0-4425-97A8-C6F1D00838E8}"/>
          </ac:spMkLst>
        </pc:spChg>
        <pc:spChg chg="mod">
          <ac:chgData name="Lace Lofranco" userId="1515141e-a2ed-4ab4-a66f-6db2dda82fd4" providerId="ADAL" clId="{C7CF28B1-BD21-4B84-881F-EB9ECF147DEB}" dt="2018-04-15T14:17:57.560" v="3804" actId="208"/>
          <ac:spMkLst>
            <pc:docMk/>
            <pc:sldMk cId="766427523" sldId="1621"/>
            <ac:spMk id="176" creationId="{8584423E-DC4D-476D-A3D6-22901C3C02B4}"/>
          </ac:spMkLst>
        </pc:spChg>
        <pc:spChg chg="mod">
          <ac:chgData name="Lace Lofranco" userId="1515141e-a2ed-4ab4-a66f-6db2dda82fd4" providerId="ADAL" clId="{C7CF28B1-BD21-4B84-881F-EB9ECF147DEB}" dt="2018-04-15T14:18:20.349" v="3812" actId="208"/>
          <ac:spMkLst>
            <pc:docMk/>
            <pc:sldMk cId="766427523" sldId="1621"/>
            <ac:spMk id="177" creationId="{1ED2B57A-8299-4302-AC8F-62DC4E4925DE}"/>
          </ac:spMkLst>
        </pc:spChg>
        <pc:spChg chg="mod">
          <ac:chgData name="Lace Lofranco" userId="1515141e-a2ed-4ab4-a66f-6db2dda82fd4" providerId="ADAL" clId="{C7CF28B1-BD21-4B84-881F-EB9ECF147DEB}" dt="2018-04-15T14:18:20.349" v="3812" actId="208"/>
          <ac:spMkLst>
            <pc:docMk/>
            <pc:sldMk cId="766427523" sldId="1621"/>
            <ac:spMk id="179" creationId="{453BE61B-3648-4CA6-ACC9-9F37A2D6D604}"/>
          </ac:spMkLst>
        </pc:spChg>
        <pc:spChg chg="mod">
          <ac:chgData name="Lace Lofranco" userId="1515141e-a2ed-4ab4-a66f-6db2dda82fd4" providerId="ADAL" clId="{C7CF28B1-BD21-4B84-881F-EB9ECF147DEB}" dt="2018-04-15T14:18:20.349" v="3812" actId="208"/>
          <ac:spMkLst>
            <pc:docMk/>
            <pc:sldMk cId="766427523" sldId="1621"/>
            <ac:spMk id="180" creationId="{DA454E18-FC30-45FC-9B5D-2747C1D4681F}"/>
          </ac:spMkLst>
        </pc:spChg>
        <pc:spChg chg="del">
          <ac:chgData name="Lace Lofranco" userId="1515141e-a2ed-4ab4-a66f-6db2dda82fd4" providerId="ADAL" clId="{C7CF28B1-BD21-4B84-881F-EB9ECF147DEB}" dt="2018-04-15T13:07:44.416" v="3025" actId="478"/>
          <ac:spMkLst>
            <pc:docMk/>
            <pc:sldMk cId="766427523" sldId="1621"/>
            <ac:spMk id="183" creationId="{E4B4DC97-3EBB-4DA5-B8DF-1E36FFBF55BB}"/>
          </ac:spMkLst>
        </pc:spChg>
        <pc:spChg chg="add mod">
          <ac:chgData name="Lace Lofranco" userId="1515141e-a2ed-4ab4-a66f-6db2dda82fd4" providerId="ADAL" clId="{C7CF28B1-BD21-4B84-881F-EB9ECF147DEB}" dt="2018-04-16T02:56:35.932" v="6476" actId="1076"/>
          <ac:spMkLst>
            <pc:docMk/>
            <pc:sldMk cId="766427523" sldId="1621"/>
            <ac:spMk id="184" creationId="{FDC29A6A-C601-4AAB-BE1A-6C4E1D8C1116}"/>
          </ac:spMkLst>
        </pc:spChg>
        <pc:spChg chg="mod">
          <ac:chgData name="Lace Lofranco" userId="1515141e-a2ed-4ab4-a66f-6db2dda82fd4" providerId="ADAL" clId="{C7CF28B1-BD21-4B84-881F-EB9ECF147DEB}" dt="2018-04-15T14:18:01.072" v="3806" actId="208"/>
          <ac:spMkLst>
            <pc:docMk/>
            <pc:sldMk cId="766427523" sldId="1621"/>
            <ac:spMk id="191" creationId="{0A8BE349-F75B-4DA5-91B4-2A6FEDCC3717}"/>
          </ac:spMkLst>
        </pc:spChg>
        <pc:spChg chg="mod">
          <ac:chgData name="Lace Lofranco" userId="1515141e-a2ed-4ab4-a66f-6db2dda82fd4" providerId="ADAL" clId="{C7CF28B1-BD21-4B84-881F-EB9ECF147DEB}" dt="2018-04-15T14:18:01.072" v="3806" actId="208"/>
          <ac:spMkLst>
            <pc:docMk/>
            <pc:sldMk cId="766427523" sldId="1621"/>
            <ac:spMk id="192" creationId="{42708161-D58A-4D4C-A577-8696733DBA21}"/>
          </ac:spMkLst>
        </pc:spChg>
        <pc:spChg chg="mod">
          <ac:chgData name="Lace Lofranco" userId="1515141e-a2ed-4ab4-a66f-6db2dda82fd4" providerId="ADAL" clId="{C7CF28B1-BD21-4B84-881F-EB9ECF147DEB}" dt="2018-04-15T14:18:03.508" v="3807" actId="208"/>
          <ac:spMkLst>
            <pc:docMk/>
            <pc:sldMk cId="766427523" sldId="1621"/>
            <ac:spMk id="195" creationId="{56F84BC6-29A5-47B4-B63A-E67E8F47062A}"/>
          </ac:spMkLst>
        </pc:spChg>
        <pc:spChg chg="mod">
          <ac:chgData name="Lace Lofranco" userId="1515141e-a2ed-4ab4-a66f-6db2dda82fd4" providerId="ADAL" clId="{C7CF28B1-BD21-4B84-881F-EB9ECF147DEB}" dt="2018-04-15T14:18:03.508" v="3807" actId="208"/>
          <ac:spMkLst>
            <pc:docMk/>
            <pc:sldMk cId="766427523" sldId="1621"/>
            <ac:spMk id="196" creationId="{14E7BF12-5327-408A-A695-4E11198D50D7}"/>
          </ac:spMkLst>
        </pc:spChg>
        <pc:spChg chg="mod">
          <ac:chgData name="Lace Lofranco" userId="1515141e-a2ed-4ab4-a66f-6db2dda82fd4" providerId="ADAL" clId="{C7CF28B1-BD21-4B84-881F-EB9ECF147DEB}" dt="2018-04-15T14:18:03.508" v="3807" actId="208"/>
          <ac:spMkLst>
            <pc:docMk/>
            <pc:sldMk cId="766427523" sldId="1621"/>
            <ac:spMk id="197" creationId="{BA83800C-8600-4A26-AC84-AB5E3F7559EE}"/>
          </ac:spMkLst>
        </pc:spChg>
        <pc:spChg chg="mod">
          <ac:chgData name="Lace Lofranco" userId="1515141e-a2ed-4ab4-a66f-6db2dda82fd4" providerId="ADAL" clId="{C7CF28B1-BD21-4B84-881F-EB9ECF147DEB}" dt="2018-04-15T14:18:03.508" v="3807" actId="208"/>
          <ac:spMkLst>
            <pc:docMk/>
            <pc:sldMk cId="766427523" sldId="1621"/>
            <ac:spMk id="198" creationId="{3B1A8ED1-DC16-4B90-B5E0-B5427DE14503}"/>
          </ac:spMkLst>
        </pc:spChg>
        <pc:spChg chg="mod">
          <ac:chgData name="Lace Lofranco" userId="1515141e-a2ed-4ab4-a66f-6db2dda82fd4" providerId="ADAL" clId="{C7CF28B1-BD21-4B84-881F-EB9ECF147DEB}" dt="2018-04-15T14:18:03.508" v="3807" actId="208"/>
          <ac:spMkLst>
            <pc:docMk/>
            <pc:sldMk cId="766427523" sldId="1621"/>
            <ac:spMk id="199" creationId="{9C7CA43B-C9E6-40BA-B5B3-41644AEF2681}"/>
          </ac:spMkLst>
        </pc:spChg>
        <pc:spChg chg="mod">
          <ac:chgData name="Lace Lofranco" userId="1515141e-a2ed-4ab4-a66f-6db2dda82fd4" providerId="ADAL" clId="{C7CF28B1-BD21-4B84-881F-EB9ECF147DEB}" dt="2018-04-15T14:18:03.508" v="3807" actId="208"/>
          <ac:spMkLst>
            <pc:docMk/>
            <pc:sldMk cId="766427523" sldId="1621"/>
            <ac:spMk id="200" creationId="{9E45A68A-C242-4E6C-A2A0-335993C2628D}"/>
          </ac:spMkLst>
        </pc:spChg>
        <pc:spChg chg="mod">
          <ac:chgData name="Lace Lofranco" userId="1515141e-a2ed-4ab4-a66f-6db2dda82fd4" providerId="ADAL" clId="{C7CF28B1-BD21-4B84-881F-EB9ECF147DEB}" dt="2018-04-15T14:18:03.508" v="3807" actId="208"/>
          <ac:spMkLst>
            <pc:docMk/>
            <pc:sldMk cId="766427523" sldId="1621"/>
            <ac:spMk id="201" creationId="{12261218-B93E-42BF-A6C4-7569B7707BDD}"/>
          </ac:spMkLst>
        </pc:spChg>
        <pc:spChg chg="mod">
          <ac:chgData name="Lace Lofranco" userId="1515141e-a2ed-4ab4-a66f-6db2dda82fd4" providerId="ADAL" clId="{C7CF28B1-BD21-4B84-881F-EB9ECF147DEB}" dt="2018-04-15T14:17:57.560" v="3804" actId="208"/>
          <ac:spMkLst>
            <pc:docMk/>
            <pc:sldMk cId="766427523" sldId="1621"/>
            <ac:spMk id="203" creationId="{8584423E-DC4D-476D-A3D6-22901C3C02B4}"/>
          </ac:spMkLst>
        </pc:spChg>
        <pc:spChg chg="mod">
          <ac:chgData name="Lace Lofranco" userId="1515141e-a2ed-4ab4-a66f-6db2dda82fd4" providerId="ADAL" clId="{C7CF28B1-BD21-4B84-881F-EB9ECF147DEB}" dt="2018-04-15T14:17:59.335" v="3805" actId="208"/>
          <ac:spMkLst>
            <pc:docMk/>
            <pc:sldMk cId="766427523" sldId="1621"/>
            <ac:spMk id="205" creationId="{F2B35AA8-8718-4590-A107-3CFFCFB74F8C}"/>
          </ac:spMkLst>
        </pc:spChg>
        <pc:spChg chg="mod">
          <ac:chgData name="Lace Lofranco" userId="1515141e-a2ed-4ab4-a66f-6db2dda82fd4" providerId="ADAL" clId="{C7CF28B1-BD21-4B84-881F-EB9ECF147DEB}" dt="2018-04-15T14:17:59.335" v="3805" actId="208"/>
          <ac:spMkLst>
            <pc:docMk/>
            <pc:sldMk cId="766427523" sldId="1621"/>
            <ac:spMk id="206" creationId="{A3043977-89CB-4A95-A293-16F283986B94}"/>
          </ac:spMkLst>
        </pc:spChg>
        <pc:spChg chg="mod">
          <ac:chgData name="Lace Lofranco" userId="1515141e-a2ed-4ab4-a66f-6db2dda82fd4" providerId="ADAL" clId="{C7CF28B1-BD21-4B84-881F-EB9ECF147DEB}" dt="2018-04-15T14:17:59.335" v="3805" actId="208"/>
          <ac:spMkLst>
            <pc:docMk/>
            <pc:sldMk cId="766427523" sldId="1621"/>
            <ac:spMk id="207" creationId="{7829CCA2-178D-4D6B-9FC5-2630A342B21D}"/>
          </ac:spMkLst>
        </pc:spChg>
        <pc:spChg chg="mod">
          <ac:chgData name="Lace Lofranco" userId="1515141e-a2ed-4ab4-a66f-6db2dda82fd4" providerId="ADAL" clId="{C7CF28B1-BD21-4B84-881F-EB9ECF147DEB}" dt="2018-04-15T14:17:59.335" v="3805" actId="208"/>
          <ac:spMkLst>
            <pc:docMk/>
            <pc:sldMk cId="766427523" sldId="1621"/>
            <ac:spMk id="208" creationId="{22563FEF-DAD4-4A23-BB45-EAC541594376}"/>
          </ac:spMkLst>
        </pc:spChg>
        <pc:spChg chg="mod">
          <ac:chgData name="Lace Lofranco" userId="1515141e-a2ed-4ab4-a66f-6db2dda82fd4" providerId="ADAL" clId="{C7CF28B1-BD21-4B84-881F-EB9ECF147DEB}" dt="2018-04-15T14:17:59.335" v="3805" actId="208"/>
          <ac:spMkLst>
            <pc:docMk/>
            <pc:sldMk cId="766427523" sldId="1621"/>
            <ac:spMk id="209" creationId="{BDED1F1B-F2B0-4F8B-BFAD-0BAD3388FE23}"/>
          </ac:spMkLst>
        </pc:spChg>
        <pc:spChg chg="mod">
          <ac:chgData name="Lace Lofranco" userId="1515141e-a2ed-4ab4-a66f-6db2dda82fd4" providerId="ADAL" clId="{C7CF28B1-BD21-4B84-881F-EB9ECF147DEB}" dt="2018-04-15T14:17:59.335" v="3805" actId="208"/>
          <ac:spMkLst>
            <pc:docMk/>
            <pc:sldMk cId="766427523" sldId="1621"/>
            <ac:spMk id="210" creationId="{D936F1BB-B5F7-4834-A484-F4A349C3F6CA}"/>
          </ac:spMkLst>
        </pc:spChg>
        <pc:spChg chg="mod">
          <ac:chgData name="Lace Lofranco" userId="1515141e-a2ed-4ab4-a66f-6db2dda82fd4" providerId="ADAL" clId="{C7CF28B1-BD21-4B84-881F-EB9ECF147DEB}" dt="2018-04-15T14:17:59.335" v="3805" actId="208"/>
          <ac:spMkLst>
            <pc:docMk/>
            <pc:sldMk cId="766427523" sldId="1621"/>
            <ac:spMk id="211" creationId="{68FB4239-4769-4815-B8FE-88E8D3A8B968}"/>
          </ac:spMkLst>
        </pc:spChg>
        <pc:spChg chg="mod">
          <ac:chgData name="Lace Lofranco" userId="1515141e-a2ed-4ab4-a66f-6db2dda82fd4" providerId="ADAL" clId="{C7CF28B1-BD21-4B84-881F-EB9ECF147DEB}" dt="2018-04-15T14:17:59.335" v="3805" actId="208"/>
          <ac:spMkLst>
            <pc:docMk/>
            <pc:sldMk cId="766427523" sldId="1621"/>
            <ac:spMk id="212" creationId="{34C16495-DC70-480D-ADF0-7781670E2479}"/>
          </ac:spMkLst>
        </pc:spChg>
        <pc:spChg chg="mod">
          <ac:chgData name="Lace Lofranco" userId="1515141e-a2ed-4ab4-a66f-6db2dda82fd4" providerId="ADAL" clId="{C7CF28B1-BD21-4B84-881F-EB9ECF147DEB}" dt="2018-04-15T14:18:14.555" v="3810" actId="208"/>
          <ac:spMkLst>
            <pc:docMk/>
            <pc:sldMk cId="766427523" sldId="1621"/>
            <ac:spMk id="220" creationId="{DD5803B4-9800-4E61-A1AE-C7BC7EDE78F5}"/>
          </ac:spMkLst>
        </pc:spChg>
        <pc:spChg chg="mod">
          <ac:chgData name="Lace Lofranco" userId="1515141e-a2ed-4ab4-a66f-6db2dda82fd4" providerId="ADAL" clId="{C7CF28B1-BD21-4B84-881F-EB9ECF147DEB}" dt="2018-04-15T14:18:14.555" v="3810" actId="208"/>
          <ac:spMkLst>
            <pc:docMk/>
            <pc:sldMk cId="766427523" sldId="1621"/>
            <ac:spMk id="221" creationId="{087426E8-22CB-4740-8EA2-7E79F76FED92}"/>
          </ac:spMkLst>
        </pc:spChg>
        <pc:spChg chg="mod">
          <ac:chgData name="Lace Lofranco" userId="1515141e-a2ed-4ab4-a66f-6db2dda82fd4" providerId="ADAL" clId="{C7CF28B1-BD21-4B84-881F-EB9ECF147DEB}" dt="2018-04-15T14:18:14.555" v="3810" actId="208"/>
          <ac:spMkLst>
            <pc:docMk/>
            <pc:sldMk cId="766427523" sldId="1621"/>
            <ac:spMk id="222" creationId="{C41AE70E-CCC5-4012-87EE-D78D46E468B8}"/>
          </ac:spMkLst>
        </pc:spChg>
        <pc:spChg chg="mod">
          <ac:chgData name="Lace Lofranco" userId="1515141e-a2ed-4ab4-a66f-6db2dda82fd4" providerId="ADAL" clId="{C7CF28B1-BD21-4B84-881F-EB9ECF147DEB}" dt="2018-04-15T14:18:14.555" v="3810" actId="208"/>
          <ac:spMkLst>
            <pc:docMk/>
            <pc:sldMk cId="766427523" sldId="1621"/>
            <ac:spMk id="223" creationId="{3BB82065-89DA-4276-83E9-345666DEC11A}"/>
          </ac:spMkLst>
        </pc:spChg>
        <pc:spChg chg="mod">
          <ac:chgData name="Lace Lofranco" userId="1515141e-a2ed-4ab4-a66f-6db2dda82fd4" providerId="ADAL" clId="{C7CF28B1-BD21-4B84-881F-EB9ECF147DEB}" dt="2018-04-15T14:18:14.555" v="3810" actId="208"/>
          <ac:spMkLst>
            <pc:docMk/>
            <pc:sldMk cId="766427523" sldId="1621"/>
            <ac:spMk id="224" creationId="{C81E81EE-105D-4A76-A964-A547F2F69C90}"/>
          </ac:spMkLst>
        </pc:spChg>
        <pc:spChg chg="mod">
          <ac:chgData name="Lace Lofranco" userId="1515141e-a2ed-4ab4-a66f-6db2dda82fd4" providerId="ADAL" clId="{C7CF28B1-BD21-4B84-881F-EB9ECF147DEB}" dt="2018-04-15T14:18:20.349" v="3812" actId="208"/>
          <ac:spMkLst>
            <pc:docMk/>
            <pc:sldMk cId="766427523" sldId="1621"/>
            <ac:spMk id="323" creationId="{7FD3112F-1B1F-4DA6-A031-491CA8167398}"/>
          </ac:spMkLst>
        </pc:spChg>
        <pc:spChg chg="mod">
          <ac:chgData name="Lace Lofranco" userId="1515141e-a2ed-4ab4-a66f-6db2dda82fd4" providerId="ADAL" clId="{C7CF28B1-BD21-4B84-881F-EB9ECF147DEB}" dt="2018-04-15T13:10:11.317" v="3060" actId="1582"/>
          <ac:spMkLst>
            <pc:docMk/>
            <pc:sldMk cId="766427523" sldId="1621"/>
            <ac:spMk id="332" creationId="{00000000-0000-0000-0000-000000000000}"/>
          </ac:spMkLst>
        </pc:spChg>
        <pc:spChg chg="mod">
          <ac:chgData name="Lace Lofranco" userId="1515141e-a2ed-4ab4-a66f-6db2dda82fd4" providerId="ADAL" clId="{C7CF28B1-BD21-4B84-881F-EB9ECF147DEB}" dt="2018-04-15T14:18:24.173" v="3813" actId="208"/>
          <ac:spMkLst>
            <pc:docMk/>
            <pc:sldMk cId="766427523" sldId="1621"/>
            <ac:spMk id="335" creationId="{B69A7114-346D-4E1F-8316-C9F674D43BD2}"/>
          </ac:spMkLst>
        </pc:spChg>
        <pc:spChg chg="mod">
          <ac:chgData name="Lace Lofranco" userId="1515141e-a2ed-4ab4-a66f-6db2dda82fd4" providerId="ADAL" clId="{C7CF28B1-BD21-4B84-881F-EB9ECF147DEB}" dt="2018-04-15T14:18:24.173" v="3813" actId="208"/>
          <ac:spMkLst>
            <pc:docMk/>
            <pc:sldMk cId="766427523" sldId="1621"/>
            <ac:spMk id="336" creationId="{829E95C8-0BE7-4934-BBA0-764CFC1335BC}"/>
          </ac:spMkLst>
        </pc:spChg>
        <pc:spChg chg="mod">
          <ac:chgData name="Lace Lofranco" userId="1515141e-a2ed-4ab4-a66f-6db2dda82fd4" providerId="ADAL" clId="{C7CF28B1-BD21-4B84-881F-EB9ECF147DEB}" dt="2018-04-15T14:18:24.173" v="3813" actId="208"/>
          <ac:spMkLst>
            <pc:docMk/>
            <pc:sldMk cId="766427523" sldId="1621"/>
            <ac:spMk id="337" creationId="{018D398B-43FE-4715-8E00-9755FF081ED6}"/>
          </ac:spMkLst>
        </pc:spChg>
        <pc:spChg chg="mod">
          <ac:chgData name="Lace Lofranco" userId="1515141e-a2ed-4ab4-a66f-6db2dda82fd4" providerId="ADAL" clId="{C7CF28B1-BD21-4B84-881F-EB9ECF147DEB}" dt="2018-04-15T14:18:24.173" v="3813" actId="208"/>
          <ac:spMkLst>
            <pc:docMk/>
            <pc:sldMk cId="766427523" sldId="1621"/>
            <ac:spMk id="338" creationId="{C3354846-2B08-490E-8CC7-713F631A2042}"/>
          </ac:spMkLst>
        </pc:spChg>
        <pc:spChg chg="mod">
          <ac:chgData name="Lace Lofranco" userId="1515141e-a2ed-4ab4-a66f-6db2dda82fd4" providerId="ADAL" clId="{C7CF28B1-BD21-4B84-881F-EB9ECF147DEB}" dt="2018-04-15T14:18:24.173" v="3813" actId="208"/>
          <ac:spMkLst>
            <pc:docMk/>
            <pc:sldMk cId="766427523" sldId="1621"/>
            <ac:spMk id="339" creationId="{D1CBB913-D1AD-48D0-BE4A-7FBEA08A9A92}"/>
          </ac:spMkLst>
        </pc:spChg>
        <pc:spChg chg="mod">
          <ac:chgData name="Lace Lofranco" userId="1515141e-a2ed-4ab4-a66f-6db2dda82fd4" providerId="ADAL" clId="{C7CF28B1-BD21-4B84-881F-EB9ECF147DEB}" dt="2018-04-15T14:18:24.173" v="3813" actId="208"/>
          <ac:spMkLst>
            <pc:docMk/>
            <pc:sldMk cId="766427523" sldId="1621"/>
            <ac:spMk id="340" creationId="{C1B58B5E-4C1F-4ADC-AA6C-FC2ABE032354}"/>
          </ac:spMkLst>
        </pc:spChg>
        <pc:spChg chg="mod">
          <ac:chgData name="Lace Lofranco" userId="1515141e-a2ed-4ab4-a66f-6db2dda82fd4" providerId="ADAL" clId="{C7CF28B1-BD21-4B84-881F-EB9ECF147DEB}" dt="2018-04-15T14:18:24.173" v="3813" actId="208"/>
          <ac:spMkLst>
            <pc:docMk/>
            <pc:sldMk cId="766427523" sldId="1621"/>
            <ac:spMk id="341" creationId="{CFB2AEFE-8939-4180-9B35-944BDC81CF0E}"/>
          </ac:spMkLst>
        </pc:spChg>
        <pc:spChg chg="mod">
          <ac:chgData name="Lace Lofranco" userId="1515141e-a2ed-4ab4-a66f-6db2dda82fd4" providerId="ADAL" clId="{C7CF28B1-BD21-4B84-881F-EB9ECF147DEB}" dt="2018-04-15T14:18:24.173" v="3813" actId="208"/>
          <ac:spMkLst>
            <pc:docMk/>
            <pc:sldMk cId="766427523" sldId="1621"/>
            <ac:spMk id="342" creationId="{09010101-87A4-4BE3-A0A0-3F72B3CAD0F3}"/>
          </ac:spMkLst>
        </pc:spChg>
        <pc:spChg chg="mod">
          <ac:chgData name="Lace Lofranco" userId="1515141e-a2ed-4ab4-a66f-6db2dda82fd4" providerId="ADAL" clId="{C7CF28B1-BD21-4B84-881F-EB9ECF147DEB}" dt="2018-04-15T14:18:20.349" v="3812" actId="208"/>
          <ac:spMkLst>
            <pc:docMk/>
            <pc:sldMk cId="766427523" sldId="1621"/>
            <ac:spMk id="705"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06"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07"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08"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09"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0"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1"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2"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3"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4"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5"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6"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7"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18"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2"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3"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4"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5"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6"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7"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8"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29"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30"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31" creationId="{00000000-0000-0000-0000-000000000000}"/>
          </ac:spMkLst>
        </pc:spChg>
        <pc:spChg chg="mod">
          <ac:chgData name="Lace Lofranco" userId="1515141e-a2ed-4ab4-a66f-6db2dda82fd4" providerId="ADAL" clId="{C7CF28B1-BD21-4B84-881F-EB9ECF147DEB}" dt="2018-04-15T14:18:20.349" v="3812" actId="208"/>
          <ac:spMkLst>
            <pc:docMk/>
            <pc:sldMk cId="766427523" sldId="1621"/>
            <ac:spMk id="732" creationId="{00000000-0000-0000-0000-000000000000}"/>
          </ac:spMkLst>
        </pc:spChg>
        <pc:grpChg chg="mod">
          <ac:chgData name="Lace Lofranco" userId="1515141e-a2ed-4ab4-a66f-6db2dda82fd4" providerId="ADAL" clId="{C7CF28B1-BD21-4B84-881F-EB9ECF147DEB}" dt="2018-04-15T14:17:54.187" v="3802" actId="207"/>
          <ac:grpSpMkLst>
            <pc:docMk/>
            <pc:sldMk cId="766427523" sldId="1621"/>
            <ac:grpSpMk id="8" creationId="{00000000-0000-0000-0000-000000000000}"/>
          </ac:grpSpMkLst>
        </pc:grpChg>
        <pc:grpChg chg="mod">
          <ac:chgData name="Lace Lofranco" userId="1515141e-a2ed-4ab4-a66f-6db2dda82fd4" providerId="ADAL" clId="{C7CF28B1-BD21-4B84-881F-EB9ECF147DEB}" dt="2018-04-15T14:18:18.268" v="3811" actId="207"/>
          <ac:grpSpMkLst>
            <pc:docMk/>
            <pc:sldMk cId="766427523" sldId="1621"/>
            <ac:grpSpMk id="12" creationId="{00000000-0000-0000-0000-000000000000}"/>
          </ac:grpSpMkLst>
        </pc:grpChg>
        <pc:grpChg chg="mod">
          <ac:chgData name="Lace Lofranco" userId="1515141e-a2ed-4ab4-a66f-6db2dda82fd4" providerId="ADAL" clId="{C7CF28B1-BD21-4B84-881F-EB9ECF147DEB}" dt="2018-04-15T14:18:18.268" v="3811" actId="207"/>
          <ac:grpSpMkLst>
            <pc:docMk/>
            <pc:sldMk cId="766427523" sldId="1621"/>
            <ac:grpSpMk id="166" creationId="{329D6182-2959-48F8-AEDB-BB4B108D1668}"/>
          </ac:grpSpMkLst>
        </pc:grpChg>
        <pc:grpChg chg="mod">
          <ac:chgData name="Lace Lofranco" userId="1515141e-a2ed-4ab4-a66f-6db2dda82fd4" providerId="ADAL" clId="{C7CF28B1-BD21-4B84-881F-EB9ECF147DEB}" dt="2018-04-15T14:18:18.268" v="3811" actId="207"/>
          <ac:grpSpMkLst>
            <pc:docMk/>
            <pc:sldMk cId="766427523" sldId="1621"/>
            <ac:grpSpMk id="318" creationId="{DE98A571-5A30-4C43-8EC9-BBE5278533B5}"/>
          </ac:grpSpMkLst>
        </pc:grpChg>
        <pc:grpChg chg="mod">
          <ac:chgData name="Lace Lofranco" userId="1515141e-a2ed-4ab4-a66f-6db2dda82fd4" providerId="ADAL" clId="{C7CF28B1-BD21-4B84-881F-EB9ECF147DEB}" dt="2018-04-15T14:18:18.268" v="3811" actId="207"/>
          <ac:grpSpMkLst>
            <pc:docMk/>
            <pc:sldMk cId="766427523" sldId="1621"/>
            <ac:grpSpMk id="704" creationId="{00000000-0000-0000-0000-000000000000}"/>
          </ac:grpSpMkLst>
        </pc:grpChg>
        <pc:cxnChg chg="mod">
          <ac:chgData name="Lace Lofranco" userId="1515141e-a2ed-4ab4-a66f-6db2dda82fd4" providerId="ADAL" clId="{C7CF28B1-BD21-4B84-881F-EB9ECF147DEB}" dt="2018-04-15T14:18:20.349" v="3812" actId="208"/>
          <ac:cxnSpMkLst>
            <pc:docMk/>
            <pc:sldMk cId="766427523" sldId="1621"/>
            <ac:cxnSpMk id="319" creationId="{AA201B79-48DF-4CE1-A660-76EE2C933301}"/>
          </ac:cxnSpMkLst>
        </pc:cxnChg>
        <pc:cxnChg chg="mod">
          <ac:chgData name="Lace Lofranco" userId="1515141e-a2ed-4ab4-a66f-6db2dda82fd4" providerId="ADAL" clId="{C7CF28B1-BD21-4B84-881F-EB9ECF147DEB}" dt="2018-04-15T14:18:20.349" v="3812" actId="208"/>
          <ac:cxnSpMkLst>
            <pc:docMk/>
            <pc:sldMk cId="766427523" sldId="1621"/>
            <ac:cxnSpMk id="320" creationId="{87DFF8DA-748D-4A42-A1BC-3EA296E54544}"/>
          </ac:cxnSpMkLst>
        </pc:cxnChg>
        <pc:cxnChg chg="mod">
          <ac:chgData name="Lace Lofranco" userId="1515141e-a2ed-4ab4-a66f-6db2dda82fd4" providerId="ADAL" clId="{C7CF28B1-BD21-4B84-881F-EB9ECF147DEB}" dt="2018-04-15T14:18:20.349" v="3812" actId="208"/>
          <ac:cxnSpMkLst>
            <pc:docMk/>
            <pc:sldMk cId="766427523" sldId="1621"/>
            <ac:cxnSpMk id="321" creationId="{1A88BE1F-D84C-49A8-AD37-F96D49F689A6}"/>
          </ac:cxnSpMkLst>
        </pc:cxnChg>
        <pc:cxnChg chg="mod">
          <ac:chgData name="Lace Lofranco" userId="1515141e-a2ed-4ab4-a66f-6db2dda82fd4" providerId="ADAL" clId="{C7CF28B1-BD21-4B84-881F-EB9ECF147DEB}" dt="2018-04-15T14:18:20.349" v="3812" actId="208"/>
          <ac:cxnSpMkLst>
            <pc:docMk/>
            <pc:sldMk cId="766427523" sldId="1621"/>
            <ac:cxnSpMk id="322" creationId="{19F5BE5D-B2E8-4AE9-98BD-5CB0BFF18C6D}"/>
          </ac:cxnSpMkLst>
        </pc:cxnChg>
        <pc:cxnChg chg="mod">
          <ac:chgData name="Lace Lofranco" userId="1515141e-a2ed-4ab4-a66f-6db2dda82fd4" providerId="ADAL" clId="{C7CF28B1-BD21-4B84-881F-EB9ECF147DEB}" dt="2018-04-15T14:18:24.173" v="3813" actId="208"/>
          <ac:cxnSpMkLst>
            <pc:docMk/>
            <pc:sldMk cId="766427523" sldId="1621"/>
            <ac:cxnSpMk id="343" creationId="{5A851271-35B9-4567-8242-E3F912E0579A}"/>
          </ac:cxnSpMkLst>
        </pc:cxnChg>
        <pc:cxnChg chg="mod">
          <ac:chgData name="Lace Lofranco" userId="1515141e-a2ed-4ab4-a66f-6db2dda82fd4" providerId="ADAL" clId="{C7CF28B1-BD21-4B84-881F-EB9ECF147DEB}" dt="2018-04-15T14:18:24.173" v="3813" actId="208"/>
          <ac:cxnSpMkLst>
            <pc:docMk/>
            <pc:sldMk cId="766427523" sldId="1621"/>
            <ac:cxnSpMk id="344" creationId="{AB8BADB1-F06D-4556-BDB3-AC51BE1C0209}"/>
          </ac:cxnSpMkLst>
        </pc:cxnChg>
        <pc:cxnChg chg="mod">
          <ac:chgData name="Lace Lofranco" userId="1515141e-a2ed-4ab4-a66f-6db2dda82fd4" providerId="ADAL" clId="{C7CF28B1-BD21-4B84-881F-EB9ECF147DEB}" dt="2018-04-15T14:18:24.173" v="3813" actId="208"/>
          <ac:cxnSpMkLst>
            <pc:docMk/>
            <pc:sldMk cId="766427523" sldId="1621"/>
            <ac:cxnSpMk id="345" creationId="{FEDDF95B-3B64-4407-8297-89C1BA4C5D78}"/>
          </ac:cxnSpMkLst>
        </pc:cxnChg>
        <pc:cxnChg chg="mod">
          <ac:chgData name="Lace Lofranco" userId="1515141e-a2ed-4ab4-a66f-6db2dda82fd4" providerId="ADAL" clId="{C7CF28B1-BD21-4B84-881F-EB9ECF147DEB}" dt="2018-04-15T14:18:24.173" v="3813" actId="208"/>
          <ac:cxnSpMkLst>
            <pc:docMk/>
            <pc:sldMk cId="766427523" sldId="1621"/>
            <ac:cxnSpMk id="346" creationId="{0024F100-B6BA-4A71-A159-2082E41BB8E5}"/>
          </ac:cxnSpMkLst>
        </pc:cxnChg>
        <pc:cxnChg chg="mod">
          <ac:chgData name="Lace Lofranco" userId="1515141e-a2ed-4ab4-a66f-6db2dda82fd4" providerId="ADAL" clId="{C7CF28B1-BD21-4B84-881F-EB9ECF147DEB}" dt="2018-04-15T14:18:24.173" v="3813" actId="208"/>
          <ac:cxnSpMkLst>
            <pc:docMk/>
            <pc:sldMk cId="766427523" sldId="1621"/>
            <ac:cxnSpMk id="347" creationId="{14772615-86BD-40A8-A00C-9CA1E8D8ADC2}"/>
          </ac:cxnSpMkLst>
        </pc:cxnChg>
        <pc:cxnChg chg="mod">
          <ac:chgData name="Lace Lofranco" userId="1515141e-a2ed-4ab4-a66f-6db2dda82fd4" providerId="ADAL" clId="{C7CF28B1-BD21-4B84-881F-EB9ECF147DEB}" dt="2018-04-15T14:18:24.173" v="3813" actId="208"/>
          <ac:cxnSpMkLst>
            <pc:docMk/>
            <pc:sldMk cId="766427523" sldId="1621"/>
            <ac:cxnSpMk id="348" creationId="{CE05E5C5-F516-4118-A018-0C2ABCE56079}"/>
          </ac:cxnSpMkLst>
        </pc:cxnChg>
        <pc:cxnChg chg="mod">
          <ac:chgData name="Lace Lofranco" userId="1515141e-a2ed-4ab4-a66f-6db2dda82fd4" providerId="ADAL" clId="{C7CF28B1-BD21-4B84-881F-EB9ECF147DEB}" dt="2018-04-15T14:18:24.173" v="3813" actId="208"/>
          <ac:cxnSpMkLst>
            <pc:docMk/>
            <pc:sldMk cId="766427523" sldId="1621"/>
            <ac:cxnSpMk id="349" creationId="{235FA8B6-0664-4D81-A0C3-041C91042D21}"/>
          </ac:cxnSpMkLst>
        </pc:cxnChg>
        <pc:cxnChg chg="mod">
          <ac:chgData name="Lace Lofranco" userId="1515141e-a2ed-4ab4-a66f-6db2dda82fd4" providerId="ADAL" clId="{C7CF28B1-BD21-4B84-881F-EB9ECF147DEB}" dt="2018-04-15T14:18:24.173" v="3813" actId="208"/>
          <ac:cxnSpMkLst>
            <pc:docMk/>
            <pc:sldMk cId="766427523" sldId="1621"/>
            <ac:cxnSpMk id="350" creationId="{293D7F10-2B40-4C3E-BC02-FB5F218DD717}"/>
          </ac:cxnSpMkLst>
        </pc:cxnChg>
        <pc:cxnChg chg="mod">
          <ac:chgData name="Lace Lofranco" userId="1515141e-a2ed-4ab4-a66f-6db2dda82fd4" providerId="ADAL" clId="{C7CF28B1-BD21-4B84-881F-EB9ECF147DEB}" dt="2018-04-15T14:18:24.173" v="3813" actId="208"/>
          <ac:cxnSpMkLst>
            <pc:docMk/>
            <pc:sldMk cId="766427523" sldId="1621"/>
            <ac:cxnSpMk id="351" creationId="{6FAF40E5-CA9A-43A7-B678-5E15A8DC259F}"/>
          </ac:cxnSpMkLst>
        </pc:cxnChg>
        <pc:cxnChg chg="mod">
          <ac:chgData name="Lace Lofranco" userId="1515141e-a2ed-4ab4-a66f-6db2dda82fd4" providerId="ADAL" clId="{C7CF28B1-BD21-4B84-881F-EB9ECF147DEB}" dt="2018-04-15T14:18:24.173" v="3813" actId="208"/>
          <ac:cxnSpMkLst>
            <pc:docMk/>
            <pc:sldMk cId="766427523" sldId="1621"/>
            <ac:cxnSpMk id="352" creationId="{BA50FD9A-5E22-4AA7-ACA5-624DAD5EC5B5}"/>
          </ac:cxnSpMkLst>
        </pc:cxnChg>
        <pc:cxnChg chg="mod">
          <ac:chgData name="Lace Lofranco" userId="1515141e-a2ed-4ab4-a66f-6db2dda82fd4" providerId="ADAL" clId="{C7CF28B1-BD21-4B84-881F-EB9ECF147DEB}" dt="2018-04-15T14:18:24.173" v="3813" actId="208"/>
          <ac:cxnSpMkLst>
            <pc:docMk/>
            <pc:sldMk cId="766427523" sldId="1621"/>
            <ac:cxnSpMk id="353" creationId="{4C194713-8DF4-472A-95E2-3008956F3DCA}"/>
          </ac:cxnSpMkLst>
        </pc:cxnChg>
        <pc:cxnChg chg="mod">
          <ac:chgData name="Lace Lofranco" userId="1515141e-a2ed-4ab4-a66f-6db2dda82fd4" providerId="ADAL" clId="{C7CF28B1-BD21-4B84-881F-EB9ECF147DEB}" dt="2018-04-15T14:18:24.173" v="3813" actId="208"/>
          <ac:cxnSpMkLst>
            <pc:docMk/>
            <pc:sldMk cId="766427523" sldId="1621"/>
            <ac:cxnSpMk id="354" creationId="{9D0988E2-D6D1-441A-984F-FCB82793B272}"/>
          </ac:cxnSpMkLst>
        </pc:cxnChg>
        <pc:cxnChg chg="mod">
          <ac:chgData name="Lace Lofranco" userId="1515141e-a2ed-4ab4-a66f-6db2dda82fd4" providerId="ADAL" clId="{C7CF28B1-BD21-4B84-881F-EB9ECF147DEB}" dt="2018-04-15T14:18:24.173" v="3813" actId="208"/>
          <ac:cxnSpMkLst>
            <pc:docMk/>
            <pc:sldMk cId="766427523" sldId="1621"/>
            <ac:cxnSpMk id="355" creationId="{BFBF1C9C-0CC3-4886-AB32-C611A6480AB3}"/>
          </ac:cxnSpMkLst>
        </pc:cxnChg>
        <pc:cxnChg chg="mod">
          <ac:chgData name="Lace Lofranco" userId="1515141e-a2ed-4ab4-a66f-6db2dda82fd4" providerId="ADAL" clId="{C7CF28B1-BD21-4B84-881F-EB9ECF147DEB}" dt="2018-04-15T14:18:24.173" v="3813" actId="208"/>
          <ac:cxnSpMkLst>
            <pc:docMk/>
            <pc:sldMk cId="766427523" sldId="1621"/>
            <ac:cxnSpMk id="356" creationId="{64E2F12D-BF5C-41F8-98EE-C153F2CDD22D}"/>
          </ac:cxnSpMkLst>
        </pc:cxnChg>
      </pc:sldChg>
      <pc:sldChg chg="addSp delSp modSp add ord">
        <pc:chgData name="Lace Lofranco" userId="1515141e-a2ed-4ab4-a66f-6db2dda82fd4" providerId="ADAL" clId="{C7CF28B1-BD21-4B84-881F-EB9ECF147DEB}" dt="2018-04-15T14:41:23.912" v="4189" actId="20577"/>
        <pc:sldMkLst>
          <pc:docMk/>
          <pc:sldMk cId="1298158805" sldId="1622"/>
        </pc:sldMkLst>
        <pc:spChg chg="add mod">
          <ac:chgData name="Lace Lofranco" userId="1515141e-a2ed-4ab4-a66f-6db2dda82fd4" providerId="ADAL" clId="{C7CF28B1-BD21-4B84-881F-EB9ECF147DEB}" dt="2018-04-15T14:00:13.202" v="3251" actId="164"/>
          <ac:spMkLst>
            <pc:docMk/>
            <pc:sldMk cId="1298158805" sldId="1622"/>
            <ac:spMk id="24" creationId="{F15E2242-4186-45A6-BE51-139D3F87B3F3}"/>
          </ac:spMkLst>
        </pc:spChg>
        <pc:grpChg chg="add mod">
          <ac:chgData name="Lace Lofranco" userId="1515141e-a2ed-4ab4-a66f-6db2dda82fd4" providerId="ADAL" clId="{C7CF28B1-BD21-4B84-881F-EB9ECF147DEB}" dt="2018-04-15T14:00:37.228" v="3262" actId="1076"/>
          <ac:grpSpMkLst>
            <pc:docMk/>
            <pc:sldMk cId="1298158805" sldId="1622"/>
            <ac:grpSpMk id="5" creationId="{0EC661CD-0BA3-4158-ACAB-D70DBAC9E908}"/>
          </ac:grpSpMkLst>
        </pc:grpChg>
        <pc:grpChg chg="mod topLvl">
          <ac:chgData name="Lace Lofranco" userId="1515141e-a2ed-4ab4-a66f-6db2dda82fd4" providerId="ADAL" clId="{C7CF28B1-BD21-4B84-881F-EB9ECF147DEB}" dt="2018-04-15T14:00:55.748" v="3270" actId="1076"/>
          <ac:grpSpMkLst>
            <pc:docMk/>
            <pc:sldMk cId="1298158805" sldId="1622"/>
            <ac:grpSpMk id="27" creationId="{80F3598B-1EDD-4735-BA59-CD689BFD9440}"/>
          </ac:grpSpMkLst>
        </pc:grpChg>
        <pc:grpChg chg="add del mod topLvl">
          <ac:chgData name="Lace Lofranco" userId="1515141e-a2ed-4ab4-a66f-6db2dda82fd4" providerId="ADAL" clId="{C7CF28B1-BD21-4B84-881F-EB9ECF147DEB}" dt="2018-04-15T14:00:18.933" v="3254" actId="1076"/>
          <ac:grpSpMkLst>
            <pc:docMk/>
            <pc:sldMk cId="1298158805" sldId="1622"/>
            <ac:grpSpMk id="33" creationId="{11AA444B-FFA5-4766-9B53-43A01E6C4B34}"/>
          </ac:grpSpMkLst>
        </pc:grpChg>
        <pc:grpChg chg="mod topLvl">
          <ac:chgData name="Lace Lofranco" userId="1515141e-a2ed-4ab4-a66f-6db2dda82fd4" providerId="ADAL" clId="{C7CF28B1-BD21-4B84-881F-EB9ECF147DEB}" dt="2018-04-15T14:00:50.783" v="3267" actId="1076"/>
          <ac:grpSpMkLst>
            <pc:docMk/>
            <pc:sldMk cId="1298158805" sldId="1622"/>
            <ac:grpSpMk id="34" creationId="{7A4A36BE-C2F6-4EBD-922F-9B8681EC53E8}"/>
          </ac:grpSpMkLst>
        </pc:grpChg>
        <pc:grpChg chg="mod topLvl">
          <ac:chgData name="Lace Lofranco" userId="1515141e-a2ed-4ab4-a66f-6db2dda82fd4" providerId="ADAL" clId="{C7CF28B1-BD21-4B84-881F-EB9ECF147DEB}" dt="2018-04-15T14:00:51.859" v="3268" actId="1076"/>
          <ac:grpSpMkLst>
            <pc:docMk/>
            <pc:sldMk cId="1298158805" sldId="1622"/>
            <ac:grpSpMk id="35" creationId="{5075C28E-4C09-4567-A931-6237B5277BB9}"/>
          </ac:grpSpMkLst>
        </pc:grpChg>
        <pc:grpChg chg="mod topLvl">
          <ac:chgData name="Lace Lofranco" userId="1515141e-a2ed-4ab4-a66f-6db2dda82fd4" providerId="ADAL" clId="{C7CF28B1-BD21-4B84-881F-EB9ECF147DEB}" dt="2018-04-15T14:00:52.810" v="3269" actId="1076"/>
          <ac:grpSpMkLst>
            <pc:docMk/>
            <pc:sldMk cId="1298158805" sldId="1622"/>
            <ac:grpSpMk id="36" creationId="{339FFAC2-46BB-4BC5-A66E-BF3B95BDCDB6}"/>
          </ac:grpSpMkLst>
        </pc:grpChg>
        <pc:grpChg chg="mod topLvl">
          <ac:chgData name="Lace Lofranco" userId="1515141e-a2ed-4ab4-a66f-6db2dda82fd4" providerId="ADAL" clId="{C7CF28B1-BD21-4B84-881F-EB9ECF147DEB}" dt="2018-04-15T14:00:46.444" v="3265" actId="1076"/>
          <ac:grpSpMkLst>
            <pc:docMk/>
            <pc:sldMk cId="1298158805" sldId="1622"/>
            <ac:grpSpMk id="37" creationId="{35BEB623-4FC9-4EF1-A52F-6CE28C7AB79E}"/>
          </ac:grpSpMkLst>
        </pc:grpChg>
        <pc:grpChg chg="del">
          <ac:chgData name="Lace Lofranco" userId="1515141e-a2ed-4ab4-a66f-6db2dda82fd4" providerId="ADAL" clId="{C7CF28B1-BD21-4B84-881F-EB9ECF147DEB}" dt="2018-04-15T13:59:53.420" v="3244" actId="165"/>
          <ac:grpSpMkLst>
            <pc:docMk/>
            <pc:sldMk cId="1298158805" sldId="1622"/>
            <ac:grpSpMk id="38" creationId="{0E402469-3F7E-41A8-BDB3-B264B71EEE39}"/>
          </ac:grpSpMkLst>
        </pc:grpChg>
        <pc:picChg chg="add mod">
          <ac:chgData name="Lace Lofranco" userId="1515141e-a2ed-4ab4-a66f-6db2dda82fd4" providerId="ADAL" clId="{C7CF28B1-BD21-4B84-881F-EB9ECF147DEB}" dt="2018-04-15T14:00:59.845" v="3271" actId="1076"/>
          <ac:picMkLst>
            <pc:docMk/>
            <pc:sldMk cId="1298158805" sldId="1622"/>
            <ac:picMk id="3" creationId="{3CA0BC5C-00C8-48E9-8014-3E204C331F69}"/>
          </ac:picMkLst>
        </pc:picChg>
        <pc:picChg chg="mod topLvl">
          <ac:chgData name="Lace Lofranco" userId="1515141e-a2ed-4ab4-a66f-6db2dda82fd4" providerId="ADAL" clId="{C7CF28B1-BD21-4B84-881F-EB9ECF147DEB}" dt="2018-04-15T14:00:29.922" v="3260" actId="1076"/>
          <ac:picMkLst>
            <pc:docMk/>
            <pc:sldMk cId="1298158805" sldId="1622"/>
            <ac:picMk id="4" creationId="{16BC4200-C5B3-4296-BA49-000ABA74E9D6}"/>
          </ac:picMkLst>
        </pc:picChg>
        <pc:picChg chg="mod">
          <ac:chgData name="Lace Lofranco" userId="1515141e-a2ed-4ab4-a66f-6db2dda82fd4" providerId="ADAL" clId="{C7CF28B1-BD21-4B84-881F-EB9ECF147DEB}" dt="2018-04-15T13:59:48.918" v="3243" actId="1076"/>
          <ac:picMkLst>
            <pc:docMk/>
            <pc:sldMk cId="1298158805" sldId="1622"/>
            <ac:picMk id="32" creationId="{6EB67BA4-F0DC-4413-84F5-5F09A7FBDEB1}"/>
          </ac:picMkLst>
        </pc:picChg>
      </pc:sldChg>
      <pc:sldChg chg="addSp delSp modSp add ord">
        <pc:chgData name="Lace Lofranco" userId="1515141e-a2ed-4ab4-a66f-6db2dda82fd4" providerId="ADAL" clId="{C7CF28B1-BD21-4B84-881F-EB9ECF147DEB}" dt="2018-04-16T00:43:01.717" v="4932" actId="1036"/>
        <pc:sldMkLst>
          <pc:docMk/>
          <pc:sldMk cId="1744168857" sldId="1623"/>
        </pc:sldMkLst>
        <pc:spChg chg="mod">
          <ac:chgData name="Lace Lofranco" userId="1515141e-a2ed-4ab4-a66f-6db2dda82fd4" providerId="ADAL" clId="{C7CF28B1-BD21-4B84-881F-EB9ECF147DEB}" dt="2018-04-15T14:05:55.833" v="3661" actId="122"/>
          <ac:spMkLst>
            <pc:docMk/>
            <pc:sldMk cId="1744168857" sldId="1623"/>
            <ac:spMk id="2" creationId="{8023110E-4A73-4CCD-86ED-DB351987F501}"/>
          </ac:spMkLst>
        </pc:spChg>
        <pc:spChg chg="mod">
          <ac:chgData name="Lace Lofranco" userId="1515141e-a2ed-4ab4-a66f-6db2dda82fd4" providerId="ADAL" clId="{C7CF28B1-BD21-4B84-881F-EB9ECF147DEB}" dt="2018-04-16T00:42:39.615" v="4931" actId="20577"/>
          <ac:spMkLst>
            <pc:docMk/>
            <pc:sldMk cId="1744168857" sldId="1623"/>
            <ac:spMk id="3" creationId="{BA888198-DAD5-45DB-8536-E351B8A3689D}"/>
          </ac:spMkLst>
        </pc:spChg>
        <pc:spChg chg="add del mod">
          <ac:chgData name="Lace Lofranco" userId="1515141e-a2ed-4ab4-a66f-6db2dda82fd4" providerId="ADAL" clId="{C7CF28B1-BD21-4B84-881F-EB9ECF147DEB}" dt="2018-04-15T14:05:13.525" v="3646" actId="478"/>
          <ac:spMkLst>
            <pc:docMk/>
            <pc:sldMk cId="1744168857" sldId="1623"/>
            <ac:spMk id="4" creationId="{455DAA19-DE06-4D1D-8B4A-15C3FA83E023}"/>
          </ac:spMkLst>
        </pc:spChg>
        <pc:spChg chg="add del mod">
          <ac:chgData name="Lace Lofranco" userId="1515141e-a2ed-4ab4-a66f-6db2dda82fd4" providerId="ADAL" clId="{C7CF28B1-BD21-4B84-881F-EB9ECF147DEB}" dt="2018-04-15T14:05:42.848" v="3650" actId="1036"/>
          <ac:spMkLst>
            <pc:docMk/>
            <pc:sldMk cId="1744168857" sldId="1623"/>
            <ac:spMk id="5" creationId="{53B94872-872C-4E88-9A8A-C21206006656}"/>
          </ac:spMkLst>
        </pc:spChg>
        <pc:spChg chg="add del mod">
          <ac:chgData name="Lace Lofranco" userId="1515141e-a2ed-4ab4-a66f-6db2dda82fd4" providerId="ADAL" clId="{C7CF28B1-BD21-4B84-881F-EB9ECF147DEB}" dt="2018-04-15T14:05:47.616" v="3653" actId="1036"/>
          <ac:spMkLst>
            <pc:docMk/>
            <pc:sldMk cId="1744168857" sldId="1623"/>
            <ac:spMk id="6" creationId="{E465D9C1-68C0-47E7-AA7B-A8F0C54C15E9}"/>
          </ac:spMkLst>
        </pc:spChg>
        <pc:spChg chg="add mod">
          <ac:chgData name="Lace Lofranco" userId="1515141e-a2ed-4ab4-a66f-6db2dda82fd4" providerId="ADAL" clId="{C7CF28B1-BD21-4B84-881F-EB9ECF147DEB}" dt="2018-04-15T14:17:00.073" v="3797" actId="1076"/>
          <ac:spMkLst>
            <pc:docMk/>
            <pc:sldMk cId="1744168857" sldId="1623"/>
            <ac:spMk id="7" creationId="{CC5A9510-B0F8-4236-BE88-D73621E923DA}"/>
          </ac:spMkLst>
        </pc:spChg>
        <pc:spChg chg="add del mod">
          <ac:chgData name="Lace Lofranco" userId="1515141e-a2ed-4ab4-a66f-6db2dda82fd4" providerId="ADAL" clId="{C7CF28B1-BD21-4B84-881F-EB9ECF147DEB}" dt="2018-04-15T14:08:09.714" v="3689" actId="478"/>
          <ac:spMkLst>
            <pc:docMk/>
            <pc:sldMk cId="1744168857" sldId="1623"/>
            <ac:spMk id="8" creationId="{C78D02B3-38F2-4AF6-9F75-B146321512E9}"/>
          </ac:spMkLst>
        </pc:spChg>
        <pc:spChg chg="add mod">
          <ac:chgData name="Lace Lofranco" userId="1515141e-a2ed-4ab4-a66f-6db2dda82fd4" providerId="ADAL" clId="{C7CF28B1-BD21-4B84-881F-EB9ECF147DEB}" dt="2018-04-15T14:17:00.073" v="3797" actId="1076"/>
          <ac:spMkLst>
            <pc:docMk/>
            <pc:sldMk cId="1744168857" sldId="1623"/>
            <ac:spMk id="10" creationId="{37D2E301-25C8-47A3-9FB7-65B7ADAD2F22}"/>
          </ac:spMkLst>
        </pc:spChg>
        <pc:spChg chg="add mod">
          <ac:chgData name="Lace Lofranco" userId="1515141e-a2ed-4ab4-a66f-6db2dda82fd4" providerId="ADAL" clId="{C7CF28B1-BD21-4B84-881F-EB9ECF147DEB}" dt="2018-04-15T14:17:00.073" v="3797" actId="1076"/>
          <ac:spMkLst>
            <pc:docMk/>
            <pc:sldMk cId="1744168857" sldId="1623"/>
            <ac:spMk id="11" creationId="{8A179403-2F4F-412E-ADAB-1020428C489F}"/>
          </ac:spMkLst>
        </pc:spChg>
        <pc:spChg chg="add mod">
          <ac:chgData name="Lace Lofranco" userId="1515141e-a2ed-4ab4-a66f-6db2dda82fd4" providerId="ADAL" clId="{C7CF28B1-BD21-4B84-881F-EB9ECF147DEB}" dt="2018-04-15T14:17:00.073" v="3797" actId="1076"/>
          <ac:spMkLst>
            <pc:docMk/>
            <pc:sldMk cId="1744168857" sldId="1623"/>
            <ac:spMk id="14" creationId="{A6058ACC-9B9F-4401-A727-93AB13512295}"/>
          </ac:spMkLst>
        </pc:spChg>
        <pc:spChg chg="add del mod ord">
          <ac:chgData name="Lace Lofranco" userId="1515141e-a2ed-4ab4-a66f-6db2dda82fd4" providerId="ADAL" clId="{C7CF28B1-BD21-4B84-881F-EB9ECF147DEB}" dt="2018-04-15T14:15:55.390" v="3767" actId="164"/>
          <ac:spMkLst>
            <pc:docMk/>
            <pc:sldMk cId="1744168857" sldId="1623"/>
            <ac:spMk id="16" creationId="{242412EB-F079-4E3E-A1C6-930DFFC9C4BC}"/>
          </ac:spMkLst>
        </pc:spChg>
        <pc:spChg chg="add mod">
          <ac:chgData name="Lace Lofranco" userId="1515141e-a2ed-4ab4-a66f-6db2dda82fd4" providerId="ADAL" clId="{C7CF28B1-BD21-4B84-881F-EB9ECF147DEB}" dt="2018-04-15T14:17:00.073" v="3797" actId="1076"/>
          <ac:spMkLst>
            <pc:docMk/>
            <pc:sldMk cId="1744168857" sldId="1623"/>
            <ac:spMk id="20" creationId="{B2FA9EC8-0AF3-4D8A-9D7A-D538CDBA4202}"/>
          </ac:spMkLst>
        </pc:spChg>
        <pc:grpChg chg="add mod">
          <ac:chgData name="Lace Lofranco" userId="1515141e-a2ed-4ab4-a66f-6db2dda82fd4" providerId="ADAL" clId="{C7CF28B1-BD21-4B84-881F-EB9ECF147DEB}" dt="2018-04-15T14:17:00.073" v="3797" actId="1076"/>
          <ac:grpSpMkLst>
            <pc:docMk/>
            <pc:sldMk cId="1744168857" sldId="1623"/>
            <ac:grpSpMk id="19" creationId="{92834123-D5F4-49B9-BE7F-465B5C463331}"/>
          </ac:grpSpMkLst>
        </pc:grpChg>
        <pc:picChg chg="add mod">
          <ac:chgData name="Lace Lofranco" userId="1515141e-a2ed-4ab4-a66f-6db2dda82fd4" providerId="ADAL" clId="{C7CF28B1-BD21-4B84-881F-EB9ECF147DEB}" dt="2018-04-16T00:43:01.717" v="4932" actId="1036"/>
          <ac:picMkLst>
            <pc:docMk/>
            <pc:sldMk cId="1744168857" sldId="1623"/>
            <ac:picMk id="9" creationId="{CDA029A3-EF8F-4DBE-8DDB-466689A19230}"/>
          </ac:picMkLst>
        </pc:picChg>
        <pc:picChg chg="add mod">
          <ac:chgData name="Lace Lofranco" userId="1515141e-a2ed-4ab4-a66f-6db2dda82fd4" providerId="ADAL" clId="{C7CF28B1-BD21-4B84-881F-EB9ECF147DEB}" dt="2018-04-15T14:17:00.073" v="3797" actId="1076"/>
          <ac:picMkLst>
            <pc:docMk/>
            <pc:sldMk cId="1744168857" sldId="1623"/>
            <ac:picMk id="12" creationId="{F360AAF7-B454-49AD-90E4-953E9F407965}"/>
          </ac:picMkLst>
        </pc:picChg>
        <pc:picChg chg="add del mod">
          <ac:chgData name="Lace Lofranco" userId="1515141e-a2ed-4ab4-a66f-6db2dda82fd4" providerId="ADAL" clId="{C7CF28B1-BD21-4B84-881F-EB9ECF147DEB}" dt="2018-04-15T14:13:03.167" v="3738" actId="478"/>
          <ac:picMkLst>
            <pc:docMk/>
            <pc:sldMk cId="1744168857" sldId="1623"/>
            <ac:picMk id="13" creationId="{974999C0-8854-4EB1-8EA7-42E18EB8D9E6}"/>
          </ac:picMkLst>
        </pc:picChg>
        <pc:picChg chg="add mod">
          <ac:chgData name="Lace Lofranco" userId="1515141e-a2ed-4ab4-a66f-6db2dda82fd4" providerId="ADAL" clId="{C7CF28B1-BD21-4B84-881F-EB9ECF147DEB}" dt="2018-04-15T14:17:00.073" v="3797" actId="1076"/>
          <ac:picMkLst>
            <pc:docMk/>
            <pc:sldMk cId="1744168857" sldId="1623"/>
            <ac:picMk id="15" creationId="{0994C3C2-F46B-4526-83F2-BC4E6BB38A29}"/>
          </ac:picMkLst>
        </pc:picChg>
        <pc:picChg chg="add del">
          <ac:chgData name="Lace Lofranco" userId="1515141e-a2ed-4ab4-a66f-6db2dda82fd4" providerId="ADAL" clId="{C7CF28B1-BD21-4B84-881F-EB9ECF147DEB}" dt="2018-04-15T14:14:51.402" v="3752" actId="1036"/>
          <ac:picMkLst>
            <pc:docMk/>
            <pc:sldMk cId="1744168857" sldId="1623"/>
            <ac:picMk id="17" creationId="{D6E60DF9-3F21-430B-99CA-78F72F59475A}"/>
          </ac:picMkLst>
        </pc:picChg>
        <pc:picChg chg="add mod">
          <ac:chgData name="Lace Lofranco" userId="1515141e-a2ed-4ab4-a66f-6db2dda82fd4" providerId="ADAL" clId="{C7CF28B1-BD21-4B84-881F-EB9ECF147DEB}" dt="2018-04-15T14:15:55.390" v="3767" actId="164"/>
          <ac:picMkLst>
            <pc:docMk/>
            <pc:sldMk cId="1744168857" sldId="1623"/>
            <ac:picMk id="18" creationId="{B35D824E-D918-4BE0-9516-4E1BA57DB470}"/>
          </ac:picMkLst>
        </pc:picChg>
      </pc:sldChg>
      <pc:sldChg chg="modSp add ord modNotesTx">
        <pc:chgData name="Lace Lofranco" userId="1515141e-a2ed-4ab4-a66f-6db2dda82fd4" providerId="ADAL" clId="{C7CF28B1-BD21-4B84-881F-EB9ECF147DEB}" dt="2018-04-16T14:44:06.632" v="7110" actId="20577"/>
        <pc:sldMkLst>
          <pc:docMk/>
          <pc:sldMk cId="491777474" sldId="1627"/>
        </pc:sldMkLst>
        <pc:spChg chg="mod">
          <ac:chgData name="Lace Lofranco" userId="1515141e-a2ed-4ab4-a66f-6db2dda82fd4" providerId="ADAL" clId="{C7CF28B1-BD21-4B84-881F-EB9ECF147DEB}" dt="2018-04-15T14:33:53.611" v="4033" actId="20577"/>
          <ac:spMkLst>
            <pc:docMk/>
            <pc:sldMk cId="491777474" sldId="1627"/>
            <ac:spMk id="2" creationId="{097B8C43-FB5F-4738-ACD1-15F4A895D7F3}"/>
          </ac:spMkLst>
        </pc:spChg>
        <pc:spChg chg="mod">
          <ac:chgData name="Lace Lofranco" userId="1515141e-a2ed-4ab4-a66f-6db2dda82fd4" providerId="ADAL" clId="{C7CF28B1-BD21-4B84-881F-EB9ECF147DEB}" dt="2018-04-15T14:45:54.881" v="4233" actId="20577"/>
          <ac:spMkLst>
            <pc:docMk/>
            <pc:sldMk cId="491777474" sldId="1627"/>
            <ac:spMk id="3" creationId="{D7FFB026-E224-4BE1-A937-2F5134739DF2}"/>
          </ac:spMkLst>
        </pc:spChg>
      </pc:sldChg>
      <pc:sldChg chg="modSp add ord modNotesTx">
        <pc:chgData name="Lace Lofranco" userId="1515141e-a2ed-4ab4-a66f-6db2dda82fd4" providerId="ADAL" clId="{C7CF28B1-BD21-4B84-881F-EB9ECF147DEB}" dt="2018-04-15T14:56:13.040" v="4658" actId="20577"/>
        <pc:sldMkLst>
          <pc:docMk/>
          <pc:sldMk cId="465762562" sldId="1628"/>
        </pc:sldMkLst>
        <pc:spChg chg="mod">
          <ac:chgData name="Lace Lofranco" userId="1515141e-a2ed-4ab4-a66f-6db2dda82fd4" providerId="ADAL" clId="{C7CF28B1-BD21-4B84-881F-EB9ECF147DEB}" dt="2018-04-15T14:56:13.040" v="4658" actId="20577"/>
          <ac:spMkLst>
            <pc:docMk/>
            <pc:sldMk cId="465762562" sldId="1628"/>
            <ac:spMk id="3" creationId="{D7FFB026-E224-4BE1-A937-2F5134739DF2}"/>
          </ac:spMkLst>
        </pc:spChg>
      </pc:sldChg>
      <pc:sldChg chg="modSp add ord modNotesTx">
        <pc:chgData name="Lace Lofranco" userId="1515141e-a2ed-4ab4-a66f-6db2dda82fd4" providerId="ADAL" clId="{C7CF28B1-BD21-4B84-881F-EB9ECF147DEB}" dt="2018-04-16T02:55:18.836" v="6473" actId="20577"/>
        <pc:sldMkLst>
          <pc:docMk/>
          <pc:sldMk cId="4212033565" sldId="1629"/>
        </pc:sldMkLst>
        <pc:spChg chg="mod">
          <ac:chgData name="Lace Lofranco" userId="1515141e-a2ed-4ab4-a66f-6db2dda82fd4" providerId="ADAL" clId="{C7CF28B1-BD21-4B84-881F-EB9ECF147DEB}" dt="2018-04-16T02:55:18.836" v="6473" actId="20577"/>
          <ac:spMkLst>
            <pc:docMk/>
            <pc:sldMk cId="4212033565" sldId="1629"/>
            <ac:spMk id="3" creationId="{D7FFB026-E224-4BE1-A937-2F5134739DF2}"/>
          </ac:spMkLst>
        </pc:spChg>
      </pc:sldChg>
      <pc:sldChg chg="modSp add ord modNotesTx">
        <pc:chgData name="Lace Lofranco" userId="1515141e-a2ed-4ab4-a66f-6db2dda82fd4" providerId="ADAL" clId="{C7CF28B1-BD21-4B84-881F-EB9ECF147DEB}" dt="2018-04-16T02:54:30.142" v="6418" actId="20577"/>
        <pc:sldMkLst>
          <pc:docMk/>
          <pc:sldMk cId="1845191747" sldId="1631"/>
        </pc:sldMkLst>
        <pc:spChg chg="mod">
          <ac:chgData name="Lace Lofranco" userId="1515141e-a2ed-4ab4-a66f-6db2dda82fd4" providerId="ADAL" clId="{C7CF28B1-BD21-4B84-881F-EB9ECF147DEB}" dt="2018-04-16T02:54:30.142" v="6418" actId="20577"/>
          <ac:spMkLst>
            <pc:docMk/>
            <pc:sldMk cId="1845191747" sldId="1631"/>
            <ac:spMk id="3" creationId="{D7FFB026-E224-4BE1-A937-2F5134739DF2}"/>
          </ac:spMkLst>
        </pc:spChg>
      </pc:sldChg>
      <pc:sldChg chg="modSp add ord">
        <pc:chgData name="Lace Lofranco" userId="1515141e-a2ed-4ab4-a66f-6db2dda82fd4" providerId="ADAL" clId="{C7CF28B1-BD21-4B84-881F-EB9ECF147DEB}" dt="2018-04-16T02:54:15.231" v="6382" actId="20577"/>
        <pc:sldMkLst>
          <pc:docMk/>
          <pc:sldMk cId="3680132479" sldId="1632"/>
        </pc:sldMkLst>
        <pc:spChg chg="mod">
          <ac:chgData name="Lace Lofranco" userId="1515141e-a2ed-4ab4-a66f-6db2dda82fd4" providerId="ADAL" clId="{C7CF28B1-BD21-4B84-881F-EB9ECF147DEB}" dt="2018-04-16T02:54:15.231" v="6382" actId="20577"/>
          <ac:spMkLst>
            <pc:docMk/>
            <pc:sldMk cId="3680132479" sldId="1632"/>
            <ac:spMk id="3" creationId="{D7FFB026-E224-4BE1-A937-2F5134739DF2}"/>
          </ac:spMkLst>
        </pc:spChg>
      </pc:sldChg>
      <pc:sldChg chg="modSp add ord modNotesTx">
        <pc:chgData name="Lace Lofranco" userId="1515141e-a2ed-4ab4-a66f-6db2dda82fd4" providerId="ADAL" clId="{C7CF28B1-BD21-4B84-881F-EB9ECF147DEB}" dt="2018-04-16T14:55:42.765" v="7119" actId="20577"/>
        <pc:sldMkLst>
          <pc:docMk/>
          <pc:sldMk cId="1207578877" sldId="1633"/>
        </pc:sldMkLst>
        <pc:spChg chg="mod">
          <ac:chgData name="Lace Lofranco" userId="1515141e-a2ed-4ab4-a66f-6db2dda82fd4" providerId="ADAL" clId="{C7CF28B1-BD21-4B84-881F-EB9ECF147DEB}" dt="2018-04-16T14:55:42.765" v="7119" actId="20577"/>
          <ac:spMkLst>
            <pc:docMk/>
            <pc:sldMk cId="1207578877" sldId="1633"/>
            <ac:spMk id="3" creationId="{D7FFB026-E224-4BE1-A937-2F5134739DF2}"/>
          </ac:spMkLst>
        </pc:spChg>
      </pc:sldChg>
      <pc:sldChg chg="modSp add ord">
        <pc:chgData name="Lace Lofranco" userId="1515141e-a2ed-4ab4-a66f-6db2dda82fd4" providerId="ADAL" clId="{C7CF28B1-BD21-4B84-881F-EB9ECF147DEB}" dt="2018-04-16T14:59:28.072" v="7237" actId="20577"/>
        <pc:sldMkLst>
          <pc:docMk/>
          <pc:sldMk cId="1366562967" sldId="1634"/>
        </pc:sldMkLst>
        <pc:spChg chg="mod">
          <ac:chgData name="Lace Lofranco" userId="1515141e-a2ed-4ab4-a66f-6db2dda82fd4" providerId="ADAL" clId="{C7CF28B1-BD21-4B84-881F-EB9ECF147DEB}" dt="2018-04-15T14:54:02.774" v="4556" actId="20577"/>
          <ac:spMkLst>
            <pc:docMk/>
            <pc:sldMk cId="1366562967" sldId="1634"/>
            <ac:spMk id="2" creationId="{541AE63B-C6E7-4848-A28C-72839995E794}"/>
          </ac:spMkLst>
        </pc:spChg>
        <pc:spChg chg="mod">
          <ac:chgData name="Lace Lofranco" userId="1515141e-a2ed-4ab4-a66f-6db2dda82fd4" providerId="ADAL" clId="{C7CF28B1-BD21-4B84-881F-EB9ECF147DEB}" dt="2018-04-16T14:59:28.072" v="7237" actId="20577"/>
          <ac:spMkLst>
            <pc:docMk/>
            <pc:sldMk cId="1366562967" sldId="1634"/>
            <ac:spMk id="3" creationId="{D20A8ED2-2371-4644-A416-FACE587B64C3}"/>
          </ac:spMkLst>
        </pc:spChg>
      </pc:sldChg>
      <pc:sldChg chg="addSp delSp modSp add ord">
        <pc:chgData name="Lace Lofranco" userId="1515141e-a2ed-4ab4-a66f-6db2dda82fd4" providerId="ADAL" clId="{C7CF28B1-BD21-4B84-881F-EB9ECF147DEB}" dt="2018-04-16T00:55:46.837" v="5145" actId="1076"/>
        <pc:sldMkLst>
          <pc:docMk/>
          <pc:sldMk cId="1485692870" sldId="1635"/>
        </pc:sldMkLst>
        <pc:spChg chg="mod">
          <ac:chgData name="Lace Lofranco" userId="1515141e-a2ed-4ab4-a66f-6db2dda82fd4" providerId="ADAL" clId="{C7CF28B1-BD21-4B84-881F-EB9ECF147DEB}" dt="2018-04-16T00:54:57.623" v="5133" actId="20577"/>
          <ac:spMkLst>
            <pc:docMk/>
            <pc:sldMk cId="1485692870" sldId="1635"/>
            <ac:spMk id="2" creationId="{9C86B38F-3FD6-4C9B-95BA-BE62BE80B2BE}"/>
          </ac:spMkLst>
        </pc:spChg>
        <pc:spChg chg="del">
          <ac:chgData name="Lace Lofranco" userId="1515141e-a2ed-4ab4-a66f-6db2dda82fd4" providerId="ADAL" clId="{C7CF28B1-BD21-4B84-881F-EB9ECF147DEB}" dt="2018-04-16T00:54:40.796" v="5074" actId="478"/>
          <ac:spMkLst>
            <pc:docMk/>
            <pc:sldMk cId="1485692870" sldId="1635"/>
            <ac:spMk id="3" creationId="{71B1EE4C-1D35-450D-BBF8-07B9378B0A8A}"/>
          </ac:spMkLst>
        </pc:spChg>
        <pc:spChg chg="add mod">
          <ac:chgData name="Lace Lofranco" userId="1515141e-a2ed-4ab4-a66f-6db2dda82fd4" providerId="ADAL" clId="{C7CF28B1-BD21-4B84-881F-EB9ECF147DEB}" dt="2018-04-16T00:55:20.887" v="5139" actId="1076"/>
          <ac:spMkLst>
            <pc:docMk/>
            <pc:sldMk cId="1485692870" sldId="1635"/>
            <ac:spMk id="5" creationId="{5AC7169F-8325-4C43-BA67-E0C233424447}"/>
          </ac:spMkLst>
        </pc:spChg>
        <pc:picChg chg="add mod">
          <ac:chgData name="Lace Lofranco" userId="1515141e-a2ed-4ab4-a66f-6db2dda82fd4" providerId="ADAL" clId="{C7CF28B1-BD21-4B84-881F-EB9ECF147DEB}" dt="2018-04-16T00:55:46.837" v="5145" actId="1076"/>
          <ac:picMkLst>
            <pc:docMk/>
            <pc:sldMk cId="1485692870" sldId="1635"/>
            <ac:picMk id="4" creationId="{8B9AA387-FE56-40B4-9DC6-46066987FE8C}"/>
          </ac:picMkLst>
        </pc:picChg>
      </pc:sldChg>
      <pc:sldChg chg="addSp delSp modSp add">
        <pc:chgData name="Lace Lofranco" userId="1515141e-a2ed-4ab4-a66f-6db2dda82fd4" providerId="ADAL" clId="{C7CF28B1-BD21-4B84-881F-EB9ECF147DEB}" dt="2018-04-16T07:05:57.790" v="6713" actId="20577"/>
        <pc:sldMkLst>
          <pc:docMk/>
          <pc:sldMk cId="3399543986" sldId="1637"/>
        </pc:sldMkLst>
        <pc:spChg chg="mod">
          <ac:chgData name="Lace Lofranco" userId="1515141e-a2ed-4ab4-a66f-6db2dda82fd4" providerId="ADAL" clId="{C7CF28B1-BD21-4B84-881F-EB9ECF147DEB}" dt="2018-04-16T01:01:45.819" v="5194" actId="20577"/>
          <ac:spMkLst>
            <pc:docMk/>
            <pc:sldMk cId="3399543986" sldId="1637"/>
            <ac:spMk id="2" creationId="{3E14D9F1-E882-4052-9179-80B9DED8BB2D}"/>
          </ac:spMkLst>
        </pc:spChg>
        <pc:spChg chg="mod">
          <ac:chgData name="Lace Lofranco" userId="1515141e-a2ed-4ab4-a66f-6db2dda82fd4" providerId="ADAL" clId="{C7CF28B1-BD21-4B84-881F-EB9ECF147DEB}" dt="2018-04-16T07:05:57.790" v="6713" actId="20577"/>
          <ac:spMkLst>
            <pc:docMk/>
            <pc:sldMk cId="3399543986" sldId="1637"/>
            <ac:spMk id="3" creationId="{BE392698-00FB-4417-9BF4-A50565FABE2C}"/>
          </ac:spMkLst>
        </pc:spChg>
        <pc:spChg chg="del">
          <ac:chgData name="Lace Lofranco" userId="1515141e-a2ed-4ab4-a66f-6db2dda82fd4" providerId="ADAL" clId="{C7CF28B1-BD21-4B84-881F-EB9ECF147DEB}" dt="2018-04-16T01:01:40.492" v="5193" actId="478"/>
          <ac:spMkLst>
            <pc:docMk/>
            <pc:sldMk cId="3399543986" sldId="1637"/>
            <ac:spMk id="4" creationId="{6CB172C6-47B7-46BA-A6F0-EA7C9A13CE7C}"/>
          </ac:spMkLst>
        </pc:spChg>
        <pc:spChg chg="add del">
          <ac:chgData name="Lace Lofranco" userId="1515141e-a2ed-4ab4-a66f-6db2dda82fd4" providerId="ADAL" clId="{C7CF28B1-BD21-4B84-881F-EB9ECF147DEB}" dt="2018-04-16T01:03:29.170" v="5287" actId="478"/>
          <ac:spMkLst>
            <pc:docMk/>
            <pc:sldMk cId="3399543986" sldId="1637"/>
            <ac:spMk id="5" creationId="{8F082A0B-296E-43C1-9A04-F58C52CE946F}"/>
          </ac:spMkLst>
        </pc:spChg>
        <pc:spChg chg="add del">
          <ac:chgData name="Lace Lofranco" userId="1515141e-a2ed-4ab4-a66f-6db2dda82fd4" providerId="ADAL" clId="{C7CF28B1-BD21-4B84-881F-EB9ECF147DEB}" dt="2018-04-16T01:03:29.170" v="5287" actId="478"/>
          <ac:spMkLst>
            <pc:docMk/>
            <pc:sldMk cId="3399543986" sldId="1637"/>
            <ac:spMk id="6" creationId="{A43A65C4-EB47-4622-B13C-F2F00A4F2618}"/>
          </ac:spMkLst>
        </pc:spChg>
        <pc:spChg chg="add del">
          <ac:chgData name="Lace Lofranco" userId="1515141e-a2ed-4ab4-a66f-6db2dda82fd4" providerId="ADAL" clId="{C7CF28B1-BD21-4B84-881F-EB9ECF147DEB}" dt="2018-04-16T01:03:29.170" v="5287" actId="478"/>
          <ac:spMkLst>
            <pc:docMk/>
            <pc:sldMk cId="3399543986" sldId="1637"/>
            <ac:spMk id="7" creationId="{1E83DA75-D546-46D0-9EB2-DE5EB0ED1D4D}"/>
          </ac:spMkLst>
        </pc:spChg>
        <pc:spChg chg="add del">
          <ac:chgData name="Lace Lofranco" userId="1515141e-a2ed-4ab4-a66f-6db2dda82fd4" providerId="ADAL" clId="{C7CF28B1-BD21-4B84-881F-EB9ECF147DEB}" dt="2018-04-16T01:03:29.170" v="5287" actId="478"/>
          <ac:spMkLst>
            <pc:docMk/>
            <pc:sldMk cId="3399543986" sldId="1637"/>
            <ac:spMk id="8" creationId="{64B42AC7-6D73-4D45-8321-6D5EFD738BF8}"/>
          </ac:spMkLst>
        </pc:spChg>
        <pc:spChg chg="add del">
          <ac:chgData name="Lace Lofranco" userId="1515141e-a2ed-4ab4-a66f-6db2dda82fd4" providerId="ADAL" clId="{C7CF28B1-BD21-4B84-881F-EB9ECF147DEB}" dt="2018-04-16T01:03:29.170" v="5287" actId="478"/>
          <ac:spMkLst>
            <pc:docMk/>
            <pc:sldMk cId="3399543986" sldId="1637"/>
            <ac:spMk id="9" creationId="{3885A6C0-DD8B-4AC9-AD43-D8EA98FCE99C}"/>
          </ac:spMkLst>
        </pc:spChg>
        <pc:spChg chg="add del">
          <ac:chgData name="Lace Lofranco" userId="1515141e-a2ed-4ab4-a66f-6db2dda82fd4" providerId="ADAL" clId="{C7CF28B1-BD21-4B84-881F-EB9ECF147DEB}" dt="2018-04-16T01:03:27.419" v="5286" actId="20577"/>
          <ac:spMkLst>
            <pc:docMk/>
            <pc:sldMk cId="3399543986" sldId="1637"/>
            <ac:spMk id="10" creationId="{1F8C0751-B9F7-4FC1-AA2F-6F86C0BA7D6F}"/>
          </ac:spMkLst>
        </pc:spChg>
        <pc:spChg chg="add del">
          <ac:chgData name="Lace Lofranco" userId="1515141e-a2ed-4ab4-a66f-6db2dda82fd4" providerId="ADAL" clId="{C7CF28B1-BD21-4B84-881F-EB9ECF147DEB}" dt="2018-04-16T01:03:27.419" v="5286" actId="20577"/>
          <ac:spMkLst>
            <pc:docMk/>
            <pc:sldMk cId="3399543986" sldId="1637"/>
            <ac:spMk id="11" creationId="{A124F0A9-B0B8-4FF0-9F2F-D59223864B56}"/>
          </ac:spMkLst>
        </pc:spChg>
        <pc:spChg chg="add del">
          <ac:chgData name="Lace Lofranco" userId="1515141e-a2ed-4ab4-a66f-6db2dda82fd4" providerId="ADAL" clId="{C7CF28B1-BD21-4B84-881F-EB9ECF147DEB}" dt="2018-04-16T01:03:27.419" v="5286" actId="20577"/>
          <ac:spMkLst>
            <pc:docMk/>
            <pc:sldMk cId="3399543986" sldId="1637"/>
            <ac:spMk id="12" creationId="{3EEE3145-37E8-47DF-96BE-21256B18D4DD}"/>
          </ac:spMkLst>
        </pc:spChg>
        <pc:spChg chg="add del">
          <ac:chgData name="Lace Lofranco" userId="1515141e-a2ed-4ab4-a66f-6db2dda82fd4" providerId="ADAL" clId="{C7CF28B1-BD21-4B84-881F-EB9ECF147DEB}" dt="2018-04-16T01:03:27.419" v="5286" actId="20577"/>
          <ac:spMkLst>
            <pc:docMk/>
            <pc:sldMk cId="3399543986" sldId="1637"/>
            <ac:spMk id="13" creationId="{11CFEF3A-AEA9-4F40-A760-A4C8573B6109}"/>
          </ac:spMkLst>
        </pc:spChg>
        <pc:spChg chg="add del">
          <ac:chgData name="Lace Lofranco" userId="1515141e-a2ed-4ab4-a66f-6db2dda82fd4" providerId="ADAL" clId="{C7CF28B1-BD21-4B84-881F-EB9ECF147DEB}" dt="2018-04-16T01:03:27.419" v="5286" actId="20577"/>
          <ac:spMkLst>
            <pc:docMk/>
            <pc:sldMk cId="3399543986" sldId="1637"/>
            <ac:spMk id="14" creationId="{3F4E8B07-A63B-4AC4-B8C0-80F61821C723}"/>
          </ac:spMkLst>
        </pc:spChg>
        <pc:spChg chg="add">
          <ac:chgData name="Lace Lofranco" userId="1515141e-a2ed-4ab4-a66f-6db2dda82fd4" providerId="ADAL" clId="{C7CF28B1-BD21-4B84-881F-EB9ECF147DEB}" dt="2018-04-16T01:03:29.394" v="5288" actId="20577"/>
          <ac:spMkLst>
            <pc:docMk/>
            <pc:sldMk cId="3399543986" sldId="1637"/>
            <ac:spMk id="15" creationId="{348566B3-C82F-4259-9C9A-C74225BF8FAC}"/>
          </ac:spMkLst>
        </pc:spChg>
        <pc:spChg chg="add mod">
          <ac:chgData name="Lace Lofranco" userId="1515141e-a2ed-4ab4-a66f-6db2dda82fd4" providerId="ADAL" clId="{C7CF28B1-BD21-4B84-881F-EB9ECF147DEB}" dt="2018-04-16T02:43:15.780" v="5488" actId="113"/>
          <ac:spMkLst>
            <pc:docMk/>
            <pc:sldMk cId="3399543986" sldId="1637"/>
            <ac:spMk id="16" creationId="{B9176874-4649-4D17-AA9C-2E79A3010F88}"/>
          </ac:spMkLst>
        </pc:spChg>
        <pc:spChg chg="add">
          <ac:chgData name="Lace Lofranco" userId="1515141e-a2ed-4ab4-a66f-6db2dda82fd4" providerId="ADAL" clId="{C7CF28B1-BD21-4B84-881F-EB9ECF147DEB}" dt="2018-04-16T01:03:29.394" v="5288" actId="20577"/>
          <ac:spMkLst>
            <pc:docMk/>
            <pc:sldMk cId="3399543986" sldId="1637"/>
            <ac:spMk id="17" creationId="{A9E0954F-3160-4C25-A234-AA234EDA9A93}"/>
          </ac:spMkLst>
        </pc:spChg>
        <pc:spChg chg="add mod">
          <ac:chgData name="Lace Lofranco" userId="1515141e-a2ed-4ab4-a66f-6db2dda82fd4" providerId="ADAL" clId="{C7CF28B1-BD21-4B84-881F-EB9ECF147DEB}" dt="2018-04-16T01:06:15.667" v="5366" actId="20577"/>
          <ac:spMkLst>
            <pc:docMk/>
            <pc:sldMk cId="3399543986" sldId="1637"/>
            <ac:spMk id="18" creationId="{1780B6E7-83E4-415B-A381-C5EBFA088B3E}"/>
          </ac:spMkLst>
        </pc:spChg>
        <pc:spChg chg="add">
          <ac:chgData name="Lace Lofranco" userId="1515141e-a2ed-4ab4-a66f-6db2dda82fd4" providerId="ADAL" clId="{C7CF28B1-BD21-4B84-881F-EB9ECF147DEB}" dt="2018-04-16T01:03:29.394" v="5288" actId="20577"/>
          <ac:spMkLst>
            <pc:docMk/>
            <pc:sldMk cId="3399543986" sldId="1637"/>
            <ac:spMk id="19" creationId="{F620C675-5038-42DB-A7AC-DB5FBCC8FA1F}"/>
          </ac:spMkLst>
        </pc:spChg>
      </pc:sldChg>
      <pc:sldChg chg="addSp delSp modSp add">
        <pc:chgData name="Lace Lofranco" userId="1515141e-a2ed-4ab4-a66f-6db2dda82fd4" providerId="ADAL" clId="{C7CF28B1-BD21-4B84-881F-EB9ECF147DEB}" dt="2018-04-16T02:54:51.394" v="6444" actId="20577"/>
        <pc:sldMkLst>
          <pc:docMk/>
          <pc:sldMk cId="1836957030" sldId="1638"/>
        </pc:sldMkLst>
        <pc:spChg chg="mod">
          <ac:chgData name="Lace Lofranco" userId="1515141e-a2ed-4ab4-a66f-6db2dda82fd4" providerId="ADAL" clId="{C7CF28B1-BD21-4B84-881F-EB9ECF147DEB}" dt="2018-04-16T02:46:22.594" v="5798" actId="20577"/>
          <ac:spMkLst>
            <pc:docMk/>
            <pc:sldMk cId="1836957030" sldId="1638"/>
            <ac:spMk id="2" creationId="{A16C8B79-11C9-4068-BF9E-3C4D006846D6}"/>
          </ac:spMkLst>
        </pc:spChg>
        <pc:spChg chg="mod">
          <ac:chgData name="Lace Lofranco" userId="1515141e-a2ed-4ab4-a66f-6db2dda82fd4" providerId="ADAL" clId="{C7CF28B1-BD21-4B84-881F-EB9ECF147DEB}" dt="2018-04-16T02:54:51.394" v="6444" actId="20577"/>
          <ac:spMkLst>
            <pc:docMk/>
            <pc:sldMk cId="1836957030" sldId="1638"/>
            <ac:spMk id="3" creationId="{492B86C6-8150-4A73-B4A2-8567F7810330}"/>
          </ac:spMkLst>
        </pc:spChg>
        <pc:spChg chg="del">
          <ac:chgData name="Lace Lofranco" userId="1515141e-a2ed-4ab4-a66f-6db2dda82fd4" providerId="ADAL" clId="{C7CF28B1-BD21-4B84-881F-EB9ECF147DEB}" dt="2018-04-16T02:42:53.001" v="5479" actId="478"/>
          <ac:spMkLst>
            <pc:docMk/>
            <pc:sldMk cId="1836957030" sldId="1638"/>
            <ac:spMk id="4" creationId="{759D33DA-C2C8-43B8-A9A1-C3FF59D784FB}"/>
          </ac:spMkLst>
        </pc:spChg>
        <pc:spChg chg="add">
          <ac:chgData name="Lace Lofranco" userId="1515141e-a2ed-4ab4-a66f-6db2dda82fd4" providerId="ADAL" clId="{C7CF28B1-BD21-4B84-881F-EB9ECF147DEB}" dt="2018-04-16T02:42:53.234" v="5480" actId="20577"/>
          <ac:spMkLst>
            <pc:docMk/>
            <pc:sldMk cId="1836957030" sldId="1638"/>
            <ac:spMk id="5" creationId="{9F894FD1-4FC6-48BA-B116-BCB66AB11B04}"/>
          </ac:spMkLst>
        </pc:spChg>
        <pc:spChg chg="add mod">
          <ac:chgData name="Lace Lofranco" userId="1515141e-a2ed-4ab4-a66f-6db2dda82fd4" providerId="ADAL" clId="{C7CF28B1-BD21-4B84-881F-EB9ECF147DEB}" dt="2018-04-16T02:43:04.019" v="5484" actId="108"/>
          <ac:spMkLst>
            <pc:docMk/>
            <pc:sldMk cId="1836957030" sldId="1638"/>
            <ac:spMk id="6" creationId="{3CE73E11-EBFE-456E-97D9-7E06A3D0E82A}"/>
          </ac:spMkLst>
        </pc:spChg>
        <pc:spChg chg="add">
          <ac:chgData name="Lace Lofranco" userId="1515141e-a2ed-4ab4-a66f-6db2dda82fd4" providerId="ADAL" clId="{C7CF28B1-BD21-4B84-881F-EB9ECF147DEB}" dt="2018-04-16T02:42:53.234" v="5480" actId="20577"/>
          <ac:spMkLst>
            <pc:docMk/>
            <pc:sldMk cId="1836957030" sldId="1638"/>
            <ac:spMk id="7" creationId="{9EFA12B0-D0C4-44B4-8C0B-AF3E3C3453DD}"/>
          </ac:spMkLst>
        </pc:spChg>
        <pc:spChg chg="add mod">
          <ac:chgData name="Lace Lofranco" userId="1515141e-a2ed-4ab4-a66f-6db2dda82fd4" providerId="ADAL" clId="{C7CF28B1-BD21-4B84-881F-EB9ECF147DEB}" dt="2018-04-16T02:43:10.441" v="5485" actId="113"/>
          <ac:spMkLst>
            <pc:docMk/>
            <pc:sldMk cId="1836957030" sldId="1638"/>
            <ac:spMk id="8" creationId="{0FB94E73-5010-45A4-9881-EEB6C72752DD}"/>
          </ac:spMkLst>
        </pc:spChg>
        <pc:spChg chg="add">
          <ac:chgData name="Lace Lofranco" userId="1515141e-a2ed-4ab4-a66f-6db2dda82fd4" providerId="ADAL" clId="{C7CF28B1-BD21-4B84-881F-EB9ECF147DEB}" dt="2018-04-16T02:42:53.234" v="5480" actId="20577"/>
          <ac:spMkLst>
            <pc:docMk/>
            <pc:sldMk cId="1836957030" sldId="1638"/>
            <ac:spMk id="9" creationId="{02046F2B-8D1B-496D-84E8-5936206DB852}"/>
          </ac:spMkLst>
        </pc:spChg>
        <pc:spChg chg="add del">
          <ac:chgData name="Lace Lofranco" userId="1515141e-a2ed-4ab4-a66f-6db2dda82fd4" providerId="ADAL" clId="{C7CF28B1-BD21-4B84-881F-EB9ECF147DEB}" dt="2018-04-16T02:43:11.224" v="5487" actId="20577"/>
          <ac:spMkLst>
            <pc:docMk/>
            <pc:sldMk cId="1836957030" sldId="1638"/>
            <ac:spMk id="10" creationId="{16F138F6-F875-4D51-B8C7-F34ECDF97170}"/>
          </ac:spMkLst>
        </pc:spChg>
        <pc:spChg chg="add del">
          <ac:chgData name="Lace Lofranco" userId="1515141e-a2ed-4ab4-a66f-6db2dda82fd4" providerId="ADAL" clId="{C7CF28B1-BD21-4B84-881F-EB9ECF147DEB}" dt="2018-04-16T02:43:11.224" v="5487" actId="20577"/>
          <ac:spMkLst>
            <pc:docMk/>
            <pc:sldMk cId="1836957030" sldId="1638"/>
            <ac:spMk id="11" creationId="{0F878D7E-674C-4DCA-9786-C7C962D12227}"/>
          </ac:spMkLst>
        </pc:spChg>
        <pc:spChg chg="add del">
          <ac:chgData name="Lace Lofranco" userId="1515141e-a2ed-4ab4-a66f-6db2dda82fd4" providerId="ADAL" clId="{C7CF28B1-BD21-4B84-881F-EB9ECF147DEB}" dt="2018-04-16T02:43:11.224" v="5487" actId="20577"/>
          <ac:spMkLst>
            <pc:docMk/>
            <pc:sldMk cId="1836957030" sldId="1638"/>
            <ac:spMk id="12" creationId="{6C1372D1-615E-453E-85EA-4E2CCD6FE433}"/>
          </ac:spMkLst>
        </pc:spChg>
        <pc:spChg chg="add del">
          <ac:chgData name="Lace Lofranco" userId="1515141e-a2ed-4ab4-a66f-6db2dda82fd4" providerId="ADAL" clId="{C7CF28B1-BD21-4B84-881F-EB9ECF147DEB}" dt="2018-04-16T02:43:11.224" v="5487" actId="20577"/>
          <ac:spMkLst>
            <pc:docMk/>
            <pc:sldMk cId="1836957030" sldId="1638"/>
            <ac:spMk id="13" creationId="{A183E005-C3D1-4713-AFCD-CB0D185F2450}"/>
          </ac:spMkLst>
        </pc:spChg>
        <pc:spChg chg="add del">
          <ac:chgData name="Lace Lofranco" userId="1515141e-a2ed-4ab4-a66f-6db2dda82fd4" providerId="ADAL" clId="{C7CF28B1-BD21-4B84-881F-EB9ECF147DEB}" dt="2018-04-16T02:43:11.224" v="5487" actId="20577"/>
          <ac:spMkLst>
            <pc:docMk/>
            <pc:sldMk cId="1836957030" sldId="1638"/>
            <ac:spMk id="14" creationId="{C8451DC6-A9DE-4685-B87D-4F332DF6668B}"/>
          </ac:spMkLst>
        </pc:spChg>
      </pc:sldChg>
      <pc:sldChg chg="modSp add ord">
        <pc:chgData name="Lace Lofranco" userId="1515141e-a2ed-4ab4-a66f-6db2dda82fd4" providerId="ADAL" clId="{C7CF28B1-BD21-4B84-881F-EB9ECF147DEB}" dt="2018-04-16T07:07:46.904" v="6752" actId="20577"/>
        <pc:sldMkLst>
          <pc:docMk/>
          <pc:sldMk cId="1290904188" sldId="1639"/>
        </pc:sldMkLst>
        <pc:spChg chg="mod">
          <ac:chgData name="Lace Lofranco" userId="1515141e-a2ed-4ab4-a66f-6db2dda82fd4" providerId="ADAL" clId="{C7CF28B1-BD21-4B84-881F-EB9ECF147DEB}" dt="2018-04-16T02:48:11.596" v="5836" actId="20577"/>
          <ac:spMkLst>
            <pc:docMk/>
            <pc:sldMk cId="1290904188" sldId="1639"/>
            <ac:spMk id="2" creationId="{A16C8B79-11C9-4068-BF9E-3C4D006846D6}"/>
          </ac:spMkLst>
        </pc:spChg>
        <pc:spChg chg="mod">
          <ac:chgData name="Lace Lofranco" userId="1515141e-a2ed-4ab4-a66f-6db2dda82fd4" providerId="ADAL" clId="{C7CF28B1-BD21-4B84-881F-EB9ECF147DEB}" dt="2018-04-16T07:07:46.904" v="6752" actId="20577"/>
          <ac:spMkLst>
            <pc:docMk/>
            <pc:sldMk cId="1290904188" sldId="1639"/>
            <ac:spMk id="3" creationId="{492B86C6-8150-4A73-B4A2-8567F7810330}"/>
          </ac:spMkLst>
        </pc:spChg>
        <pc:spChg chg="mod">
          <ac:chgData name="Lace Lofranco" userId="1515141e-a2ed-4ab4-a66f-6db2dda82fd4" providerId="ADAL" clId="{C7CF28B1-BD21-4B84-881F-EB9ECF147DEB}" dt="2018-04-16T02:52:56.771" v="6354" actId="108"/>
          <ac:spMkLst>
            <pc:docMk/>
            <pc:sldMk cId="1290904188" sldId="1639"/>
            <ac:spMk id="8" creationId="{0FB94E73-5010-45A4-9881-EEB6C72752DD}"/>
          </ac:spMkLst>
        </pc:spChg>
        <pc:spChg chg="mod">
          <ac:chgData name="Lace Lofranco" userId="1515141e-a2ed-4ab4-a66f-6db2dda82fd4" providerId="ADAL" clId="{C7CF28B1-BD21-4B84-881F-EB9ECF147DEB}" dt="2018-04-16T02:52:54.269" v="6353" actId="108"/>
          <ac:spMkLst>
            <pc:docMk/>
            <pc:sldMk cId="1290904188" sldId="1639"/>
            <ac:spMk id="9" creationId="{02046F2B-8D1B-496D-84E8-5936206DB852}"/>
          </ac:spMkLst>
        </pc:spChg>
      </pc:sldChg>
      <pc:sldChg chg="addSp delSp modSp add">
        <pc:chgData name="Lace Lofranco" userId="1515141e-a2ed-4ab4-a66f-6db2dda82fd4" providerId="ADAL" clId="{C7CF28B1-BD21-4B84-881F-EB9ECF147DEB}" dt="2018-04-16T07:13:01.474" v="7041" actId="12"/>
        <pc:sldMkLst>
          <pc:docMk/>
          <pc:sldMk cId="3481333290" sldId="1640"/>
        </pc:sldMkLst>
        <pc:spChg chg="mod">
          <ac:chgData name="Lace Lofranco" userId="1515141e-a2ed-4ab4-a66f-6db2dda82fd4" providerId="ADAL" clId="{C7CF28B1-BD21-4B84-881F-EB9ECF147DEB}" dt="2018-04-16T02:58:36.013" v="6497" actId="12"/>
          <ac:spMkLst>
            <pc:docMk/>
            <pc:sldMk cId="3481333290" sldId="1640"/>
            <ac:spMk id="2" creationId="{318B7882-F72D-49C8-96E0-C98C471993DB}"/>
          </ac:spMkLst>
        </pc:spChg>
        <pc:spChg chg="mod">
          <ac:chgData name="Lace Lofranco" userId="1515141e-a2ed-4ab4-a66f-6db2dda82fd4" providerId="ADAL" clId="{C7CF28B1-BD21-4B84-881F-EB9ECF147DEB}" dt="2018-04-16T07:13:01.474" v="7041" actId="12"/>
          <ac:spMkLst>
            <pc:docMk/>
            <pc:sldMk cId="3481333290" sldId="1640"/>
            <ac:spMk id="3" creationId="{592C5456-7C93-4E29-B1CC-E151E50FFA35}"/>
          </ac:spMkLst>
        </pc:spChg>
        <pc:spChg chg="del">
          <ac:chgData name="Lace Lofranco" userId="1515141e-a2ed-4ab4-a66f-6db2dda82fd4" providerId="ADAL" clId="{C7CF28B1-BD21-4B84-881F-EB9ECF147DEB}" dt="2018-04-16T02:57:18.078" v="6489" actId="478"/>
          <ac:spMkLst>
            <pc:docMk/>
            <pc:sldMk cId="3481333290" sldId="1640"/>
            <ac:spMk id="4" creationId="{D846BD6C-1E35-4D33-8423-F07036C9E304}"/>
          </ac:spMkLst>
        </pc:spChg>
        <pc:spChg chg="add del mod">
          <ac:chgData name="Lace Lofranco" userId="1515141e-a2ed-4ab4-a66f-6db2dda82fd4" providerId="ADAL" clId="{C7CF28B1-BD21-4B84-881F-EB9ECF147DEB}" dt="2018-04-16T07:12:06.860" v="7023" actId="478"/>
          <ac:spMkLst>
            <pc:docMk/>
            <pc:sldMk cId="3481333290" sldId="1640"/>
            <ac:spMk id="5" creationId="{C297632C-A078-41A9-93C5-E1BFC98BE00A}"/>
          </ac:spMkLst>
        </pc:spChg>
        <pc:spChg chg="add del mod">
          <ac:chgData name="Lace Lofranco" userId="1515141e-a2ed-4ab4-a66f-6db2dda82fd4" providerId="ADAL" clId="{C7CF28B1-BD21-4B84-881F-EB9ECF147DEB}" dt="2018-04-16T07:12:12.336" v="7027" actId="478"/>
          <ac:spMkLst>
            <pc:docMk/>
            <pc:sldMk cId="3481333290" sldId="1640"/>
            <ac:spMk id="6" creationId="{3955358D-407D-4FAC-928D-C7597689977E}"/>
          </ac:spMkLst>
        </pc:spChg>
        <pc:spChg chg="add del mod">
          <ac:chgData name="Lace Lofranco" userId="1515141e-a2ed-4ab4-a66f-6db2dda82fd4" providerId="ADAL" clId="{C7CF28B1-BD21-4B84-881F-EB9ECF147DEB}" dt="2018-04-16T07:11:59.287" v="7015" actId="478"/>
          <ac:spMkLst>
            <pc:docMk/>
            <pc:sldMk cId="3481333290" sldId="1640"/>
            <ac:spMk id="11" creationId="{0AAE89FF-036C-4F4D-9581-D8EFD5DEDFCB}"/>
          </ac:spMkLst>
        </pc:spChg>
        <pc:spChg chg="add del mod">
          <ac:chgData name="Lace Lofranco" userId="1515141e-a2ed-4ab4-a66f-6db2dda82fd4" providerId="ADAL" clId="{C7CF28B1-BD21-4B84-881F-EB9ECF147DEB}" dt="2018-04-16T07:12:01.884" v="7018" actId="478"/>
          <ac:spMkLst>
            <pc:docMk/>
            <pc:sldMk cId="3481333290" sldId="1640"/>
            <ac:spMk id="12" creationId="{E55CCCDF-2731-4506-8683-DF43861AA82E}"/>
          </ac:spMkLst>
        </pc:spChg>
        <pc:spChg chg="add del mod">
          <ac:chgData name="Lace Lofranco" userId="1515141e-a2ed-4ab4-a66f-6db2dda82fd4" providerId="ADAL" clId="{C7CF28B1-BD21-4B84-881F-EB9ECF147DEB}" dt="2018-04-16T07:12:11.280" v="7026" actId="478"/>
          <ac:spMkLst>
            <pc:docMk/>
            <pc:sldMk cId="3481333290" sldId="1640"/>
            <ac:spMk id="13" creationId="{51133395-C2A9-4988-9BE9-19D11B3E5273}"/>
          </ac:spMkLst>
        </pc:spChg>
        <pc:spChg chg="add del mod">
          <ac:chgData name="Lace Lofranco" userId="1515141e-a2ed-4ab4-a66f-6db2dda82fd4" providerId="ADAL" clId="{C7CF28B1-BD21-4B84-881F-EB9ECF147DEB}" dt="2018-04-16T07:12:03.547" v="7019" actId="478"/>
          <ac:spMkLst>
            <pc:docMk/>
            <pc:sldMk cId="3481333290" sldId="1640"/>
            <ac:spMk id="14" creationId="{956279C8-4D61-4422-8ED1-E49FDA17A688}"/>
          </ac:spMkLst>
        </pc:spChg>
        <pc:spChg chg="add mod">
          <ac:chgData name="Lace Lofranco" userId="1515141e-a2ed-4ab4-a66f-6db2dda82fd4" providerId="ADAL" clId="{C7CF28B1-BD21-4B84-881F-EB9ECF147DEB}" dt="2018-04-16T07:12:24.460" v="7029" actId="14100"/>
          <ac:spMkLst>
            <pc:docMk/>
            <pc:sldMk cId="3481333290" sldId="1640"/>
            <ac:spMk id="15" creationId="{5FEEF0B3-1412-419F-BFE9-2E1D9BBA9E9B}"/>
          </ac:spMkLst>
        </pc:spChg>
        <pc:spChg chg="add mod">
          <ac:chgData name="Lace Lofranco" userId="1515141e-a2ed-4ab4-a66f-6db2dda82fd4" providerId="ADAL" clId="{C7CF28B1-BD21-4B84-881F-EB9ECF147DEB}" dt="2018-04-16T02:57:34.358" v="6496" actId="1038"/>
          <ac:spMkLst>
            <pc:docMk/>
            <pc:sldMk cId="3481333290" sldId="1640"/>
            <ac:spMk id="16" creationId="{30D892F7-6461-45C6-A623-95BBAC24A8EB}"/>
          </ac:spMkLst>
        </pc:spChg>
        <pc:spChg chg="add del mod">
          <ac:chgData name="Lace Lofranco" userId="1515141e-a2ed-4ab4-a66f-6db2dda82fd4" providerId="ADAL" clId="{C7CF28B1-BD21-4B84-881F-EB9ECF147DEB}" dt="2018-04-16T07:12:05.161" v="7021" actId="478"/>
          <ac:spMkLst>
            <pc:docMk/>
            <pc:sldMk cId="3481333290" sldId="1640"/>
            <ac:spMk id="17" creationId="{5F5722FE-3CBD-4CC8-8BCB-276E298DE92E}"/>
          </ac:spMkLst>
        </pc:spChg>
        <pc:spChg chg="add mod">
          <ac:chgData name="Lace Lofranco" userId="1515141e-a2ed-4ab4-a66f-6db2dda82fd4" providerId="ADAL" clId="{C7CF28B1-BD21-4B84-881F-EB9ECF147DEB}" dt="2018-04-16T07:12:22.564" v="7028" actId="14100"/>
          <ac:spMkLst>
            <pc:docMk/>
            <pc:sldMk cId="3481333290" sldId="1640"/>
            <ac:spMk id="18" creationId="{1F75868C-D89F-45F3-8FC8-BE97BBAD61F0}"/>
          </ac:spMkLst>
        </pc:spChg>
        <pc:spChg chg="add del mod">
          <ac:chgData name="Lace Lofranco" userId="1515141e-a2ed-4ab4-a66f-6db2dda82fd4" providerId="ADAL" clId="{C7CF28B1-BD21-4B84-881F-EB9ECF147DEB}" dt="2018-04-16T07:12:44.982" v="7037" actId="478"/>
          <ac:spMkLst>
            <pc:docMk/>
            <pc:sldMk cId="3481333290" sldId="1640"/>
            <ac:spMk id="44" creationId="{B98D8306-3198-4F56-A4C7-4B3E1EB1FA24}"/>
          </ac:spMkLst>
        </pc:spChg>
        <pc:spChg chg="add mod">
          <ac:chgData name="Lace Lofranco" userId="1515141e-a2ed-4ab4-a66f-6db2dda82fd4" providerId="ADAL" clId="{C7CF28B1-BD21-4B84-881F-EB9ECF147DEB}" dt="2018-04-16T02:57:34.358" v="6496" actId="1038"/>
          <ac:spMkLst>
            <pc:docMk/>
            <pc:sldMk cId="3481333290" sldId="1640"/>
            <ac:spMk id="45" creationId="{04CD1573-602A-4A0A-AF1A-DBB0813C92CD}"/>
          </ac:spMkLst>
        </pc:spChg>
        <pc:spChg chg="add del mod">
          <ac:chgData name="Lace Lofranco" userId="1515141e-a2ed-4ab4-a66f-6db2dda82fd4" providerId="ADAL" clId="{C7CF28B1-BD21-4B84-881F-EB9ECF147DEB}" dt="2018-04-16T07:12:06.167" v="7022" actId="478"/>
          <ac:spMkLst>
            <pc:docMk/>
            <pc:sldMk cId="3481333290" sldId="1640"/>
            <ac:spMk id="46" creationId="{73D4F1DF-19F0-48AC-A119-7B69EACAB4B9}"/>
          </ac:spMkLst>
        </pc:spChg>
        <pc:spChg chg="add mod">
          <ac:chgData name="Lace Lofranco" userId="1515141e-a2ed-4ab4-a66f-6db2dda82fd4" providerId="ADAL" clId="{C7CF28B1-BD21-4B84-881F-EB9ECF147DEB}" dt="2018-04-16T02:57:34.358" v="6496" actId="1038"/>
          <ac:spMkLst>
            <pc:docMk/>
            <pc:sldMk cId="3481333290" sldId="1640"/>
            <ac:spMk id="47" creationId="{D755A024-1EB7-452B-83CF-95EA3C84CC25}"/>
          </ac:spMkLst>
        </pc:spChg>
        <pc:spChg chg="add mod">
          <ac:chgData name="Lace Lofranco" userId="1515141e-a2ed-4ab4-a66f-6db2dda82fd4" providerId="ADAL" clId="{C7CF28B1-BD21-4B84-881F-EB9ECF147DEB}" dt="2018-04-16T07:12:41.109" v="7036" actId="1038"/>
          <ac:spMkLst>
            <pc:docMk/>
            <pc:sldMk cId="3481333290" sldId="1640"/>
            <ac:spMk id="48" creationId="{BE65B0B3-94E8-4E6E-AAAE-B735EBFC154C}"/>
          </ac:spMkLst>
        </pc:spChg>
        <pc:spChg chg="add mod">
          <ac:chgData name="Lace Lofranco" userId="1515141e-a2ed-4ab4-a66f-6db2dda82fd4" providerId="ADAL" clId="{C7CF28B1-BD21-4B84-881F-EB9ECF147DEB}" dt="2018-04-16T02:57:34.358" v="6496" actId="1038"/>
          <ac:spMkLst>
            <pc:docMk/>
            <pc:sldMk cId="3481333290" sldId="1640"/>
            <ac:spMk id="70" creationId="{A71BC3AD-5C1C-4965-BF44-9DC03BA383A8}"/>
          </ac:spMkLst>
        </pc:spChg>
        <pc:spChg chg="add mod">
          <ac:chgData name="Lace Lofranco" userId="1515141e-a2ed-4ab4-a66f-6db2dda82fd4" providerId="ADAL" clId="{C7CF28B1-BD21-4B84-881F-EB9ECF147DEB}" dt="2018-04-16T02:57:34.358" v="6496" actId="1038"/>
          <ac:spMkLst>
            <pc:docMk/>
            <pc:sldMk cId="3481333290" sldId="1640"/>
            <ac:spMk id="71" creationId="{E1D58392-90CE-4557-9B3D-4051BA2BA65D}"/>
          </ac:spMkLst>
        </pc:spChg>
        <pc:spChg chg="add mod">
          <ac:chgData name="Lace Lofranco" userId="1515141e-a2ed-4ab4-a66f-6db2dda82fd4" providerId="ADAL" clId="{C7CF28B1-BD21-4B84-881F-EB9ECF147DEB}" dt="2018-04-16T07:12:41.109" v="7036" actId="1038"/>
          <ac:spMkLst>
            <pc:docMk/>
            <pc:sldMk cId="3481333290" sldId="1640"/>
            <ac:spMk id="72" creationId="{C5F154EE-AAEF-4873-95E9-16F0B6E498A0}"/>
          </ac:spMkLst>
        </pc:spChg>
        <pc:spChg chg="add mod">
          <ac:chgData name="Lace Lofranco" userId="1515141e-a2ed-4ab4-a66f-6db2dda82fd4" providerId="ADAL" clId="{C7CF28B1-BD21-4B84-881F-EB9ECF147DEB}" dt="2018-04-16T07:12:41.109" v="7036" actId="1038"/>
          <ac:spMkLst>
            <pc:docMk/>
            <pc:sldMk cId="3481333290" sldId="1640"/>
            <ac:spMk id="73" creationId="{B4349929-C951-465B-A6FA-A07081ECCE38}"/>
          </ac:spMkLst>
        </pc:spChg>
        <pc:spChg chg="add mod">
          <ac:chgData name="Lace Lofranco" userId="1515141e-a2ed-4ab4-a66f-6db2dda82fd4" providerId="ADAL" clId="{C7CF28B1-BD21-4B84-881F-EB9ECF147DEB}" dt="2018-04-16T02:57:34.358" v="6496" actId="1038"/>
          <ac:spMkLst>
            <pc:docMk/>
            <pc:sldMk cId="3481333290" sldId="1640"/>
            <ac:spMk id="74" creationId="{A3D8528F-0E8E-4E93-8988-5A4C6479D828}"/>
          </ac:spMkLst>
        </pc:spChg>
        <pc:spChg chg="add mod">
          <ac:chgData name="Lace Lofranco" userId="1515141e-a2ed-4ab4-a66f-6db2dda82fd4" providerId="ADAL" clId="{C7CF28B1-BD21-4B84-881F-EB9ECF147DEB}" dt="2018-04-16T02:57:34.358" v="6496" actId="1038"/>
          <ac:spMkLst>
            <pc:docMk/>
            <pc:sldMk cId="3481333290" sldId="1640"/>
            <ac:spMk id="75" creationId="{08BCD411-2036-4272-894D-42EC02F2C1F9}"/>
          </ac:spMkLst>
        </pc:spChg>
        <pc:spChg chg="add mod">
          <ac:chgData name="Lace Lofranco" userId="1515141e-a2ed-4ab4-a66f-6db2dda82fd4" providerId="ADAL" clId="{C7CF28B1-BD21-4B84-881F-EB9ECF147DEB}" dt="2018-04-16T02:57:34.358" v="6496" actId="1038"/>
          <ac:spMkLst>
            <pc:docMk/>
            <pc:sldMk cId="3481333290" sldId="1640"/>
            <ac:spMk id="76" creationId="{CC09A09C-F6BE-415A-94CB-4806423755C1}"/>
          </ac:spMkLst>
        </pc:spChg>
        <pc:grpChg chg="add del mod">
          <ac:chgData name="Lace Lofranco" userId="1515141e-a2ed-4ab4-a66f-6db2dda82fd4" providerId="ADAL" clId="{C7CF28B1-BD21-4B84-881F-EB9ECF147DEB}" dt="2018-04-16T07:12:09.497" v="7024" actId="478"/>
          <ac:grpSpMkLst>
            <pc:docMk/>
            <pc:sldMk cId="3481333290" sldId="1640"/>
            <ac:grpSpMk id="7" creationId="{79CFBACB-8C03-4D2A-9921-9A30E9C6CADE}"/>
          </ac:grpSpMkLst>
        </pc:grpChg>
        <pc:grpChg chg="add del mod">
          <ac:chgData name="Lace Lofranco" userId="1515141e-a2ed-4ab4-a66f-6db2dda82fd4" providerId="ADAL" clId="{C7CF28B1-BD21-4B84-881F-EB9ECF147DEB}" dt="2018-04-16T07:12:04.098" v="7020" actId="478"/>
          <ac:grpSpMkLst>
            <pc:docMk/>
            <pc:sldMk cId="3481333290" sldId="1640"/>
            <ac:grpSpMk id="19" creationId="{07117F47-E82D-4CC2-9F84-8A2C439A305C}"/>
          </ac:grpSpMkLst>
        </pc:grpChg>
        <pc:grpChg chg="add mod">
          <ac:chgData name="Lace Lofranco" userId="1515141e-a2ed-4ab4-a66f-6db2dda82fd4" providerId="ADAL" clId="{C7CF28B1-BD21-4B84-881F-EB9ECF147DEB}" dt="2018-04-16T07:12:41.109" v="7036" actId="1038"/>
          <ac:grpSpMkLst>
            <pc:docMk/>
            <pc:sldMk cId="3481333290" sldId="1640"/>
            <ac:grpSpMk id="49" creationId="{BC5A7CCD-6A45-45CE-A172-53CFEE264A39}"/>
          </ac:grpSpMkLst>
        </pc:grpChg>
        <pc:grpChg chg="add mod">
          <ac:chgData name="Lace Lofranco" userId="1515141e-a2ed-4ab4-a66f-6db2dda82fd4" providerId="ADAL" clId="{C7CF28B1-BD21-4B84-881F-EB9ECF147DEB}" dt="2018-04-16T07:12:41.109" v="7036" actId="1038"/>
          <ac:grpSpMkLst>
            <pc:docMk/>
            <pc:sldMk cId="3481333290" sldId="1640"/>
            <ac:grpSpMk id="52" creationId="{0EA2BD59-9D76-4121-98A9-9516107E0A06}"/>
          </ac:grpSpMkLst>
        </pc:grpChg>
        <pc:grpChg chg="add mod">
          <ac:chgData name="Lace Lofranco" userId="1515141e-a2ed-4ab4-a66f-6db2dda82fd4" providerId="ADAL" clId="{C7CF28B1-BD21-4B84-881F-EB9ECF147DEB}" dt="2018-04-16T07:12:41.109" v="7036" actId="1038"/>
          <ac:grpSpMkLst>
            <pc:docMk/>
            <pc:sldMk cId="3481333290" sldId="1640"/>
            <ac:grpSpMk id="61" creationId="{5CC51EA3-1D7C-4CDC-9952-D5D71237957B}"/>
          </ac:grpSpMkLst>
        </pc:grpChg>
        <pc:picChg chg="add del mod">
          <ac:chgData name="Lace Lofranco" userId="1515141e-a2ed-4ab4-a66f-6db2dda82fd4" providerId="ADAL" clId="{C7CF28B1-BD21-4B84-881F-EB9ECF147DEB}" dt="2018-04-16T07:12:00.502" v="7016" actId="478"/>
          <ac:picMkLst>
            <pc:docMk/>
            <pc:sldMk cId="3481333290" sldId="1640"/>
            <ac:picMk id="43" creationId="{055B0D5F-C1A4-4DE6-8590-FAF6256A607A}"/>
          </ac:picMkLst>
        </pc:picChg>
        <pc:picChg chg="add mod">
          <ac:chgData name="Lace Lofranco" userId="1515141e-a2ed-4ab4-a66f-6db2dda82fd4" providerId="ADAL" clId="{C7CF28B1-BD21-4B84-881F-EB9ECF147DEB}" dt="2018-04-16T02:57:34.358" v="6496" actId="1038"/>
          <ac:picMkLst>
            <pc:docMk/>
            <pc:sldMk cId="3481333290" sldId="1640"/>
            <ac:picMk id="79" creationId="{61A1FD42-5316-4C9A-A778-8D05A3282312}"/>
          </ac:picMkLst>
        </pc:picChg>
        <pc:picChg chg="add mod">
          <ac:chgData name="Lace Lofranco" userId="1515141e-a2ed-4ab4-a66f-6db2dda82fd4" providerId="ADAL" clId="{C7CF28B1-BD21-4B84-881F-EB9ECF147DEB}" dt="2018-04-16T02:57:34.358" v="6496" actId="1038"/>
          <ac:picMkLst>
            <pc:docMk/>
            <pc:sldMk cId="3481333290" sldId="1640"/>
            <ac:picMk id="80" creationId="{28065527-2315-41E0-824E-ED5BE58E55F6}"/>
          </ac:picMkLst>
        </pc:picChg>
        <pc:cxnChg chg="add mod">
          <ac:chgData name="Lace Lofranco" userId="1515141e-a2ed-4ab4-a66f-6db2dda82fd4" providerId="ADAL" clId="{C7CF28B1-BD21-4B84-881F-EB9ECF147DEB}" dt="2018-04-16T07:12:41.109" v="7036" actId="1038"/>
          <ac:cxnSpMkLst>
            <pc:docMk/>
            <pc:sldMk cId="3481333290" sldId="1640"/>
            <ac:cxnSpMk id="68" creationId="{E3182D63-0375-418C-B636-62903EE409DB}"/>
          </ac:cxnSpMkLst>
        </pc:cxnChg>
        <pc:cxnChg chg="add mod">
          <ac:chgData name="Lace Lofranco" userId="1515141e-a2ed-4ab4-a66f-6db2dda82fd4" providerId="ADAL" clId="{C7CF28B1-BD21-4B84-881F-EB9ECF147DEB}" dt="2018-04-16T07:12:41.109" v="7036" actId="1038"/>
          <ac:cxnSpMkLst>
            <pc:docMk/>
            <pc:sldMk cId="3481333290" sldId="1640"/>
            <ac:cxnSpMk id="69" creationId="{01FC8B63-7DD8-48C7-9CC2-FE3A5F5CF00C}"/>
          </ac:cxnSpMkLst>
        </pc:cxnChg>
        <pc:cxnChg chg="add mod">
          <ac:chgData name="Lace Lofranco" userId="1515141e-a2ed-4ab4-a66f-6db2dda82fd4" providerId="ADAL" clId="{C7CF28B1-BD21-4B84-881F-EB9ECF147DEB}" dt="2018-04-16T02:57:34.358" v="6496" actId="1038"/>
          <ac:cxnSpMkLst>
            <pc:docMk/>
            <pc:sldMk cId="3481333290" sldId="1640"/>
            <ac:cxnSpMk id="77" creationId="{F021E977-5DF8-4327-9F51-B0B69032470E}"/>
          </ac:cxnSpMkLst>
        </pc:cxnChg>
        <pc:cxnChg chg="add mod">
          <ac:chgData name="Lace Lofranco" userId="1515141e-a2ed-4ab4-a66f-6db2dda82fd4" providerId="ADAL" clId="{C7CF28B1-BD21-4B84-881F-EB9ECF147DEB}" dt="2018-04-16T02:57:34.358" v="6496" actId="1038"/>
          <ac:cxnSpMkLst>
            <pc:docMk/>
            <pc:sldMk cId="3481333290" sldId="1640"/>
            <ac:cxnSpMk id="78" creationId="{4C970AAF-1DC3-4864-B5DC-0D17E19AA95F}"/>
          </ac:cxnSpMkLst>
        </pc:cxnChg>
      </pc:sldChg>
      <pc:sldMasterChg chg="delSldLayout modSldLayout">
        <pc:chgData name="Lace Lofranco" userId="1515141e-a2ed-4ab4-a66f-6db2dda82fd4" providerId="ADAL" clId="{C7CF28B1-BD21-4B84-881F-EB9ECF147DEB}" dt="2018-04-15T13:07:12.342" v="3021" actId="2696"/>
        <pc:sldMasterMkLst>
          <pc:docMk/>
          <pc:sldMasterMk cId="3588427678" sldId="2147484229"/>
        </pc:sldMasterMkLst>
        <pc:sldLayoutChg chg="addSp delSp">
          <pc:chgData name="Lace Lofranco" userId="1515141e-a2ed-4ab4-a66f-6db2dda82fd4" providerId="ADAL" clId="{C7CF28B1-BD21-4B84-881F-EB9ECF147DEB}" dt="2018-04-15T08:04:35.435" v="4" actId="478"/>
          <pc:sldLayoutMkLst>
            <pc:docMk/>
            <pc:sldMasterMk cId="3588427678" sldId="2147484229"/>
            <pc:sldLayoutMk cId="2588231870" sldId="2147484236"/>
          </pc:sldLayoutMkLst>
          <pc:spChg chg="del">
            <ac:chgData name="Lace Lofranco" userId="1515141e-a2ed-4ab4-a66f-6db2dda82fd4" providerId="ADAL" clId="{C7CF28B1-BD21-4B84-881F-EB9ECF147DEB}" dt="2018-04-15T08:04:34.151" v="3" actId="478"/>
            <ac:spMkLst>
              <pc:docMk/>
              <pc:sldMasterMk cId="3588427678" sldId="2147484229"/>
              <pc:sldLayoutMk cId="2588231870" sldId="2147484236"/>
              <ac:spMk id="90" creationId="{1514ACE8-7A0C-473D-BA90-C7ABAA3C98FD}"/>
            </ac:spMkLst>
          </pc:spChg>
          <pc:picChg chg="add">
            <ac:chgData name="Lace Lofranco" userId="1515141e-a2ed-4ab4-a66f-6db2dda82fd4" providerId="ADAL" clId="{C7CF28B1-BD21-4B84-881F-EB9ECF147DEB}" dt="2018-04-15T08:04:27.542" v="2" actId="478"/>
            <ac:picMkLst>
              <pc:docMk/>
              <pc:sldMasterMk cId="3588427678" sldId="2147484229"/>
              <pc:sldLayoutMk cId="2588231870" sldId="2147484236"/>
              <ac:picMk id="10" creationId="{66B6E59D-B61E-4471-A5EB-A1055BE2DDB3}"/>
            </ac:picMkLst>
          </pc:picChg>
          <pc:picChg chg="del">
            <ac:chgData name="Lace Lofranco" userId="1515141e-a2ed-4ab4-a66f-6db2dda82fd4" providerId="ADAL" clId="{C7CF28B1-BD21-4B84-881F-EB9ECF147DEB}" dt="2018-04-15T08:04:25.671" v="0" actId="478"/>
            <ac:picMkLst>
              <pc:docMk/>
              <pc:sldMasterMk cId="3588427678" sldId="2147484229"/>
              <pc:sldLayoutMk cId="2588231870" sldId="2147484236"/>
              <ac:picMk id="91" creationId="{2E307DC2-3E17-4844-9F04-C392C8FB7584}"/>
            </ac:picMkLst>
          </pc:picChg>
          <pc:picChg chg="del">
            <ac:chgData name="Lace Lofranco" userId="1515141e-a2ed-4ab4-a66f-6db2dda82fd4" providerId="ADAL" clId="{C7CF28B1-BD21-4B84-881F-EB9ECF147DEB}" dt="2018-04-15T08:04:27.249" v="1" actId="478"/>
            <ac:picMkLst>
              <pc:docMk/>
              <pc:sldMasterMk cId="3588427678" sldId="2147484229"/>
              <pc:sldLayoutMk cId="2588231870" sldId="2147484236"/>
              <ac:picMk id="1026" creationId="{08FBB26D-8FED-4CDE-9AD9-5DF09DE7894F}"/>
            </ac:picMkLst>
          </pc:picChg>
          <pc:picChg chg="del">
            <ac:chgData name="Lace Lofranco" userId="1515141e-a2ed-4ab4-a66f-6db2dda82fd4" providerId="ADAL" clId="{C7CF28B1-BD21-4B84-881F-EB9ECF147DEB}" dt="2018-04-15T08:04:35.435" v="4" actId="478"/>
            <ac:picMkLst>
              <pc:docMk/>
              <pc:sldMasterMk cId="3588427678" sldId="2147484229"/>
              <pc:sldLayoutMk cId="2588231870" sldId="2147484236"/>
              <ac:picMk id="1028" creationId="{66E019EE-88F4-462C-BC70-0F137F75FCCC}"/>
            </ac:picMkLst>
          </pc:picChg>
        </pc:sldLayoutChg>
        <pc:sldLayoutChg chg="delSp">
          <pc:chgData name="Lace Lofranco" userId="1515141e-a2ed-4ab4-a66f-6db2dda82fd4" providerId="ADAL" clId="{C7CF28B1-BD21-4B84-881F-EB9ECF147DEB}" dt="2018-04-15T08:05:23.767" v="8" actId="478"/>
          <pc:sldLayoutMkLst>
            <pc:docMk/>
            <pc:sldMasterMk cId="3588427678" sldId="2147484229"/>
            <pc:sldLayoutMk cId="1531337368" sldId="2147484240"/>
          </pc:sldLayoutMkLst>
          <pc:picChg chg="del">
            <ac:chgData name="Lace Lofranco" userId="1515141e-a2ed-4ab4-a66f-6db2dda82fd4" providerId="ADAL" clId="{C7CF28B1-BD21-4B84-881F-EB9ECF147DEB}" dt="2018-04-15T08:05:23.767" v="8" actId="478"/>
            <ac:picMkLst>
              <pc:docMk/>
              <pc:sldMasterMk cId="3588427678" sldId="2147484229"/>
              <pc:sldLayoutMk cId="1531337368" sldId="2147484240"/>
              <ac:picMk id="17" creationId="{16530149-C2F4-40F9-9871-8AD771375ED9}"/>
            </ac:picMkLst>
          </pc:picChg>
        </pc:sldLayoutChg>
        <pc:sldLayoutChg chg="delSp">
          <pc:chgData name="Lace Lofranco" userId="1515141e-a2ed-4ab4-a66f-6db2dda82fd4" providerId="ADAL" clId="{C7CF28B1-BD21-4B84-881F-EB9ECF147DEB}" dt="2018-04-15T08:05:25.865" v="9" actId="478"/>
          <pc:sldLayoutMkLst>
            <pc:docMk/>
            <pc:sldMasterMk cId="3588427678" sldId="2147484229"/>
            <pc:sldLayoutMk cId="1703268474" sldId="2147484241"/>
          </pc:sldLayoutMkLst>
          <pc:picChg chg="del">
            <ac:chgData name="Lace Lofranco" userId="1515141e-a2ed-4ab4-a66f-6db2dda82fd4" providerId="ADAL" clId="{C7CF28B1-BD21-4B84-881F-EB9ECF147DEB}" dt="2018-04-15T08:05:25.865" v="9" actId="478"/>
            <ac:picMkLst>
              <pc:docMk/>
              <pc:sldMasterMk cId="3588427678" sldId="2147484229"/>
              <pc:sldLayoutMk cId="1703268474" sldId="2147484241"/>
              <ac:picMk id="11" creationId="{F9142F9D-6403-4DD0-BFD8-AA7323BFD5DA}"/>
            </ac:picMkLst>
          </pc:picChg>
        </pc:sldLayoutChg>
        <pc:sldLayoutChg chg="delSp">
          <pc:chgData name="Lace Lofranco" userId="1515141e-a2ed-4ab4-a66f-6db2dda82fd4" providerId="ADAL" clId="{C7CF28B1-BD21-4B84-881F-EB9ECF147DEB}" dt="2018-04-15T08:05:31.449" v="11" actId="478"/>
          <pc:sldLayoutMkLst>
            <pc:docMk/>
            <pc:sldMasterMk cId="3588427678" sldId="2147484229"/>
            <pc:sldLayoutMk cId="4179946700" sldId="2147484245"/>
          </pc:sldLayoutMkLst>
          <pc:picChg chg="del">
            <ac:chgData name="Lace Lofranco" userId="1515141e-a2ed-4ab4-a66f-6db2dda82fd4" providerId="ADAL" clId="{C7CF28B1-BD21-4B84-881F-EB9ECF147DEB}" dt="2018-04-15T08:05:31.449" v="11" actId="478"/>
            <ac:picMkLst>
              <pc:docMk/>
              <pc:sldMasterMk cId="3588427678" sldId="2147484229"/>
              <pc:sldLayoutMk cId="4179946700" sldId="2147484245"/>
              <ac:picMk id="12" creationId="{D848C54F-CC68-43A0-A617-08B7D426CC2C}"/>
            </ac:picMkLst>
          </pc:picChg>
        </pc:sldLayoutChg>
        <pc:sldLayoutChg chg="delSp">
          <pc:chgData name="Lace Lofranco" userId="1515141e-a2ed-4ab4-a66f-6db2dda82fd4" providerId="ADAL" clId="{C7CF28B1-BD21-4B84-881F-EB9ECF147DEB}" dt="2018-04-15T08:05:33.409" v="12" actId="478"/>
          <pc:sldLayoutMkLst>
            <pc:docMk/>
            <pc:sldMasterMk cId="3588427678" sldId="2147484229"/>
            <pc:sldLayoutMk cId="2189335521" sldId="2147484247"/>
          </pc:sldLayoutMkLst>
          <pc:picChg chg="del">
            <ac:chgData name="Lace Lofranco" userId="1515141e-a2ed-4ab4-a66f-6db2dda82fd4" providerId="ADAL" clId="{C7CF28B1-BD21-4B84-881F-EB9ECF147DEB}" dt="2018-04-15T08:05:33.409" v="12" actId="478"/>
            <ac:picMkLst>
              <pc:docMk/>
              <pc:sldMasterMk cId="3588427678" sldId="2147484229"/>
              <pc:sldLayoutMk cId="2189335521" sldId="2147484247"/>
              <ac:picMk id="10" creationId="{1D6DA01A-5344-45B4-8F04-1305393296F4}"/>
            </ac:picMkLst>
          </pc:picChg>
        </pc:sldLayoutChg>
        <pc:sldLayoutChg chg="addSp delSp">
          <pc:chgData name="Lace Lofranco" userId="1515141e-a2ed-4ab4-a66f-6db2dda82fd4" providerId="ADAL" clId="{C7CF28B1-BD21-4B84-881F-EB9ECF147DEB}" dt="2018-04-15T08:05:43.093" v="15" actId="478"/>
          <pc:sldLayoutMkLst>
            <pc:docMk/>
            <pc:sldMasterMk cId="3588427678" sldId="2147484229"/>
            <pc:sldLayoutMk cId="3897602530" sldId="2147484249"/>
          </pc:sldLayoutMkLst>
          <pc:picChg chg="del">
            <ac:chgData name="Lace Lofranco" userId="1515141e-a2ed-4ab4-a66f-6db2dda82fd4" providerId="ADAL" clId="{C7CF28B1-BD21-4B84-881F-EB9ECF147DEB}" dt="2018-04-15T08:05:36.043" v="13" actId="478"/>
            <ac:picMkLst>
              <pc:docMk/>
              <pc:sldMasterMk cId="3588427678" sldId="2147484229"/>
              <pc:sldLayoutMk cId="3897602530" sldId="2147484249"/>
              <ac:picMk id="4" creationId="{46A59710-9E27-43A0-9F65-B18EAD7D64F2}"/>
            </ac:picMkLst>
          </pc:picChg>
          <pc:picChg chg="add del">
            <ac:chgData name="Lace Lofranco" userId="1515141e-a2ed-4ab4-a66f-6db2dda82fd4" providerId="ADAL" clId="{C7CF28B1-BD21-4B84-881F-EB9ECF147DEB}" dt="2018-04-15T08:05:43.093" v="15" actId="478"/>
            <ac:picMkLst>
              <pc:docMk/>
              <pc:sldMasterMk cId="3588427678" sldId="2147484229"/>
              <pc:sldLayoutMk cId="3897602530" sldId="2147484249"/>
              <ac:picMk id="6" creationId="{03273588-1A32-4878-AAD6-99017228FC19}"/>
            </ac:picMkLst>
          </pc:picChg>
        </pc:sldLayoutChg>
        <pc:sldLayoutChg chg="delSp">
          <pc:chgData name="Lace Lofranco" userId="1515141e-a2ed-4ab4-a66f-6db2dda82fd4" providerId="ADAL" clId="{C7CF28B1-BD21-4B84-881F-EB9ECF147DEB}" dt="2018-04-15T08:05:45.885" v="16" actId="478"/>
          <pc:sldLayoutMkLst>
            <pc:docMk/>
            <pc:sldMasterMk cId="3588427678" sldId="2147484229"/>
            <pc:sldLayoutMk cId="2025825992" sldId="2147484250"/>
          </pc:sldLayoutMkLst>
          <pc:picChg chg="del">
            <ac:chgData name="Lace Lofranco" userId="1515141e-a2ed-4ab4-a66f-6db2dda82fd4" providerId="ADAL" clId="{C7CF28B1-BD21-4B84-881F-EB9ECF147DEB}" dt="2018-04-15T08:05:45.885" v="16" actId="478"/>
            <ac:picMkLst>
              <pc:docMk/>
              <pc:sldMasterMk cId="3588427678" sldId="2147484229"/>
              <pc:sldLayoutMk cId="2025825992" sldId="2147484250"/>
              <ac:picMk id="3" creationId="{44F5E5C0-E028-4229-90F2-A53091700258}"/>
            </ac:picMkLst>
          </pc:picChg>
        </pc:sldLayoutChg>
        <pc:sldLayoutChg chg="delSp">
          <pc:chgData name="Lace Lofranco" userId="1515141e-a2ed-4ab4-a66f-6db2dda82fd4" providerId="ADAL" clId="{C7CF28B1-BD21-4B84-881F-EB9ECF147DEB}" dt="2018-04-15T08:05:50.867" v="18" actId="478"/>
          <pc:sldLayoutMkLst>
            <pc:docMk/>
            <pc:sldMasterMk cId="3588427678" sldId="2147484229"/>
            <pc:sldLayoutMk cId="168934554" sldId="2147484251"/>
          </pc:sldLayoutMkLst>
          <pc:picChg chg="del">
            <ac:chgData name="Lace Lofranco" userId="1515141e-a2ed-4ab4-a66f-6db2dda82fd4" providerId="ADAL" clId="{C7CF28B1-BD21-4B84-881F-EB9ECF147DEB}" dt="2018-04-15T08:05:50.867" v="18" actId="478"/>
            <ac:picMkLst>
              <pc:docMk/>
              <pc:sldMasterMk cId="3588427678" sldId="2147484229"/>
              <pc:sldLayoutMk cId="168934554" sldId="2147484251"/>
              <ac:picMk id="3" creationId="{8A3CEF54-EDD8-4527-B1E2-230FB03FF0BE}"/>
            </ac:picMkLst>
          </pc:picChg>
        </pc:sldLayoutChg>
        <pc:sldLayoutChg chg="delSp">
          <pc:chgData name="Lace Lofranco" userId="1515141e-a2ed-4ab4-a66f-6db2dda82fd4" providerId="ADAL" clId="{C7CF28B1-BD21-4B84-881F-EB9ECF147DEB}" dt="2018-04-15T08:05:52.717" v="19" actId="478"/>
          <pc:sldLayoutMkLst>
            <pc:docMk/>
            <pc:sldMasterMk cId="3588427678" sldId="2147484229"/>
            <pc:sldLayoutMk cId="3311556723" sldId="2147484256"/>
          </pc:sldLayoutMkLst>
          <pc:picChg chg="del">
            <ac:chgData name="Lace Lofranco" userId="1515141e-a2ed-4ab4-a66f-6db2dda82fd4" providerId="ADAL" clId="{C7CF28B1-BD21-4B84-881F-EB9ECF147DEB}" dt="2018-04-15T08:05:52.717" v="19" actId="478"/>
            <ac:picMkLst>
              <pc:docMk/>
              <pc:sldMasterMk cId="3588427678" sldId="2147484229"/>
              <pc:sldLayoutMk cId="3311556723" sldId="2147484256"/>
              <ac:picMk id="9" creationId="{52DA34AF-6D69-4377-826A-534F3411BF2E}"/>
            </ac:picMkLst>
          </pc:picChg>
        </pc:sldLayoutChg>
        <pc:sldLayoutChg chg="addSp delSp modSp">
          <pc:chgData name="Lace Lofranco" userId="1515141e-a2ed-4ab4-a66f-6db2dda82fd4" providerId="ADAL" clId="{C7CF28B1-BD21-4B84-881F-EB9ECF147DEB}" dt="2018-04-15T08:06:33.550" v="117" actId="478"/>
          <pc:sldLayoutMkLst>
            <pc:docMk/>
            <pc:sldMasterMk cId="3588427678" sldId="2147484229"/>
            <pc:sldLayoutMk cId="2425675349" sldId="2147484257"/>
          </pc:sldLayoutMkLst>
          <pc:picChg chg="del">
            <ac:chgData name="Lace Lofranco" userId="1515141e-a2ed-4ab4-a66f-6db2dda82fd4" providerId="ADAL" clId="{C7CF28B1-BD21-4B84-881F-EB9ECF147DEB}" dt="2018-04-15T08:05:56.601" v="20" actId="478"/>
            <ac:picMkLst>
              <pc:docMk/>
              <pc:sldMasterMk cId="3588427678" sldId="2147484229"/>
              <pc:sldLayoutMk cId="2425675349" sldId="2147484257"/>
              <ac:picMk id="2" creationId="{C3CFA8C6-5B87-4078-A991-0B432E7AC990}"/>
            </ac:picMkLst>
          </pc:picChg>
          <pc:picChg chg="add del">
            <ac:chgData name="Lace Lofranco" userId="1515141e-a2ed-4ab4-a66f-6db2dda82fd4" providerId="ADAL" clId="{C7CF28B1-BD21-4B84-881F-EB9ECF147DEB}" dt="2018-04-15T08:05:59.473" v="22" actId="478"/>
            <ac:picMkLst>
              <pc:docMk/>
              <pc:sldMasterMk cId="3588427678" sldId="2147484229"/>
              <pc:sldLayoutMk cId="2425675349" sldId="2147484257"/>
              <ac:picMk id="3" creationId="{549EAB73-5A93-4156-A339-BA94FA5D2CE2}"/>
            </ac:picMkLst>
          </pc:picChg>
          <pc:picChg chg="add del mod">
            <ac:chgData name="Lace Lofranco" userId="1515141e-a2ed-4ab4-a66f-6db2dda82fd4" providerId="ADAL" clId="{C7CF28B1-BD21-4B84-881F-EB9ECF147DEB}" dt="2018-04-15T08:06:33.550" v="117" actId="478"/>
            <ac:picMkLst>
              <pc:docMk/>
              <pc:sldMasterMk cId="3588427678" sldId="2147484229"/>
              <pc:sldLayoutMk cId="2425675349" sldId="2147484257"/>
              <ac:picMk id="4" creationId="{8994DFAB-A7A9-4A0D-BE74-D271766D4AD8}"/>
            </ac:picMkLst>
          </pc:picChg>
        </pc:sldLayoutChg>
        <pc:sldLayoutChg chg="delSp">
          <pc:chgData name="Lace Lofranco" userId="1515141e-a2ed-4ab4-a66f-6db2dda82fd4" providerId="ADAL" clId="{C7CF28B1-BD21-4B84-881F-EB9ECF147DEB}" dt="2018-04-15T08:06:36.842" v="118" actId="478"/>
          <pc:sldLayoutMkLst>
            <pc:docMk/>
            <pc:sldMasterMk cId="3588427678" sldId="2147484229"/>
            <pc:sldLayoutMk cId="1129962453" sldId="2147484260"/>
          </pc:sldLayoutMkLst>
          <pc:picChg chg="del">
            <ac:chgData name="Lace Lofranco" userId="1515141e-a2ed-4ab4-a66f-6db2dda82fd4" providerId="ADAL" clId="{C7CF28B1-BD21-4B84-881F-EB9ECF147DEB}" dt="2018-04-15T08:06:36.842" v="118" actId="478"/>
            <ac:picMkLst>
              <pc:docMk/>
              <pc:sldMasterMk cId="3588427678" sldId="2147484229"/>
              <pc:sldLayoutMk cId="1129962453" sldId="2147484260"/>
              <ac:picMk id="12" creationId="{4959F10C-E894-4F42-902D-E9A84FE93279}"/>
            </ac:picMkLst>
          </pc:picChg>
        </pc:sldLayoutChg>
        <pc:sldLayoutChg chg="delSp">
          <pc:chgData name="Lace Lofranco" userId="1515141e-a2ed-4ab4-a66f-6db2dda82fd4" providerId="ADAL" clId="{C7CF28B1-BD21-4B84-881F-EB9ECF147DEB}" dt="2018-04-15T08:05:48.771" v="17" actId="478"/>
          <pc:sldLayoutMkLst>
            <pc:docMk/>
            <pc:sldMasterMk cId="3588427678" sldId="2147484229"/>
            <pc:sldLayoutMk cId="2728849011" sldId="2147484264"/>
          </pc:sldLayoutMkLst>
          <pc:picChg chg="del">
            <ac:chgData name="Lace Lofranco" userId="1515141e-a2ed-4ab4-a66f-6db2dda82fd4" providerId="ADAL" clId="{C7CF28B1-BD21-4B84-881F-EB9ECF147DEB}" dt="2018-04-15T08:05:48.771" v="17" actId="478"/>
            <ac:picMkLst>
              <pc:docMk/>
              <pc:sldMasterMk cId="3588427678" sldId="2147484229"/>
              <pc:sldLayoutMk cId="2728849011" sldId="2147484264"/>
              <ac:picMk id="3" creationId="{BD483695-362E-467A-9FF2-998C06091C44}"/>
            </ac:picMkLst>
          </pc:picChg>
        </pc:sldLayoutChg>
        <pc:sldLayoutChg chg="delSp">
          <pc:chgData name="Lace Lofranco" userId="1515141e-a2ed-4ab4-a66f-6db2dda82fd4" providerId="ADAL" clId="{C7CF28B1-BD21-4B84-881F-EB9ECF147DEB}" dt="2018-04-15T08:06:38.368" v="119" actId="478"/>
          <pc:sldLayoutMkLst>
            <pc:docMk/>
            <pc:sldMasterMk cId="3588427678" sldId="2147484229"/>
            <pc:sldLayoutMk cId="925069136" sldId="2147484299"/>
          </pc:sldLayoutMkLst>
          <pc:picChg chg="del">
            <ac:chgData name="Lace Lofranco" userId="1515141e-a2ed-4ab4-a66f-6db2dda82fd4" providerId="ADAL" clId="{C7CF28B1-BD21-4B84-881F-EB9ECF147DEB}" dt="2018-04-15T08:06:38.368" v="119" actId="478"/>
            <ac:picMkLst>
              <pc:docMk/>
              <pc:sldMasterMk cId="3588427678" sldId="2147484229"/>
              <pc:sldLayoutMk cId="925069136" sldId="2147484299"/>
              <ac:picMk id="4" creationId="{A8BCF47C-4C29-4A6E-8D5C-8D99FDD7D312}"/>
            </ac:picMkLst>
          </pc:picChg>
        </pc:sldLayoutChg>
        <pc:sldLayoutChg chg="addSp delSp">
          <pc:chgData name="Lace Lofranco" userId="1515141e-a2ed-4ab4-a66f-6db2dda82fd4" providerId="ADAL" clId="{C7CF28B1-BD21-4B84-881F-EB9ECF147DEB}" dt="2018-04-15T08:05:14.952" v="7" actId="478"/>
          <pc:sldLayoutMkLst>
            <pc:docMk/>
            <pc:sldMasterMk cId="3588427678" sldId="2147484229"/>
            <pc:sldLayoutMk cId="3451850179" sldId="2147484467"/>
          </pc:sldLayoutMkLst>
          <pc:picChg chg="add">
            <ac:chgData name="Lace Lofranco" userId="1515141e-a2ed-4ab4-a66f-6db2dda82fd4" providerId="ADAL" clId="{C7CF28B1-BD21-4B84-881F-EB9ECF147DEB}" dt="2018-04-15T08:05:13.347" v="6" actId="478"/>
            <ac:picMkLst>
              <pc:docMk/>
              <pc:sldMasterMk cId="3588427678" sldId="2147484229"/>
              <pc:sldLayoutMk cId="3451850179" sldId="2147484467"/>
              <ac:picMk id="10" creationId="{D0F7CAAB-ED58-47A3-BF36-8469859F0DDA}"/>
            </ac:picMkLst>
          </pc:picChg>
          <pc:picChg chg="del">
            <ac:chgData name="Lace Lofranco" userId="1515141e-a2ed-4ab4-a66f-6db2dda82fd4" providerId="ADAL" clId="{C7CF28B1-BD21-4B84-881F-EB9ECF147DEB}" dt="2018-04-15T08:05:12.418" v="5" actId="478"/>
            <ac:picMkLst>
              <pc:docMk/>
              <pc:sldMasterMk cId="3588427678" sldId="2147484229"/>
              <pc:sldLayoutMk cId="3451850179" sldId="2147484467"/>
              <ac:picMk id="87" creationId="{3253FCEA-0964-4300-BC2B-D4950E668028}"/>
            </ac:picMkLst>
          </pc:picChg>
          <pc:picChg chg="del">
            <ac:chgData name="Lace Lofranco" userId="1515141e-a2ed-4ab4-a66f-6db2dda82fd4" providerId="ADAL" clId="{C7CF28B1-BD21-4B84-881F-EB9ECF147DEB}" dt="2018-04-15T08:05:14.952" v="7" actId="478"/>
            <ac:picMkLst>
              <pc:docMk/>
              <pc:sldMasterMk cId="3588427678" sldId="2147484229"/>
              <pc:sldLayoutMk cId="3451850179" sldId="2147484467"/>
              <ac:picMk id="92" creationId="{2FEE9C7A-9D30-483A-AEA9-1EF296CE4E73}"/>
            </ac:picMkLst>
          </pc:picChg>
        </pc:sldLayoutChg>
        <pc:sldLayoutChg chg="delSp">
          <pc:chgData name="Lace Lofranco" userId="1515141e-a2ed-4ab4-a66f-6db2dda82fd4" providerId="ADAL" clId="{C7CF28B1-BD21-4B84-881F-EB9ECF147DEB}" dt="2018-04-15T08:05:28.593" v="10" actId="478"/>
          <pc:sldLayoutMkLst>
            <pc:docMk/>
            <pc:sldMasterMk cId="3588427678" sldId="2147484229"/>
            <pc:sldLayoutMk cId="2192018982" sldId="2147484474"/>
          </pc:sldLayoutMkLst>
          <pc:picChg chg="del">
            <ac:chgData name="Lace Lofranco" userId="1515141e-a2ed-4ab4-a66f-6db2dda82fd4" providerId="ADAL" clId="{C7CF28B1-BD21-4B84-881F-EB9ECF147DEB}" dt="2018-04-15T08:05:28.593" v="10" actId="478"/>
            <ac:picMkLst>
              <pc:docMk/>
              <pc:sldMasterMk cId="3588427678" sldId="2147484229"/>
              <pc:sldLayoutMk cId="2192018982" sldId="2147484474"/>
              <ac:picMk id="12" creationId="{6663C464-AF68-4558-9894-7B1E63CD156C}"/>
            </ac:picMkLst>
          </pc:picChg>
        </pc:sldLayoutChg>
      </pc:sldMasterChg>
      <pc:sldMasterChg chg="modSldLayout">
        <pc:chgData name="Lace Lofranco" userId="1515141e-a2ed-4ab4-a66f-6db2dda82fd4" providerId="ADAL" clId="{C7CF28B1-BD21-4B84-881F-EB9ECF147DEB}" dt="2018-04-15T13:09:36.111" v="3059" actId="20577"/>
        <pc:sldMasterMkLst>
          <pc:docMk/>
          <pc:sldMasterMk cId="3225192044" sldId="2147484517"/>
        </pc:sldMasterMkLst>
        <pc:sldLayoutChg chg="delSp setBg">
          <pc:chgData name="Lace Lofranco" userId="1515141e-a2ed-4ab4-a66f-6db2dda82fd4" providerId="ADAL" clId="{C7CF28B1-BD21-4B84-881F-EB9ECF147DEB}" dt="2018-04-15T13:09:36.111" v="3059" actId="20577"/>
          <pc:sldLayoutMkLst>
            <pc:docMk/>
            <pc:sldMasterMk cId="3225192044" sldId="2147484517"/>
            <pc:sldLayoutMk cId="1916367656" sldId="2147484537"/>
          </pc:sldLayoutMkLst>
          <pc:spChg chg="del">
            <ac:chgData name="Lace Lofranco" userId="1515141e-a2ed-4ab4-a66f-6db2dda82fd4" providerId="ADAL" clId="{C7CF28B1-BD21-4B84-881F-EB9ECF147DEB}" dt="2018-04-15T13:08:43.406" v="3054" actId="478"/>
            <ac:spMkLst>
              <pc:docMk/>
              <pc:sldMasterMk cId="3225192044" sldId="2147484517"/>
              <pc:sldLayoutMk cId="1916367656" sldId="2147484537"/>
              <ac:spMk id="2" creationId="{00000000-0000-0000-0000-000000000000}"/>
            </ac:spMkLst>
          </pc:s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795" creationId="{FE4EC17A-6954-4BFF-B6A5-218A353571C6}"/>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796" creationId="{78F5DB95-0743-4194-AF8E-731BCEBC63A0}"/>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797" creationId="{ADCA3183-3389-4486-8913-D1AEFF5E6A10}"/>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798" creationId="{5F02200C-C22A-4A75-B14B-3B600A54815C}"/>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0" creationId="{9F10D460-6A74-4818-9F46-EAE7C1C9C177}"/>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1" creationId="{683F34A0-4824-4E5A-A9CC-124D714530BA}"/>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2" creationId="{6AE2B9B6-C947-40E8-9C29-194017E32D74}"/>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3" creationId="{C83934FF-0BB5-4BAF-B03C-B0B783135BB8}"/>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4" creationId="{2FFD6C10-FC4C-4F41-B7FF-62886559664D}"/>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5" creationId="{175F517F-E574-43AC-BCC9-20114D6375CB}"/>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6" creationId="{BE72D951-75A4-4DA9-8903-264B4C8AD6CE}"/>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7" creationId="{92FDE850-1B12-48F0-BED6-2DBAB9165F64}"/>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8" creationId="{F97B1388-E461-4A38-9B09-B364514CB632}"/>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09" creationId="{800BFD97-21DF-408D-9CD6-4059272BD1AA}"/>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0" creationId="{6B1C29B7-1E4C-42E9-BFF5-AFA071F0966B}"/>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3" creationId="{DC03940F-B74A-4BB0-A29E-05138DBEF958}"/>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4" creationId="{CCBAA3F1-F5D7-47E2-8204-499FF31AC1BA}"/>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5" creationId="{1D84FA7B-137F-435D-8123-CAB304758178}"/>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6" creationId="{2664D0B0-09D6-4FA8-82F9-5E73C364D9F6}"/>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7" creationId="{03FF1F65-9B53-4447-9561-8C77C76AC1E1}"/>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8" creationId="{467AD0AE-48AD-458F-9364-8892C9F2C72D}"/>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19" creationId="{430371C6-CFD6-408B-A6C1-DC1E1EE72F2C}"/>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20" creationId="{869BE5D7-E829-4961-B1B7-41D71CE1884E}"/>
            </ac:grpSpMkLst>
          </pc:grpChg>
          <pc:grpChg chg="del">
            <ac:chgData name="Lace Lofranco" userId="1515141e-a2ed-4ab4-a66f-6db2dda82fd4" providerId="ADAL" clId="{C7CF28B1-BD21-4B84-881F-EB9ECF147DEB}" dt="2018-04-15T13:08:43.406" v="3054" actId="478"/>
            <ac:grpSpMkLst>
              <pc:docMk/>
              <pc:sldMasterMk cId="3225192044" sldId="2147484517"/>
              <pc:sldLayoutMk cId="1916367656" sldId="2147484537"/>
              <ac:grpSpMk id="1821" creationId="{541099ED-BB8B-4885-9A17-74E3BE69FE69}"/>
            </ac:grpSpMkLst>
          </pc:grpChg>
        </pc:sldLayoutChg>
      </pc:sldMasterChg>
    </pc:docChg>
  </pc:docChgLst>
  <pc:docChgLst>
    <pc:chgData name="Lace Lofranco" userId="1515141e-a2ed-4ab4-a66f-6db2dda82fd4" providerId="ADAL" clId="{B52973EE-742A-4FA2-9CB3-0EC07C12EB94}"/>
    <pc:docChg chg="custSel addSld delSld modSld sldOrd modMainMaster modSection">
      <pc:chgData name="Lace Lofranco" userId="1515141e-a2ed-4ab4-a66f-6db2dda82fd4" providerId="ADAL" clId="{B52973EE-742A-4FA2-9CB3-0EC07C12EB94}" dt="2018-03-20T13:23:27.873" v="503" actId="2696"/>
      <pc:docMkLst>
        <pc:docMk/>
      </pc:docMkLst>
      <pc:sldChg chg="modSp">
        <pc:chgData name="Lace Lofranco" userId="1515141e-a2ed-4ab4-a66f-6db2dda82fd4" providerId="ADAL" clId="{B52973EE-742A-4FA2-9CB3-0EC07C12EB94}" dt="2018-03-20T11:31:33.348" v="11" actId="20577"/>
        <pc:sldMkLst>
          <pc:docMk/>
          <pc:sldMk cId="510808930" sldId="1576"/>
        </pc:sldMkLst>
        <pc:spChg chg="mod">
          <ac:chgData name="Lace Lofranco" userId="1515141e-a2ed-4ab4-a66f-6db2dda82fd4" providerId="ADAL" clId="{B52973EE-742A-4FA2-9CB3-0EC07C12EB94}" dt="2018-03-20T11:31:33.348" v="11" actId="20577"/>
          <ac:spMkLst>
            <pc:docMk/>
            <pc:sldMk cId="510808930" sldId="1576"/>
            <ac:spMk id="2" creationId="{BD88855E-8E5D-4E33-A6F6-30092BB1C540}"/>
          </ac:spMkLst>
        </pc:spChg>
      </pc:sldChg>
      <pc:sldChg chg="modSp add ord">
        <pc:chgData name="Lace Lofranco" userId="1515141e-a2ed-4ab4-a66f-6db2dda82fd4" providerId="ADAL" clId="{B52973EE-742A-4FA2-9CB3-0EC07C12EB94}" dt="2018-03-20T12:12:46.403" v="417" actId="2696"/>
        <pc:sldMkLst>
          <pc:docMk/>
          <pc:sldMk cId="3641265229" sldId="1603"/>
        </pc:sldMkLst>
        <pc:spChg chg="mod">
          <ac:chgData name="Lace Lofranco" userId="1515141e-a2ed-4ab4-a66f-6db2dda82fd4" providerId="ADAL" clId="{B52973EE-742A-4FA2-9CB3-0EC07C12EB94}" dt="2018-03-20T11:41:09.686" v="135" actId="20577"/>
          <ac:spMkLst>
            <pc:docMk/>
            <pc:sldMk cId="3641265229" sldId="1603"/>
            <ac:spMk id="2" creationId="{7771DC87-6FFB-4CEE-930B-1A2A04F650AE}"/>
          </ac:spMkLst>
        </pc:spChg>
        <pc:spChg chg="mod">
          <ac:chgData name="Lace Lofranco" userId="1515141e-a2ed-4ab4-a66f-6db2dda82fd4" providerId="ADAL" clId="{B52973EE-742A-4FA2-9CB3-0EC07C12EB94}" dt="2018-03-20T12:00:04.155" v="416" actId="20577"/>
          <ac:spMkLst>
            <pc:docMk/>
            <pc:sldMk cId="3641265229" sldId="1603"/>
            <ac:spMk id="3" creationId="{CC0EC82D-97BA-4440-AADA-DA6F813A32A3}"/>
          </ac:spMkLst>
        </pc:spChg>
      </pc:sldChg>
      <pc:sldMasterChg chg="modSldLayout">
        <pc:chgData name="Lace Lofranco" userId="1515141e-a2ed-4ab4-a66f-6db2dda82fd4" providerId="ADAL" clId="{B52973EE-742A-4FA2-9CB3-0EC07C12EB94}" dt="2018-03-20T11:34:32.351" v="71" actId="2696"/>
        <pc:sldMasterMkLst>
          <pc:docMk/>
          <pc:sldMasterMk cId="3588427678" sldId="2147484229"/>
        </pc:sldMasterMkLst>
        <pc:sldLayoutChg chg="addSp delSp">
          <pc:chgData name="Lace Lofranco" userId="1515141e-a2ed-4ab4-a66f-6db2dda82fd4" providerId="ADAL" clId="{B52973EE-742A-4FA2-9CB3-0EC07C12EB94}" dt="2018-03-20T11:33:45.482" v="52" actId="2696"/>
          <pc:sldLayoutMkLst>
            <pc:docMk/>
            <pc:sldMasterMk cId="3588427678" sldId="2147484229"/>
            <pc:sldLayoutMk cId="1531337368" sldId="2147484240"/>
          </pc:sldLayoutMkLst>
          <pc:spChg chg="del">
            <ac:chgData name="Lace Lofranco" userId="1515141e-a2ed-4ab4-a66f-6db2dda82fd4" providerId="ADAL" clId="{B52973EE-742A-4FA2-9CB3-0EC07C12EB94}" dt="2018-03-20T11:32:44.173" v="48" actId="478"/>
            <ac:spMkLst>
              <pc:docMk/>
              <pc:sldMasterMk cId="3588427678" sldId="2147484229"/>
              <pc:sldLayoutMk cId="1531337368" sldId="2147484240"/>
              <ac:spMk id="9" creationId="{C2304A69-E89C-4294-9C91-812F2E94BAF1}"/>
            </ac:spMkLst>
          </pc:spChg>
          <pc:spChg chg="del">
            <ac:chgData name="Lace Lofranco" userId="1515141e-a2ed-4ab4-a66f-6db2dda82fd4" providerId="ADAL" clId="{B52973EE-742A-4FA2-9CB3-0EC07C12EB94}" dt="2018-03-20T11:32:44.173" v="48" actId="478"/>
            <ac:spMkLst>
              <pc:docMk/>
              <pc:sldMasterMk cId="3588427678" sldId="2147484229"/>
              <pc:sldLayoutMk cId="1531337368" sldId="2147484240"/>
              <ac:spMk id="10" creationId="{86EDF313-3581-493F-8C0E-53FB4E4366D8}"/>
            </ac:spMkLst>
          </pc:spChg>
          <pc:spChg chg="del">
            <ac:chgData name="Lace Lofranco" userId="1515141e-a2ed-4ab4-a66f-6db2dda82fd4" providerId="ADAL" clId="{B52973EE-742A-4FA2-9CB3-0EC07C12EB94}" dt="2018-03-20T11:32:44.173" v="48" actId="478"/>
            <ac:spMkLst>
              <pc:docMk/>
              <pc:sldMasterMk cId="3588427678" sldId="2147484229"/>
              <pc:sldLayoutMk cId="1531337368" sldId="2147484240"/>
              <ac:spMk id="11" creationId="{7FEFEA55-5814-4763-A6C5-A4860793FC30}"/>
            </ac:spMkLst>
          </pc:spChg>
          <pc:spChg chg="del">
            <ac:chgData name="Lace Lofranco" userId="1515141e-a2ed-4ab4-a66f-6db2dda82fd4" providerId="ADAL" clId="{B52973EE-742A-4FA2-9CB3-0EC07C12EB94}" dt="2018-03-20T11:32:47.216" v="49" actId="478"/>
            <ac:spMkLst>
              <pc:docMk/>
              <pc:sldMasterMk cId="3588427678" sldId="2147484229"/>
              <pc:sldLayoutMk cId="1531337368" sldId="2147484240"/>
              <ac:spMk id="13" creationId="{FFAB1082-A38F-49DC-99F8-2DAE8FC42A1D}"/>
            </ac:spMkLst>
          </pc:spChg>
          <pc:spChg chg="del">
            <ac:chgData name="Lace Lofranco" userId="1515141e-a2ed-4ab4-a66f-6db2dda82fd4" providerId="ADAL" clId="{B52973EE-742A-4FA2-9CB3-0EC07C12EB94}" dt="2018-03-20T11:32:44.173" v="48" actId="478"/>
            <ac:spMkLst>
              <pc:docMk/>
              <pc:sldMasterMk cId="3588427678" sldId="2147484229"/>
              <pc:sldLayoutMk cId="1531337368" sldId="2147484240"/>
              <ac:spMk id="14" creationId="{8B0384BE-1DA0-4BEB-85DC-308145D11F3C}"/>
            </ac:spMkLst>
          </pc:spChg>
          <pc:spChg chg="del">
            <ac:chgData name="Lace Lofranco" userId="1515141e-a2ed-4ab4-a66f-6db2dda82fd4" providerId="ADAL" clId="{B52973EE-742A-4FA2-9CB3-0EC07C12EB94}" dt="2018-03-20T11:32:40.617" v="47" actId="478"/>
            <ac:spMkLst>
              <pc:docMk/>
              <pc:sldMasterMk cId="3588427678" sldId="2147484229"/>
              <pc:sldLayoutMk cId="1531337368" sldId="2147484240"/>
              <ac:spMk id="15" creationId="{788E5EE0-5651-43C0-BD1D-226DFC7737E4}"/>
            </ac:spMkLst>
          </pc:spChg>
          <pc:picChg chg="del">
            <ac:chgData name="Lace Lofranco" userId="1515141e-a2ed-4ab4-a66f-6db2dda82fd4" providerId="ADAL" clId="{B52973EE-742A-4FA2-9CB3-0EC07C12EB94}" dt="2018-03-20T11:32:48.569" v="51" actId="478"/>
            <ac:picMkLst>
              <pc:docMk/>
              <pc:sldMasterMk cId="3588427678" sldId="2147484229"/>
              <pc:sldLayoutMk cId="1531337368" sldId="2147484240"/>
              <ac:picMk id="7" creationId="{A8B7C2F5-90FD-49CC-812E-37131DB46B13}"/>
            </ac:picMkLst>
          </pc:picChg>
          <pc:picChg chg="del">
            <ac:chgData name="Lace Lofranco" userId="1515141e-a2ed-4ab4-a66f-6db2dda82fd4" providerId="ADAL" clId="{B52973EE-742A-4FA2-9CB3-0EC07C12EB94}" dt="2018-03-20T11:32:47.838" v="50" actId="478"/>
            <ac:picMkLst>
              <pc:docMk/>
              <pc:sldMasterMk cId="3588427678" sldId="2147484229"/>
              <pc:sldLayoutMk cId="1531337368" sldId="2147484240"/>
              <ac:picMk id="8" creationId="{E47C34CA-7D00-4A52-9038-457D1DD80AEA}"/>
            </ac:picMkLst>
          </pc:picChg>
          <pc:picChg chg="del">
            <ac:chgData name="Lace Lofranco" userId="1515141e-a2ed-4ab4-a66f-6db2dda82fd4" providerId="ADAL" clId="{B52973EE-742A-4FA2-9CB3-0EC07C12EB94}" dt="2018-03-20T11:32:40.617" v="47" actId="478"/>
            <ac:picMkLst>
              <pc:docMk/>
              <pc:sldMasterMk cId="3588427678" sldId="2147484229"/>
              <pc:sldLayoutMk cId="1531337368" sldId="2147484240"/>
              <ac:picMk id="12" creationId="{7E49FCB5-326A-4C72-A823-DD25DA6CDE98}"/>
            </ac:picMkLst>
          </pc:picChg>
          <pc:picChg chg="del">
            <ac:chgData name="Lace Lofranco" userId="1515141e-a2ed-4ab4-a66f-6db2dda82fd4" providerId="ADAL" clId="{B52973EE-742A-4FA2-9CB3-0EC07C12EB94}" dt="2018-03-20T11:32:44.173" v="48" actId="478"/>
            <ac:picMkLst>
              <pc:docMk/>
              <pc:sldMasterMk cId="3588427678" sldId="2147484229"/>
              <pc:sldLayoutMk cId="1531337368" sldId="2147484240"/>
              <ac:picMk id="16" creationId="{363D41E1-53A5-4E8F-B598-1E825FC9D3CD}"/>
            </ac:picMkLst>
          </pc:picChg>
          <pc:picChg chg="add">
            <ac:chgData name="Lace Lofranco" userId="1515141e-a2ed-4ab4-a66f-6db2dda82fd4" providerId="ADAL" clId="{B52973EE-742A-4FA2-9CB3-0EC07C12EB94}" dt="2018-03-20T11:33:45.482" v="52" actId="2696"/>
            <ac:picMkLst>
              <pc:docMk/>
              <pc:sldMasterMk cId="3588427678" sldId="2147484229"/>
              <pc:sldLayoutMk cId="1531337368" sldId="2147484240"/>
              <ac:picMk id="17" creationId="{16530149-C2F4-40F9-9871-8AD771375ED9}"/>
            </ac:picMkLst>
          </pc:picChg>
        </pc:sldLayoutChg>
        <pc:sldLayoutChg chg="addSp delSp">
          <pc:chgData name="Lace Lofranco" userId="1515141e-a2ed-4ab4-a66f-6db2dda82fd4" providerId="ADAL" clId="{B52973EE-742A-4FA2-9CB3-0EC07C12EB94}" dt="2018-03-20T11:33:53.473" v="55" actId="2696"/>
          <pc:sldLayoutMkLst>
            <pc:docMk/>
            <pc:sldMasterMk cId="3588427678" sldId="2147484229"/>
            <pc:sldLayoutMk cId="1703268474" sldId="2147484241"/>
          </pc:sldLayoutMkLst>
          <pc:spChg chg="del">
            <ac:chgData name="Lace Lofranco" userId="1515141e-a2ed-4ab4-a66f-6db2dda82fd4" providerId="ADAL" clId="{B52973EE-742A-4FA2-9CB3-0EC07C12EB94}" dt="2018-03-20T11:33:52.218" v="54" actId="478"/>
            <ac:spMkLst>
              <pc:docMk/>
              <pc:sldMasterMk cId="3588427678" sldId="2147484229"/>
              <pc:sldLayoutMk cId="1703268474" sldId="2147484241"/>
              <ac:spMk id="21" creationId="{2B3E7F9F-7E8C-417C-B4E6-4A6426D480CD}"/>
            </ac:spMkLst>
          </pc:spChg>
          <pc:spChg chg="del">
            <ac:chgData name="Lace Lofranco" userId="1515141e-a2ed-4ab4-a66f-6db2dda82fd4" providerId="ADAL" clId="{B52973EE-742A-4FA2-9CB3-0EC07C12EB94}" dt="2018-03-20T11:33:52.218" v="54" actId="478"/>
            <ac:spMkLst>
              <pc:docMk/>
              <pc:sldMasterMk cId="3588427678" sldId="2147484229"/>
              <pc:sldLayoutMk cId="1703268474" sldId="2147484241"/>
              <ac:spMk id="22" creationId="{A0A0C687-215C-496A-91D8-02F8BF3586D3}"/>
            </ac:spMkLst>
          </pc:spChg>
          <pc:spChg chg="del">
            <ac:chgData name="Lace Lofranco" userId="1515141e-a2ed-4ab4-a66f-6db2dda82fd4" providerId="ADAL" clId="{B52973EE-742A-4FA2-9CB3-0EC07C12EB94}" dt="2018-03-20T11:33:52.218" v="54" actId="478"/>
            <ac:spMkLst>
              <pc:docMk/>
              <pc:sldMasterMk cId="3588427678" sldId="2147484229"/>
              <pc:sldLayoutMk cId="1703268474" sldId="2147484241"/>
              <ac:spMk id="23" creationId="{F5E468E7-2580-4001-ACA5-7DC3E0A39ED5}"/>
            </ac:spMkLst>
          </pc:spChg>
          <pc:picChg chg="add">
            <ac:chgData name="Lace Lofranco" userId="1515141e-a2ed-4ab4-a66f-6db2dda82fd4" providerId="ADAL" clId="{B52973EE-742A-4FA2-9CB3-0EC07C12EB94}" dt="2018-03-20T11:33:53.473" v="55" actId="2696"/>
            <ac:picMkLst>
              <pc:docMk/>
              <pc:sldMasterMk cId="3588427678" sldId="2147484229"/>
              <pc:sldLayoutMk cId="1703268474" sldId="2147484241"/>
              <ac:picMk id="11" creationId="{F9142F9D-6403-4DD0-BFD8-AA7323BFD5DA}"/>
            </ac:picMkLst>
          </pc:picChg>
          <pc:picChg chg="del">
            <ac:chgData name="Lace Lofranco" userId="1515141e-a2ed-4ab4-a66f-6db2dda82fd4" providerId="ADAL" clId="{B52973EE-742A-4FA2-9CB3-0EC07C12EB94}" dt="2018-03-20T11:33:50.012" v="53" actId="478"/>
            <ac:picMkLst>
              <pc:docMk/>
              <pc:sldMasterMk cId="3588427678" sldId="2147484229"/>
              <pc:sldLayoutMk cId="1703268474" sldId="2147484241"/>
              <ac:picMk id="18" creationId="{E96E4C2D-DF6F-4605-883E-B1F914FC4F08}"/>
            </ac:picMkLst>
          </pc:picChg>
          <pc:picChg chg="del">
            <ac:chgData name="Lace Lofranco" userId="1515141e-a2ed-4ab4-a66f-6db2dda82fd4" providerId="ADAL" clId="{B52973EE-742A-4FA2-9CB3-0EC07C12EB94}" dt="2018-03-20T11:33:50.012" v="53" actId="478"/>
            <ac:picMkLst>
              <pc:docMk/>
              <pc:sldMasterMk cId="3588427678" sldId="2147484229"/>
              <pc:sldLayoutMk cId="1703268474" sldId="2147484241"/>
              <ac:picMk id="19" creationId="{90F8AC3F-CAE2-44FB-86C0-C7FA2A9B1FE6}"/>
            </ac:picMkLst>
          </pc:picChg>
          <pc:picChg chg="del">
            <ac:chgData name="Lace Lofranco" userId="1515141e-a2ed-4ab4-a66f-6db2dda82fd4" providerId="ADAL" clId="{B52973EE-742A-4FA2-9CB3-0EC07C12EB94}" dt="2018-03-20T11:33:52.218" v="54" actId="478"/>
            <ac:picMkLst>
              <pc:docMk/>
              <pc:sldMasterMk cId="3588427678" sldId="2147484229"/>
              <pc:sldLayoutMk cId="1703268474" sldId="2147484241"/>
              <ac:picMk id="20" creationId="{4041168E-ECF8-4594-AC4F-3418343CC8DA}"/>
            </ac:picMkLst>
          </pc:picChg>
          <pc:picChg chg="del">
            <ac:chgData name="Lace Lofranco" userId="1515141e-a2ed-4ab4-a66f-6db2dda82fd4" providerId="ADAL" clId="{B52973EE-742A-4FA2-9CB3-0EC07C12EB94}" dt="2018-03-20T11:33:52.218" v="54" actId="478"/>
            <ac:picMkLst>
              <pc:docMk/>
              <pc:sldMasterMk cId="3588427678" sldId="2147484229"/>
              <pc:sldLayoutMk cId="1703268474" sldId="2147484241"/>
              <ac:picMk id="24" creationId="{E7729313-AA66-41EE-8D31-2F07A6A053E2}"/>
            </ac:picMkLst>
          </pc:picChg>
        </pc:sldLayoutChg>
        <pc:sldLayoutChg chg="addSp delSp">
          <pc:chgData name="Lace Lofranco" userId="1515141e-a2ed-4ab4-a66f-6db2dda82fd4" providerId="ADAL" clId="{B52973EE-742A-4FA2-9CB3-0EC07C12EB94}" dt="2018-03-20T11:34:09.019" v="62" actId="2696"/>
          <pc:sldLayoutMkLst>
            <pc:docMk/>
            <pc:sldMasterMk cId="3588427678" sldId="2147484229"/>
            <pc:sldLayoutMk cId="4179946700" sldId="2147484245"/>
          </pc:sldLayoutMkLst>
          <pc:spChg chg="del">
            <ac:chgData name="Lace Lofranco" userId="1515141e-a2ed-4ab4-a66f-6db2dda82fd4" providerId="ADAL" clId="{B52973EE-742A-4FA2-9CB3-0EC07C12EB94}" dt="2018-03-20T11:34:08.239" v="61" actId="478"/>
            <ac:spMkLst>
              <pc:docMk/>
              <pc:sldMasterMk cId="3588427678" sldId="2147484229"/>
              <pc:sldLayoutMk cId="4179946700" sldId="2147484245"/>
              <ac:spMk id="22" creationId="{0B9C4992-038E-4798-A6AC-3FF7382B5004}"/>
            </ac:spMkLst>
          </pc:spChg>
          <pc:spChg chg="del">
            <ac:chgData name="Lace Lofranco" userId="1515141e-a2ed-4ab4-a66f-6db2dda82fd4" providerId="ADAL" clId="{B52973EE-742A-4FA2-9CB3-0EC07C12EB94}" dt="2018-03-20T11:34:08.239" v="61" actId="478"/>
            <ac:spMkLst>
              <pc:docMk/>
              <pc:sldMasterMk cId="3588427678" sldId="2147484229"/>
              <pc:sldLayoutMk cId="4179946700" sldId="2147484245"/>
              <ac:spMk id="23" creationId="{6D8C1C18-1BD7-4C93-AB1B-B4A1E5D53352}"/>
            </ac:spMkLst>
          </pc:spChg>
          <pc:spChg chg="del">
            <ac:chgData name="Lace Lofranco" userId="1515141e-a2ed-4ab4-a66f-6db2dda82fd4" providerId="ADAL" clId="{B52973EE-742A-4FA2-9CB3-0EC07C12EB94}" dt="2018-03-20T11:34:08.239" v="61" actId="478"/>
            <ac:spMkLst>
              <pc:docMk/>
              <pc:sldMasterMk cId="3588427678" sldId="2147484229"/>
              <pc:sldLayoutMk cId="4179946700" sldId="2147484245"/>
              <ac:spMk id="24" creationId="{04AC9BCF-77F6-48E6-A5D8-5B4B8C7B074A}"/>
            </ac:spMkLst>
          </pc:spChg>
          <pc:picChg chg="add">
            <ac:chgData name="Lace Lofranco" userId="1515141e-a2ed-4ab4-a66f-6db2dda82fd4" providerId="ADAL" clId="{B52973EE-742A-4FA2-9CB3-0EC07C12EB94}" dt="2018-03-20T11:34:09.019" v="62" actId="2696"/>
            <ac:picMkLst>
              <pc:docMk/>
              <pc:sldMasterMk cId="3588427678" sldId="2147484229"/>
              <pc:sldLayoutMk cId="4179946700" sldId="2147484245"/>
              <ac:picMk id="12" creationId="{D848C54F-CC68-43A0-A617-08B7D426CC2C}"/>
            </ac:picMkLst>
          </pc:picChg>
          <pc:picChg chg="del">
            <ac:chgData name="Lace Lofranco" userId="1515141e-a2ed-4ab4-a66f-6db2dda82fd4" providerId="ADAL" clId="{B52973EE-742A-4FA2-9CB3-0EC07C12EB94}" dt="2018-03-20T11:34:06.102" v="60" actId="478"/>
            <ac:picMkLst>
              <pc:docMk/>
              <pc:sldMasterMk cId="3588427678" sldId="2147484229"/>
              <pc:sldLayoutMk cId="4179946700" sldId="2147484245"/>
              <ac:picMk id="19" creationId="{05A46374-8085-4B7D-9454-01D4861931A9}"/>
            </ac:picMkLst>
          </pc:picChg>
          <pc:picChg chg="del">
            <ac:chgData name="Lace Lofranco" userId="1515141e-a2ed-4ab4-a66f-6db2dda82fd4" providerId="ADAL" clId="{B52973EE-742A-4FA2-9CB3-0EC07C12EB94}" dt="2018-03-20T11:34:06.102" v="60" actId="478"/>
            <ac:picMkLst>
              <pc:docMk/>
              <pc:sldMasterMk cId="3588427678" sldId="2147484229"/>
              <pc:sldLayoutMk cId="4179946700" sldId="2147484245"/>
              <ac:picMk id="20" creationId="{FDAF1AAC-C5AA-4291-AB61-54F6B7D10F7A}"/>
            </ac:picMkLst>
          </pc:picChg>
          <pc:picChg chg="del">
            <ac:chgData name="Lace Lofranco" userId="1515141e-a2ed-4ab4-a66f-6db2dda82fd4" providerId="ADAL" clId="{B52973EE-742A-4FA2-9CB3-0EC07C12EB94}" dt="2018-03-20T11:34:08.239" v="61" actId="478"/>
            <ac:picMkLst>
              <pc:docMk/>
              <pc:sldMasterMk cId="3588427678" sldId="2147484229"/>
              <pc:sldLayoutMk cId="4179946700" sldId="2147484245"/>
              <ac:picMk id="21" creationId="{E8F2991D-86AD-4900-8423-D86FCBC387DD}"/>
            </ac:picMkLst>
          </pc:picChg>
          <pc:picChg chg="del">
            <ac:chgData name="Lace Lofranco" userId="1515141e-a2ed-4ab4-a66f-6db2dda82fd4" providerId="ADAL" clId="{B52973EE-742A-4FA2-9CB3-0EC07C12EB94}" dt="2018-03-20T11:34:08.239" v="61" actId="478"/>
            <ac:picMkLst>
              <pc:docMk/>
              <pc:sldMasterMk cId="3588427678" sldId="2147484229"/>
              <pc:sldLayoutMk cId="4179946700" sldId="2147484245"/>
              <ac:picMk id="25" creationId="{FF0F9F22-05B7-43D1-A622-CE405B9C7BC0}"/>
            </ac:picMkLst>
          </pc:picChg>
        </pc:sldLayoutChg>
        <pc:sldLayoutChg chg="addSp delSp">
          <pc:chgData name="Lace Lofranco" userId="1515141e-a2ed-4ab4-a66f-6db2dda82fd4" providerId="ADAL" clId="{B52973EE-742A-4FA2-9CB3-0EC07C12EB94}" dt="2018-03-20T11:34:15.925" v="65" actId="2696"/>
          <pc:sldLayoutMkLst>
            <pc:docMk/>
            <pc:sldMasterMk cId="3588427678" sldId="2147484229"/>
            <pc:sldLayoutMk cId="2189335521" sldId="2147484247"/>
          </pc:sldLayoutMkLst>
          <pc:spChg chg="del">
            <ac:chgData name="Lace Lofranco" userId="1515141e-a2ed-4ab4-a66f-6db2dda82fd4" providerId="ADAL" clId="{B52973EE-742A-4FA2-9CB3-0EC07C12EB94}" dt="2018-03-20T11:34:14.937" v="64" actId="478"/>
            <ac:spMkLst>
              <pc:docMk/>
              <pc:sldMasterMk cId="3588427678" sldId="2147484229"/>
              <pc:sldLayoutMk cId="2189335521" sldId="2147484247"/>
              <ac:spMk id="19" creationId="{8A472C41-164F-407D-9ECB-E39E13E304DE}"/>
            </ac:spMkLst>
          </pc:spChg>
          <pc:spChg chg="del">
            <ac:chgData name="Lace Lofranco" userId="1515141e-a2ed-4ab4-a66f-6db2dda82fd4" providerId="ADAL" clId="{B52973EE-742A-4FA2-9CB3-0EC07C12EB94}" dt="2018-03-20T11:34:14.937" v="64" actId="478"/>
            <ac:spMkLst>
              <pc:docMk/>
              <pc:sldMasterMk cId="3588427678" sldId="2147484229"/>
              <pc:sldLayoutMk cId="2189335521" sldId="2147484247"/>
              <ac:spMk id="20" creationId="{BB107126-7D85-4B1E-BE61-FF39243F97F9}"/>
            </ac:spMkLst>
          </pc:spChg>
          <pc:spChg chg="del">
            <ac:chgData name="Lace Lofranco" userId="1515141e-a2ed-4ab4-a66f-6db2dda82fd4" providerId="ADAL" clId="{B52973EE-742A-4FA2-9CB3-0EC07C12EB94}" dt="2018-03-20T11:34:14.937" v="64" actId="478"/>
            <ac:spMkLst>
              <pc:docMk/>
              <pc:sldMasterMk cId="3588427678" sldId="2147484229"/>
              <pc:sldLayoutMk cId="2189335521" sldId="2147484247"/>
              <ac:spMk id="21" creationId="{DF7AEB19-57C7-40BC-9686-8D97B9EFDB1E}"/>
            </ac:spMkLst>
          </pc:spChg>
          <pc:picChg chg="add">
            <ac:chgData name="Lace Lofranco" userId="1515141e-a2ed-4ab4-a66f-6db2dda82fd4" providerId="ADAL" clId="{B52973EE-742A-4FA2-9CB3-0EC07C12EB94}" dt="2018-03-20T11:34:15.925" v="65" actId="2696"/>
            <ac:picMkLst>
              <pc:docMk/>
              <pc:sldMasterMk cId="3588427678" sldId="2147484229"/>
              <pc:sldLayoutMk cId="2189335521" sldId="2147484247"/>
              <ac:picMk id="10" creationId="{1D6DA01A-5344-45B4-8F04-1305393296F4}"/>
            </ac:picMkLst>
          </pc:picChg>
          <pc:picChg chg="del">
            <ac:chgData name="Lace Lofranco" userId="1515141e-a2ed-4ab4-a66f-6db2dda82fd4" providerId="ADAL" clId="{B52973EE-742A-4FA2-9CB3-0EC07C12EB94}" dt="2018-03-20T11:34:13.257" v="63" actId="478"/>
            <ac:picMkLst>
              <pc:docMk/>
              <pc:sldMasterMk cId="3588427678" sldId="2147484229"/>
              <pc:sldLayoutMk cId="2189335521" sldId="2147484247"/>
              <ac:picMk id="16" creationId="{8BC78044-4D19-4962-99EC-6C1D79BF0AD7}"/>
            </ac:picMkLst>
          </pc:picChg>
          <pc:picChg chg="del">
            <ac:chgData name="Lace Lofranco" userId="1515141e-a2ed-4ab4-a66f-6db2dda82fd4" providerId="ADAL" clId="{B52973EE-742A-4FA2-9CB3-0EC07C12EB94}" dt="2018-03-20T11:34:13.257" v="63" actId="478"/>
            <ac:picMkLst>
              <pc:docMk/>
              <pc:sldMasterMk cId="3588427678" sldId="2147484229"/>
              <pc:sldLayoutMk cId="2189335521" sldId="2147484247"/>
              <ac:picMk id="17" creationId="{A8F79FC7-B035-4047-973F-1E2AB3C9E4F4}"/>
            </ac:picMkLst>
          </pc:picChg>
          <pc:picChg chg="del">
            <ac:chgData name="Lace Lofranco" userId="1515141e-a2ed-4ab4-a66f-6db2dda82fd4" providerId="ADAL" clId="{B52973EE-742A-4FA2-9CB3-0EC07C12EB94}" dt="2018-03-20T11:34:14.937" v="64" actId="478"/>
            <ac:picMkLst>
              <pc:docMk/>
              <pc:sldMasterMk cId="3588427678" sldId="2147484229"/>
              <pc:sldLayoutMk cId="2189335521" sldId="2147484247"/>
              <ac:picMk id="18" creationId="{1B322A99-4AC6-4FF6-B504-0D2C67A95303}"/>
            </ac:picMkLst>
          </pc:picChg>
          <pc:picChg chg="del">
            <ac:chgData name="Lace Lofranco" userId="1515141e-a2ed-4ab4-a66f-6db2dda82fd4" providerId="ADAL" clId="{B52973EE-742A-4FA2-9CB3-0EC07C12EB94}" dt="2018-03-20T11:34:14.937" v="64" actId="478"/>
            <ac:picMkLst>
              <pc:docMk/>
              <pc:sldMasterMk cId="3588427678" sldId="2147484229"/>
              <pc:sldLayoutMk cId="2189335521" sldId="2147484247"/>
              <ac:picMk id="22" creationId="{408B5F91-66C2-4148-BCBF-41DEB9799297}"/>
            </ac:picMkLst>
          </pc:picChg>
        </pc:sldLayoutChg>
        <pc:sldLayoutChg chg="addSp delSp">
          <pc:chgData name="Lace Lofranco" userId="1515141e-a2ed-4ab4-a66f-6db2dda82fd4" providerId="ADAL" clId="{B52973EE-742A-4FA2-9CB3-0EC07C12EB94}" dt="2018-03-20T11:34:25.528" v="68" actId="2696"/>
          <pc:sldLayoutMkLst>
            <pc:docMk/>
            <pc:sldMasterMk cId="3588427678" sldId="2147484229"/>
            <pc:sldLayoutMk cId="3311556723" sldId="2147484256"/>
          </pc:sldLayoutMkLst>
          <pc:spChg chg="del">
            <ac:chgData name="Lace Lofranco" userId="1515141e-a2ed-4ab4-a66f-6db2dda82fd4" providerId="ADAL" clId="{B52973EE-742A-4FA2-9CB3-0EC07C12EB94}" dt="2018-03-20T11:34:24.551" v="67" actId="478"/>
            <ac:spMkLst>
              <pc:docMk/>
              <pc:sldMasterMk cId="3588427678" sldId="2147484229"/>
              <pc:sldLayoutMk cId="3311556723" sldId="2147484256"/>
              <ac:spMk id="19" creationId="{076AC6AA-4D3C-4A8B-B45F-71A1531CC04D}"/>
            </ac:spMkLst>
          </pc:spChg>
          <pc:spChg chg="del">
            <ac:chgData name="Lace Lofranco" userId="1515141e-a2ed-4ab4-a66f-6db2dda82fd4" providerId="ADAL" clId="{B52973EE-742A-4FA2-9CB3-0EC07C12EB94}" dt="2018-03-20T11:34:24.551" v="67" actId="478"/>
            <ac:spMkLst>
              <pc:docMk/>
              <pc:sldMasterMk cId="3588427678" sldId="2147484229"/>
              <pc:sldLayoutMk cId="3311556723" sldId="2147484256"/>
              <ac:spMk id="20" creationId="{E42D59BB-DA6D-4986-B20C-8EBA0921C1AE}"/>
            </ac:spMkLst>
          </pc:spChg>
          <pc:spChg chg="del">
            <ac:chgData name="Lace Lofranco" userId="1515141e-a2ed-4ab4-a66f-6db2dda82fd4" providerId="ADAL" clId="{B52973EE-742A-4FA2-9CB3-0EC07C12EB94}" dt="2018-03-20T11:34:24.551" v="67" actId="478"/>
            <ac:spMkLst>
              <pc:docMk/>
              <pc:sldMasterMk cId="3588427678" sldId="2147484229"/>
              <pc:sldLayoutMk cId="3311556723" sldId="2147484256"/>
              <ac:spMk id="21" creationId="{7092BD2D-5730-4A51-BF7C-220AF35E39B8}"/>
            </ac:spMkLst>
          </pc:spChg>
          <pc:picChg chg="add">
            <ac:chgData name="Lace Lofranco" userId="1515141e-a2ed-4ab4-a66f-6db2dda82fd4" providerId="ADAL" clId="{B52973EE-742A-4FA2-9CB3-0EC07C12EB94}" dt="2018-03-20T11:34:25.528" v="68" actId="2696"/>
            <ac:picMkLst>
              <pc:docMk/>
              <pc:sldMasterMk cId="3588427678" sldId="2147484229"/>
              <pc:sldLayoutMk cId="3311556723" sldId="2147484256"/>
              <ac:picMk id="9" creationId="{52DA34AF-6D69-4377-826A-534F3411BF2E}"/>
            </ac:picMkLst>
          </pc:picChg>
          <pc:picChg chg="del">
            <ac:chgData name="Lace Lofranco" userId="1515141e-a2ed-4ab4-a66f-6db2dda82fd4" providerId="ADAL" clId="{B52973EE-742A-4FA2-9CB3-0EC07C12EB94}" dt="2018-03-20T11:34:22.748" v="66" actId="478"/>
            <ac:picMkLst>
              <pc:docMk/>
              <pc:sldMasterMk cId="3588427678" sldId="2147484229"/>
              <pc:sldLayoutMk cId="3311556723" sldId="2147484256"/>
              <ac:picMk id="16" creationId="{153DF74C-ACF5-4325-B8DE-6C7DEA752A48}"/>
            </ac:picMkLst>
          </pc:picChg>
          <pc:picChg chg="del">
            <ac:chgData name="Lace Lofranco" userId="1515141e-a2ed-4ab4-a66f-6db2dda82fd4" providerId="ADAL" clId="{B52973EE-742A-4FA2-9CB3-0EC07C12EB94}" dt="2018-03-20T11:34:22.748" v="66" actId="478"/>
            <ac:picMkLst>
              <pc:docMk/>
              <pc:sldMasterMk cId="3588427678" sldId="2147484229"/>
              <pc:sldLayoutMk cId="3311556723" sldId="2147484256"/>
              <ac:picMk id="17" creationId="{16372181-DA32-4157-9053-0796D873159A}"/>
            </ac:picMkLst>
          </pc:picChg>
          <pc:picChg chg="del">
            <ac:chgData name="Lace Lofranco" userId="1515141e-a2ed-4ab4-a66f-6db2dda82fd4" providerId="ADAL" clId="{B52973EE-742A-4FA2-9CB3-0EC07C12EB94}" dt="2018-03-20T11:34:24.551" v="67" actId="478"/>
            <ac:picMkLst>
              <pc:docMk/>
              <pc:sldMasterMk cId="3588427678" sldId="2147484229"/>
              <pc:sldLayoutMk cId="3311556723" sldId="2147484256"/>
              <ac:picMk id="18" creationId="{07BCA4EE-8FB5-438F-9959-5DCEF8039B17}"/>
            </ac:picMkLst>
          </pc:picChg>
          <pc:picChg chg="del">
            <ac:chgData name="Lace Lofranco" userId="1515141e-a2ed-4ab4-a66f-6db2dda82fd4" providerId="ADAL" clId="{B52973EE-742A-4FA2-9CB3-0EC07C12EB94}" dt="2018-03-20T11:34:24.551" v="67" actId="478"/>
            <ac:picMkLst>
              <pc:docMk/>
              <pc:sldMasterMk cId="3588427678" sldId="2147484229"/>
              <pc:sldLayoutMk cId="3311556723" sldId="2147484256"/>
              <ac:picMk id="22" creationId="{7716428E-34E6-4DA6-B0AC-F300D383FD9E}"/>
            </ac:picMkLst>
          </pc:picChg>
        </pc:sldLayoutChg>
        <pc:sldLayoutChg chg="addSp delSp">
          <pc:chgData name="Lace Lofranco" userId="1515141e-a2ed-4ab4-a66f-6db2dda82fd4" providerId="ADAL" clId="{B52973EE-742A-4FA2-9CB3-0EC07C12EB94}" dt="2018-03-20T11:34:32.351" v="71" actId="2696"/>
          <pc:sldLayoutMkLst>
            <pc:docMk/>
            <pc:sldMasterMk cId="3588427678" sldId="2147484229"/>
            <pc:sldLayoutMk cId="1129962453" sldId="2147484260"/>
          </pc:sldLayoutMkLst>
          <pc:spChg chg="del">
            <ac:chgData name="Lace Lofranco" userId="1515141e-a2ed-4ab4-a66f-6db2dda82fd4" providerId="ADAL" clId="{B52973EE-742A-4FA2-9CB3-0EC07C12EB94}" dt="2018-03-20T11:34:31.457" v="70" actId="478"/>
            <ac:spMkLst>
              <pc:docMk/>
              <pc:sldMasterMk cId="3588427678" sldId="2147484229"/>
              <pc:sldLayoutMk cId="1129962453" sldId="2147484260"/>
              <ac:spMk id="22" creationId="{3D896D63-491F-4423-A011-7578DDFC3E54}"/>
            </ac:spMkLst>
          </pc:spChg>
          <pc:spChg chg="del">
            <ac:chgData name="Lace Lofranco" userId="1515141e-a2ed-4ab4-a66f-6db2dda82fd4" providerId="ADAL" clId="{B52973EE-742A-4FA2-9CB3-0EC07C12EB94}" dt="2018-03-20T11:34:31.457" v="70" actId="478"/>
            <ac:spMkLst>
              <pc:docMk/>
              <pc:sldMasterMk cId="3588427678" sldId="2147484229"/>
              <pc:sldLayoutMk cId="1129962453" sldId="2147484260"/>
              <ac:spMk id="23" creationId="{DF12207C-50B8-4425-B833-3493C8ECC5EA}"/>
            </ac:spMkLst>
          </pc:spChg>
          <pc:spChg chg="del">
            <ac:chgData name="Lace Lofranco" userId="1515141e-a2ed-4ab4-a66f-6db2dda82fd4" providerId="ADAL" clId="{B52973EE-742A-4FA2-9CB3-0EC07C12EB94}" dt="2018-03-20T11:34:31.457" v="70" actId="478"/>
            <ac:spMkLst>
              <pc:docMk/>
              <pc:sldMasterMk cId="3588427678" sldId="2147484229"/>
              <pc:sldLayoutMk cId="1129962453" sldId="2147484260"/>
              <ac:spMk id="24" creationId="{ACC5A732-BCFD-4BC8-B8EC-973C4B1EFA38}"/>
            </ac:spMkLst>
          </pc:spChg>
          <pc:picChg chg="add">
            <ac:chgData name="Lace Lofranco" userId="1515141e-a2ed-4ab4-a66f-6db2dda82fd4" providerId="ADAL" clId="{B52973EE-742A-4FA2-9CB3-0EC07C12EB94}" dt="2018-03-20T11:34:32.351" v="71" actId="2696"/>
            <ac:picMkLst>
              <pc:docMk/>
              <pc:sldMasterMk cId="3588427678" sldId="2147484229"/>
              <pc:sldLayoutMk cId="1129962453" sldId="2147484260"/>
              <ac:picMk id="12" creationId="{4959F10C-E894-4F42-902D-E9A84FE93279}"/>
            </ac:picMkLst>
          </pc:picChg>
          <pc:picChg chg="del">
            <ac:chgData name="Lace Lofranco" userId="1515141e-a2ed-4ab4-a66f-6db2dda82fd4" providerId="ADAL" clId="{B52973EE-742A-4FA2-9CB3-0EC07C12EB94}" dt="2018-03-20T11:34:29.455" v="69" actId="478"/>
            <ac:picMkLst>
              <pc:docMk/>
              <pc:sldMasterMk cId="3588427678" sldId="2147484229"/>
              <pc:sldLayoutMk cId="1129962453" sldId="2147484260"/>
              <ac:picMk id="19" creationId="{D165EC52-36EF-46FC-A033-8D7BEBA90A02}"/>
            </ac:picMkLst>
          </pc:picChg>
          <pc:picChg chg="del">
            <ac:chgData name="Lace Lofranco" userId="1515141e-a2ed-4ab4-a66f-6db2dda82fd4" providerId="ADAL" clId="{B52973EE-742A-4FA2-9CB3-0EC07C12EB94}" dt="2018-03-20T11:34:29.455" v="69" actId="478"/>
            <ac:picMkLst>
              <pc:docMk/>
              <pc:sldMasterMk cId="3588427678" sldId="2147484229"/>
              <pc:sldLayoutMk cId="1129962453" sldId="2147484260"/>
              <ac:picMk id="20" creationId="{EB2D5D1D-8D61-42EF-832A-049CB529295E}"/>
            </ac:picMkLst>
          </pc:picChg>
          <pc:picChg chg="del">
            <ac:chgData name="Lace Lofranco" userId="1515141e-a2ed-4ab4-a66f-6db2dda82fd4" providerId="ADAL" clId="{B52973EE-742A-4FA2-9CB3-0EC07C12EB94}" dt="2018-03-20T11:34:31.457" v="70" actId="478"/>
            <ac:picMkLst>
              <pc:docMk/>
              <pc:sldMasterMk cId="3588427678" sldId="2147484229"/>
              <pc:sldLayoutMk cId="1129962453" sldId="2147484260"/>
              <ac:picMk id="21" creationId="{9618D044-CC6B-4A12-AD45-4D75B5CE0A0E}"/>
            </ac:picMkLst>
          </pc:picChg>
          <pc:picChg chg="del">
            <ac:chgData name="Lace Lofranco" userId="1515141e-a2ed-4ab4-a66f-6db2dda82fd4" providerId="ADAL" clId="{B52973EE-742A-4FA2-9CB3-0EC07C12EB94}" dt="2018-03-20T11:34:31.457" v="70" actId="478"/>
            <ac:picMkLst>
              <pc:docMk/>
              <pc:sldMasterMk cId="3588427678" sldId="2147484229"/>
              <pc:sldLayoutMk cId="1129962453" sldId="2147484260"/>
              <ac:picMk id="25" creationId="{8A8938A4-A9CF-478B-9F95-152DA726386D}"/>
            </ac:picMkLst>
          </pc:picChg>
        </pc:sldLayoutChg>
        <pc:sldLayoutChg chg="addSp delSp">
          <pc:chgData name="Lace Lofranco" userId="1515141e-a2ed-4ab4-a66f-6db2dda82fd4" providerId="ADAL" clId="{B52973EE-742A-4FA2-9CB3-0EC07C12EB94}" dt="2018-03-20T11:34:02.701" v="59" actId="2696"/>
          <pc:sldLayoutMkLst>
            <pc:docMk/>
            <pc:sldMasterMk cId="3588427678" sldId="2147484229"/>
            <pc:sldLayoutMk cId="2192018982" sldId="2147484474"/>
          </pc:sldLayoutMkLst>
          <pc:spChg chg="del">
            <ac:chgData name="Lace Lofranco" userId="1515141e-a2ed-4ab4-a66f-6db2dda82fd4" providerId="ADAL" clId="{B52973EE-742A-4FA2-9CB3-0EC07C12EB94}" dt="2018-03-20T11:33:59.604" v="57" actId="478"/>
            <ac:spMkLst>
              <pc:docMk/>
              <pc:sldMasterMk cId="3588427678" sldId="2147484229"/>
              <pc:sldLayoutMk cId="2192018982" sldId="2147484474"/>
              <ac:spMk id="22" creationId="{044DB581-C739-4FE0-8471-99D01B5BE272}"/>
            </ac:spMkLst>
          </pc:spChg>
          <pc:spChg chg="del">
            <ac:chgData name="Lace Lofranco" userId="1515141e-a2ed-4ab4-a66f-6db2dda82fd4" providerId="ADAL" clId="{B52973EE-742A-4FA2-9CB3-0EC07C12EB94}" dt="2018-03-20T11:33:59.604" v="57" actId="478"/>
            <ac:spMkLst>
              <pc:docMk/>
              <pc:sldMasterMk cId="3588427678" sldId="2147484229"/>
              <pc:sldLayoutMk cId="2192018982" sldId="2147484474"/>
              <ac:spMk id="23" creationId="{0A4CC9ED-4F5E-470C-989A-4DA8CF71FE21}"/>
            </ac:spMkLst>
          </pc:spChg>
          <pc:spChg chg="del">
            <ac:chgData name="Lace Lofranco" userId="1515141e-a2ed-4ab4-a66f-6db2dda82fd4" providerId="ADAL" clId="{B52973EE-742A-4FA2-9CB3-0EC07C12EB94}" dt="2018-03-20T11:33:59.604" v="57" actId="478"/>
            <ac:spMkLst>
              <pc:docMk/>
              <pc:sldMasterMk cId="3588427678" sldId="2147484229"/>
              <pc:sldLayoutMk cId="2192018982" sldId="2147484474"/>
              <ac:spMk id="24" creationId="{873CD5C4-42AD-471A-9BCE-91D8CB83317B}"/>
            </ac:spMkLst>
          </pc:spChg>
          <pc:picChg chg="add">
            <ac:chgData name="Lace Lofranco" userId="1515141e-a2ed-4ab4-a66f-6db2dda82fd4" providerId="ADAL" clId="{B52973EE-742A-4FA2-9CB3-0EC07C12EB94}" dt="2018-03-20T11:34:02.701" v="59" actId="2696"/>
            <ac:picMkLst>
              <pc:docMk/>
              <pc:sldMasterMk cId="3588427678" sldId="2147484229"/>
              <pc:sldLayoutMk cId="2192018982" sldId="2147484474"/>
              <ac:picMk id="12" creationId="{6663C464-AF68-4558-9894-7B1E63CD156C}"/>
            </ac:picMkLst>
          </pc:picChg>
          <pc:picChg chg="del">
            <ac:chgData name="Lace Lofranco" userId="1515141e-a2ed-4ab4-a66f-6db2dda82fd4" providerId="ADAL" clId="{B52973EE-742A-4FA2-9CB3-0EC07C12EB94}" dt="2018-03-20T11:33:57.421" v="56" actId="478"/>
            <ac:picMkLst>
              <pc:docMk/>
              <pc:sldMasterMk cId="3588427678" sldId="2147484229"/>
              <pc:sldLayoutMk cId="2192018982" sldId="2147484474"/>
              <ac:picMk id="19" creationId="{1075E17F-9850-4896-9501-8D515D6B76F2}"/>
            </ac:picMkLst>
          </pc:picChg>
          <pc:picChg chg="del">
            <ac:chgData name="Lace Lofranco" userId="1515141e-a2ed-4ab4-a66f-6db2dda82fd4" providerId="ADAL" clId="{B52973EE-742A-4FA2-9CB3-0EC07C12EB94}" dt="2018-03-20T11:33:57.421" v="56" actId="478"/>
            <ac:picMkLst>
              <pc:docMk/>
              <pc:sldMasterMk cId="3588427678" sldId="2147484229"/>
              <pc:sldLayoutMk cId="2192018982" sldId="2147484474"/>
              <ac:picMk id="20" creationId="{4F023877-13DC-4F29-964C-DD69D02F7004}"/>
            </ac:picMkLst>
          </pc:picChg>
          <pc:picChg chg="del">
            <ac:chgData name="Lace Lofranco" userId="1515141e-a2ed-4ab4-a66f-6db2dda82fd4" providerId="ADAL" clId="{B52973EE-742A-4FA2-9CB3-0EC07C12EB94}" dt="2018-03-20T11:34:01.566" v="58" actId="478"/>
            <ac:picMkLst>
              <pc:docMk/>
              <pc:sldMasterMk cId="3588427678" sldId="2147484229"/>
              <pc:sldLayoutMk cId="2192018982" sldId="2147484474"/>
              <ac:picMk id="21" creationId="{FC89775E-9FF7-46A8-B7B5-91590FB6E365}"/>
            </ac:picMkLst>
          </pc:picChg>
          <pc:picChg chg="del">
            <ac:chgData name="Lace Lofranco" userId="1515141e-a2ed-4ab4-a66f-6db2dda82fd4" providerId="ADAL" clId="{B52973EE-742A-4FA2-9CB3-0EC07C12EB94}" dt="2018-03-20T11:33:59.604" v="57" actId="478"/>
            <ac:picMkLst>
              <pc:docMk/>
              <pc:sldMasterMk cId="3588427678" sldId="2147484229"/>
              <pc:sldLayoutMk cId="2192018982" sldId="2147484474"/>
              <ac:picMk id="25" creationId="{4580D779-081B-442F-86E9-FB6C625B43F1}"/>
            </ac:picMkLst>
          </pc:picChg>
        </pc:sldLayoutChg>
      </pc:sldMasterChg>
    </pc:docChg>
  </pc:docChgLst>
  <pc:docChgLst>
    <pc:chgData name="Lace Lofranco" userId="1515141e-a2ed-4ab4-a66f-6db2dda82fd4" providerId="ADAL" clId="{943697CE-B2BA-40FE-ADBD-83489938B64E}"/>
    <pc:docChg chg="undo addSld delSld modSld sldOrd modSection">
      <pc:chgData name="Lace Lofranco" userId="1515141e-a2ed-4ab4-a66f-6db2dda82fd4" providerId="ADAL" clId="{943697CE-B2BA-40FE-ADBD-83489938B64E}" dt="2018-03-21T03:21:42.433" v="512" actId="403"/>
      <pc:docMkLst>
        <pc:docMk/>
      </pc:docMkLst>
      <pc:sldChg chg="modSp">
        <pc:chgData name="Lace Lofranco" userId="1515141e-a2ed-4ab4-a66f-6db2dda82fd4" providerId="ADAL" clId="{943697CE-B2BA-40FE-ADBD-83489938B64E}" dt="2018-03-21T03:21:42.433" v="512" actId="403"/>
        <pc:sldMkLst>
          <pc:docMk/>
          <pc:sldMk cId="3457239243" sldId="1554"/>
        </pc:sldMkLst>
        <pc:spChg chg="mod">
          <ac:chgData name="Lace Lofranco" userId="1515141e-a2ed-4ab4-a66f-6db2dda82fd4" providerId="ADAL" clId="{943697CE-B2BA-40FE-ADBD-83489938B64E}" dt="2018-03-21T03:21:42.433" v="512" actId="403"/>
          <ac:spMkLst>
            <pc:docMk/>
            <pc:sldMk cId="3457239243" sldId="1554"/>
            <ac:spMk id="5" creationId="{1702119B-C0CF-4EBE-8CB5-B85FF355DB8E}"/>
          </ac:spMkLst>
        </pc:spChg>
      </pc:sldChg>
      <pc:sldChg chg="add del ord">
        <pc:chgData name="Lace Lofranco" userId="1515141e-a2ed-4ab4-a66f-6db2dda82fd4" providerId="ADAL" clId="{943697CE-B2BA-40FE-ADBD-83489938B64E}" dt="2018-03-21T02:54:02.206" v="424" actId="403"/>
        <pc:sldMkLst>
          <pc:docMk/>
          <pc:sldMk cId="3628490490" sldId="1559"/>
        </pc:sldMkLst>
      </pc:sldChg>
      <pc:sldChg chg="modSp">
        <pc:chgData name="Lace Lofranco" userId="1515141e-a2ed-4ab4-a66f-6db2dda82fd4" providerId="ADAL" clId="{943697CE-B2BA-40FE-ADBD-83489938B64E}" dt="2018-03-21T02:43:30.581" v="392" actId="1038"/>
        <pc:sldMkLst>
          <pc:docMk/>
          <pc:sldMk cId="4229896906" sldId="1572"/>
        </pc:sldMkLst>
        <pc:grpChg chg="mod">
          <ac:chgData name="Lace Lofranco" userId="1515141e-a2ed-4ab4-a66f-6db2dda82fd4" providerId="ADAL" clId="{943697CE-B2BA-40FE-ADBD-83489938B64E}" dt="2018-03-21T02:43:30.581" v="392" actId="1038"/>
          <ac:grpSpMkLst>
            <pc:docMk/>
            <pc:sldMk cId="4229896906" sldId="1572"/>
            <ac:grpSpMk id="6" creationId="{DD376938-161D-453C-90C1-20B62B1680BA}"/>
          </ac:grpSpMkLst>
        </pc:grpChg>
      </pc:sldChg>
      <pc:sldChg chg="addSp modSp">
        <pc:chgData name="Lace Lofranco" userId="1515141e-a2ed-4ab4-a66f-6db2dda82fd4" providerId="ADAL" clId="{943697CE-B2BA-40FE-ADBD-83489938B64E}" dt="2018-03-21T02:35:35.835" v="326" actId="1076"/>
        <pc:sldMkLst>
          <pc:docMk/>
          <pc:sldMk cId="510808930" sldId="1576"/>
        </pc:sldMkLst>
        <pc:spChg chg="mod">
          <ac:chgData name="Lace Lofranco" userId="1515141e-a2ed-4ab4-a66f-6db2dda82fd4" providerId="ADAL" clId="{943697CE-B2BA-40FE-ADBD-83489938B64E}" dt="2018-03-20T23:32:14.311" v="314" actId="20577"/>
          <ac:spMkLst>
            <pc:docMk/>
            <pc:sldMk cId="510808930" sldId="1576"/>
            <ac:spMk id="2" creationId="{BD88855E-8E5D-4E33-A6F6-30092BB1C540}"/>
          </ac:spMkLst>
        </pc:spChg>
        <pc:picChg chg="add mod">
          <ac:chgData name="Lace Lofranco" userId="1515141e-a2ed-4ab4-a66f-6db2dda82fd4" providerId="ADAL" clId="{943697CE-B2BA-40FE-ADBD-83489938B64E}" dt="2018-03-21T02:35:35.835" v="326" actId="1076"/>
          <ac:picMkLst>
            <pc:docMk/>
            <pc:sldMk cId="510808930" sldId="1576"/>
            <ac:picMk id="1026" creationId="{E162CF20-8A2B-4CD1-B116-48D6A2CC7F20}"/>
          </ac:picMkLst>
        </pc:picChg>
      </pc:sldChg>
      <pc:sldChg chg="modSp">
        <pc:chgData name="Lace Lofranco" userId="1515141e-a2ed-4ab4-a66f-6db2dda82fd4" providerId="ADAL" clId="{943697CE-B2BA-40FE-ADBD-83489938B64E}" dt="2018-03-21T02:35:56.176" v="328" actId="404"/>
        <pc:sldMkLst>
          <pc:docMk/>
          <pc:sldMk cId="3641265229" sldId="1603"/>
        </pc:sldMkLst>
        <pc:spChg chg="mod">
          <ac:chgData name="Lace Lofranco" userId="1515141e-a2ed-4ab4-a66f-6db2dda82fd4" providerId="ADAL" clId="{943697CE-B2BA-40FE-ADBD-83489938B64E}" dt="2018-03-21T02:35:56.176" v="328" actId="404"/>
          <ac:spMkLst>
            <pc:docMk/>
            <pc:sldMk cId="3641265229" sldId="1603"/>
            <ac:spMk id="3" creationId="{CC0EC82D-97BA-4440-AADA-DA6F813A32A3}"/>
          </ac:spMkLst>
        </pc:spChg>
      </pc:sldChg>
    </pc:docChg>
  </pc:docChgLst>
  <pc:docChgLst>
    <pc:chgData name="Lace Lofranco" userId="1515141e-a2ed-4ab4-a66f-6db2dda82fd4" providerId="ADAL" clId="{493B25E7-64DB-4C9E-8CFB-AC78AEDEF5A2}"/>
    <pc:docChg chg="undo custSel addSld delSld modSld sldOrd modSection">
      <pc:chgData name="Lace Lofranco" userId="1515141e-a2ed-4ab4-a66f-6db2dda82fd4" providerId="ADAL" clId="{493B25E7-64DB-4C9E-8CFB-AC78AEDEF5A2}" dt="2018-04-20T14:32:49.534" v="1991" actId="20577"/>
      <pc:docMkLst>
        <pc:docMk/>
      </pc:docMkLst>
      <pc:sldChg chg="del">
        <pc:chgData name="Lace Lofranco" userId="1515141e-a2ed-4ab4-a66f-6db2dda82fd4" providerId="ADAL" clId="{493B25E7-64DB-4C9E-8CFB-AC78AEDEF5A2}" dt="2018-04-20T01:35:38.693" v="940" actId="2696"/>
        <pc:sldMkLst>
          <pc:docMk/>
          <pc:sldMk cId="425649567" sldId="1606"/>
        </pc:sldMkLst>
      </pc:sldChg>
      <pc:sldChg chg="addSp delSp modSp">
        <pc:chgData name="Lace Lofranco" userId="1515141e-a2ed-4ab4-a66f-6db2dda82fd4" providerId="ADAL" clId="{493B25E7-64DB-4C9E-8CFB-AC78AEDEF5A2}" dt="2018-04-20T01:29:51.644" v="664" actId="478"/>
        <pc:sldMkLst>
          <pc:docMk/>
          <pc:sldMk cId="2099850975" sldId="1607"/>
        </pc:sldMkLst>
        <pc:spChg chg="mod">
          <ac:chgData name="Lace Lofranco" userId="1515141e-a2ed-4ab4-a66f-6db2dda82fd4" providerId="ADAL" clId="{493B25E7-64DB-4C9E-8CFB-AC78AEDEF5A2}" dt="2018-04-20T01:29:48.410" v="663" actId="20577"/>
          <ac:spMkLst>
            <pc:docMk/>
            <pc:sldMk cId="2099850975" sldId="1607"/>
            <ac:spMk id="4" creationId="{54FAFECF-9A38-418C-BD9E-86A6EA29CDCD}"/>
          </ac:spMkLst>
        </pc:spChg>
        <pc:spChg chg="add del mod">
          <ac:chgData name="Lace Lofranco" userId="1515141e-a2ed-4ab4-a66f-6db2dda82fd4" providerId="ADAL" clId="{493B25E7-64DB-4C9E-8CFB-AC78AEDEF5A2}" dt="2018-04-20T01:28:13.525" v="520" actId="478"/>
          <ac:spMkLst>
            <pc:docMk/>
            <pc:sldMk cId="2099850975" sldId="1607"/>
            <ac:spMk id="6" creationId="{89487DA2-AA28-4A5A-B13D-C6C0C4768A0A}"/>
          </ac:spMkLst>
        </pc:spChg>
        <pc:spChg chg="add mod ord">
          <ac:chgData name="Lace Lofranco" userId="1515141e-a2ed-4ab4-a66f-6db2dda82fd4" providerId="ADAL" clId="{493B25E7-64DB-4C9E-8CFB-AC78AEDEF5A2}" dt="2018-04-20T01:28:59.883" v="552" actId="164"/>
          <ac:spMkLst>
            <pc:docMk/>
            <pc:sldMk cId="2099850975" sldId="1607"/>
            <ac:spMk id="7" creationId="{395CDB5D-7F93-48D7-8C0F-E31F7A271111}"/>
          </ac:spMkLst>
        </pc:spChg>
        <pc:grpChg chg="add mod">
          <ac:chgData name="Lace Lofranco" userId="1515141e-a2ed-4ab4-a66f-6db2dda82fd4" providerId="ADAL" clId="{493B25E7-64DB-4C9E-8CFB-AC78AEDEF5A2}" dt="2018-04-20T01:29:13.876" v="560" actId="1036"/>
          <ac:grpSpMkLst>
            <pc:docMk/>
            <pc:sldMk cId="2099850975" sldId="1607"/>
            <ac:grpSpMk id="8" creationId="{7B63C59B-A697-4C74-BA1A-544795C96CA5}"/>
          </ac:grpSpMkLst>
        </pc:grpChg>
        <pc:picChg chg="add del mod">
          <ac:chgData name="Lace Lofranco" userId="1515141e-a2ed-4ab4-a66f-6db2dda82fd4" providerId="ADAL" clId="{493B25E7-64DB-4C9E-8CFB-AC78AEDEF5A2}" dt="2018-04-20T01:29:51.644" v="664" actId="478"/>
          <ac:picMkLst>
            <pc:docMk/>
            <pc:sldMk cId="2099850975" sldId="1607"/>
            <ac:picMk id="5" creationId="{F2977453-22B8-4679-857F-3023E31B7FBB}"/>
          </ac:picMkLst>
        </pc:picChg>
        <pc:picChg chg="add mod">
          <ac:chgData name="Lace Lofranco" userId="1515141e-a2ed-4ab4-a66f-6db2dda82fd4" providerId="ADAL" clId="{493B25E7-64DB-4C9E-8CFB-AC78AEDEF5A2}" dt="2018-04-20T01:28:59.883" v="552" actId="164"/>
          <ac:picMkLst>
            <pc:docMk/>
            <pc:sldMk cId="2099850975" sldId="1607"/>
            <ac:picMk id="2050" creationId="{14936F2D-6269-4710-A303-0258842B2C49}"/>
          </ac:picMkLst>
        </pc:picChg>
      </pc:sldChg>
      <pc:sldChg chg="del">
        <pc:chgData name="Lace Lofranco" userId="1515141e-a2ed-4ab4-a66f-6db2dda82fd4" providerId="ADAL" clId="{493B25E7-64DB-4C9E-8CFB-AC78AEDEF5A2}" dt="2018-04-20T02:00:04.780" v="1406" actId="2696"/>
        <pc:sldMkLst>
          <pc:docMk/>
          <pc:sldMk cId="3226777121" sldId="1609"/>
        </pc:sldMkLst>
      </pc:sldChg>
      <pc:sldChg chg="ord">
        <pc:chgData name="Lace Lofranco" userId="1515141e-a2ed-4ab4-a66f-6db2dda82fd4" providerId="ADAL" clId="{493B25E7-64DB-4C9E-8CFB-AC78AEDEF5A2}" dt="2018-04-17T05:28:53.599" v="470" actId="20577"/>
        <pc:sldMkLst>
          <pc:docMk/>
          <pc:sldMk cId="4276181787" sldId="1611"/>
        </pc:sldMkLst>
      </pc:sldChg>
      <pc:sldChg chg="modNotesTx">
        <pc:chgData name="Lace Lofranco" userId="1515141e-a2ed-4ab4-a66f-6db2dda82fd4" providerId="ADAL" clId="{493B25E7-64DB-4C9E-8CFB-AC78AEDEF5A2}" dt="2018-04-17T05:36:03.010" v="501" actId="20577"/>
        <pc:sldMkLst>
          <pc:docMk/>
          <pc:sldMk cId="4142295385" sldId="1614"/>
        </pc:sldMkLst>
      </pc:sldChg>
      <pc:sldChg chg="addSp delSp modSp">
        <pc:chgData name="Lace Lofranco" userId="1515141e-a2ed-4ab4-a66f-6db2dda82fd4" providerId="ADAL" clId="{493B25E7-64DB-4C9E-8CFB-AC78AEDEF5A2}" dt="2018-04-20T14:30:26.545" v="1789" actId="1076"/>
        <pc:sldMkLst>
          <pc:docMk/>
          <pc:sldMk cId="1586474030" sldId="1616"/>
        </pc:sldMkLst>
        <pc:picChg chg="add del mod">
          <ac:chgData name="Lace Lofranco" userId="1515141e-a2ed-4ab4-a66f-6db2dda82fd4" providerId="ADAL" clId="{493B25E7-64DB-4C9E-8CFB-AC78AEDEF5A2}" dt="2018-04-20T14:30:20.955" v="1785" actId="478"/>
          <ac:picMkLst>
            <pc:docMk/>
            <pc:sldMk cId="1586474030" sldId="1616"/>
            <ac:picMk id="3" creationId="{07E22D8D-8E56-4CD1-BEB3-B0366D59DC08}"/>
          </ac:picMkLst>
        </pc:picChg>
        <pc:picChg chg="add mod">
          <ac:chgData name="Lace Lofranco" userId="1515141e-a2ed-4ab4-a66f-6db2dda82fd4" providerId="ADAL" clId="{493B25E7-64DB-4C9E-8CFB-AC78AEDEF5A2}" dt="2018-04-20T14:30:26.545" v="1789" actId="1076"/>
          <ac:picMkLst>
            <pc:docMk/>
            <pc:sldMk cId="1586474030" sldId="1616"/>
            <ac:picMk id="4" creationId="{A90030C5-D9D0-4D87-832C-9A753DB47E48}"/>
          </ac:picMkLst>
        </pc:picChg>
      </pc:sldChg>
      <pc:sldChg chg="modSp">
        <pc:chgData name="Lace Lofranco" userId="1515141e-a2ed-4ab4-a66f-6db2dda82fd4" providerId="ADAL" clId="{493B25E7-64DB-4C9E-8CFB-AC78AEDEF5A2}" dt="2018-04-20T11:39:26.160" v="1467" actId="1076"/>
        <pc:sldMkLst>
          <pc:docMk/>
          <pc:sldMk cId="281606097" sldId="1617"/>
        </pc:sldMkLst>
        <pc:spChg chg="mod">
          <ac:chgData name="Lace Lofranco" userId="1515141e-a2ed-4ab4-a66f-6db2dda82fd4" providerId="ADAL" clId="{493B25E7-64DB-4C9E-8CFB-AC78AEDEF5A2}" dt="2018-04-17T05:29:31.740" v="471" actId="20577"/>
          <ac:spMkLst>
            <pc:docMk/>
            <pc:sldMk cId="281606097" sldId="1617"/>
            <ac:spMk id="2" creationId="{512279D8-E21E-4353-B9ED-A6D18B330F2E}"/>
          </ac:spMkLst>
        </pc:spChg>
        <pc:spChg chg="mod">
          <ac:chgData name="Lace Lofranco" userId="1515141e-a2ed-4ab4-a66f-6db2dda82fd4" providerId="ADAL" clId="{493B25E7-64DB-4C9E-8CFB-AC78AEDEF5A2}" dt="2018-04-20T11:39:26.160" v="1467" actId="1076"/>
          <ac:spMkLst>
            <pc:docMk/>
            <pc:sldMk cId="281606097" sldId="1617"/>
            <ac:spMk id="4" creationId="{F85DCE78-31FF-4533-86F8-53C701635B6A}"/>
          </ac:spMkLst>
        </pc:spChg>
      </pc:sldChg>
      <pc:sldChg chg="modSp">
        <pc:chgData name="Lace Lofranco" userId="1515141e-a2ed-4ab4-a66f-6db2dda82fd4" providerId="ADAL" clId="{493B25E7-64DB-4C9E-8CFB-AC78AEDEF5A2}" dt="2018-04-20T03:21:32.813" v="1466" actId="20577"/>
        <pc:sldMkLst>
          <pc:docMk/>
          <pc:sldMk cId="1021249797" sldId="1618"/>
        </pc:sldMkLst>
        <pc:graphicFrameChg chg="modGraphic">
          <ac:chgData name="Lace Lofranco" userId="1515141e-a2ed-4ab4-a66f-6db2dda82fd4" providerId="ADAL" clId="{493B25E7-64DB-4C9E-8CFB-AC78AEDEF5A2}" dt="2018-04-20T03:21:32.813" v="1466" actId="20577"/>
          <ac:graphicFrameMkLst>
            <pc:docMk/>
            <pc:sldMk cId="1021249797" sldId="1618"/>
            <ac:graphicFrameMk id="20" creationId="{DB4855B9-26F5-49EE-BA13-29851CD5C5AB}"/>
          </ac:graphicFrameMkLst>
        </pc:graphicFrameChg>
      </pc:sldChg>
      <pc:sldChg chg="modNotes modNotesTx">
        <pc:chgData name="Lace Lofranco" userId="1515141e-a2ed-4ab4-a66f-6db2dda82fd4" providerId="ADAL" clId="{493B25E7-64DB-4C9E-8CFB-AC78AEDEF5A2}" dt="2018-04-17T05:35:44.956" v="473" actId="113"/>
        <pc:sldMkLst>
          <pc:docMk/>
          <pc:sldMk cId="766427523" sldId="1621"/>
        </pc:sldMkLst>
      </pc:sldChg>
      <pc:sldChg chg="ord">
        <pc:chgData name="Lace Lofranco" userId="1515141e-a2ed-4ab4-a66f-6db2dda82fd4" providerId="ADAL" clId="{493B25E7-64DB-4C9E-8CFB-AC78AEDEF5A2}" dt="2018-04-17T05:28:53.599" v="470" actId="20577"/>
        <pc:sldMkLst>
          <pc:docMk/>
          <pc:sldMk cId="1298158805" sldId="1622"/>
        </pc:sldMkLst>
      </pc:sldChg>
      <pc:sldChg chg="modNotesTx">
        <pc:chgData name="Lace Lofranco" userId="1515141e-a2ed-4ab4-a66f-6db2dda82fd4" providerId="ADAL" clId="{493B25E7-64DB-4C9E-8CFB-AC78AEDEF5A2}" dt="2018-04-17T05:23:53.061" v="86" actId="20577"/>
        <pc:sldMkLst>
          <pc:docMk/>
          <pc:sldMk cId="1744168857" sldId="1623"/>
        </pc:sldMkLst>
      </pc:sldChg>
      <pc:sldChg chg="modNotesTx">
        <pc:chgData name="Lace Lofranco" userId="1515141e-a2ed-4ab4-a66f-6db2dda82fd4" providerId="ADAL" clId="{493B25E7-64DB-4C9E-8CFB-AC78AEDEF5A2}" dt="2018-04-17T05:35:41.405" v="472" actId="113"/>
        <pc:sldMkLst>
          <pc:docMk/>
          <pc:sldMk cId="491777474" sldId="1627"/>
        </pc:sldMkLst>
      </pc:sldChg>
      <pc:sldChg chg="modSp ord">
        <pc:chgData name="Lace Lofranco" userId="1515141e-a2ed-4ab4-a66f-6db2dda82fd4" providerId="ADAL" clId="{493B25E7-64DB-4C9E-8CFB-AC78AEDEF5A2}" dt="2018-04-20T12:43:39.367" v="1776"/>
        <pc:sldMkLst>
          <pc:docMk/>
          <pc:sldMk cId="1366562967" sldId="1634"/>
        </pc:sldMkLst>
        <pc:spChg chg="mod">
          <ac:chgData name="Lace Lofranco" userId="1515141e-a2ed-4ab4-a66f-6db2dda82fd4" providerId="ADAL" clId="{493B25E7-64DB-4C9E-8CFB-AC78AEDEF5A2}" dt="2018-04-20T11:48:14.217" v="1468" actId="20577"/>
          <ac:spMkLst>
            <pc:docMk/>
            <pc:sldMk cId="1366562967" sldId="1634"/>
            <ac:spMk id="3" creationId="{D20A8ED2-2371-4644-A416-FACE587B64C3}"/>
          </ac:spMkLst>
        </pc:spChg>
      </pc:sldChg>
      <pc:sldChg chg="addSp delSp modSp add">
        <pc:chgData name="Lace Lofranco" userId="1515141e-a2ed-4ab4-a66f-6db2dda82fd4" providerId="ADAL" clId="{493B25E7-64DB-4C9E-8CFB-AC78AEDEF5A2}" dt="2018-04-20T01:54:28.750" v="1019" actId="12"/>
        <pc:sldMkLst>
          <pc:docMk/>
          <pc:sldMk cId="1365688488" sldId="1641"/>
        </pc:sldMkLst>
        <pc:spChg chg="mod">
          <ac:chgData name="Lace Lofranco" userId="1515141e-a2ed-4ab4-a66f-6db2dda82fd4" providerId="ADAL" clId="{493B25E7-64DB-4C9E-8CFB-AC78AEDEF5A2}" dt="2018-04-20T01:35:21.340" v="939" actId="20577"/>
          <ac:spMkLst>
            <pc:docMk/>
            <pc:sldMk cId="1365688488" sldId="1641"/>
            <ac:spMk id="2" creationId="{FC9C9CFF-DA07-426F-B50B-F00E238E23C7}"/>
          </ac:spMkLst>
        </pc:spChg>
        <pc:spChg chg="mod">
          <ac:chgData name="Lace Lofranco" userId="1515141e-a2ed-4ab4-a66f-6db2dda82fd4" providerId="ADAL" clId="{493B25E7-64DB-4C9E-8CFB-AC78AEDEF5A2}" dt="2018-04-20T01:54:28.750" v="1019" actId="12"/>
          <ac:spMkLst>
            <pc:docMk/>
            <pc:sldMk cId="1365688488" sldId="1641"/>
            <ac:spMk id="3" creationId="{ED2FAF96-BB4F-462F-BD1A-ED6C3E566F43}"/>
          </ac:spMkLst>
        </pc:spChg>
        <pc:spChg chg="del">
          <ac:chgData name="Lace Lofranco" userId="1515141e-a2ed-4ab4-a66f-6db2dda82fd4" providerId="ADAL" clId="{493B25E7-64DB-4C9E-8CFB-AC78AEDEF5A2}" dt="2018-04-20T01:45:11.393" v="945" actId="478"/>
          <ac:spMkLst>
            <pc:docMk/>
            <pc:sldMk cId="1365688488" sldId="1641"/>
            <ac:spMk id="4" creationId="{E23F9EC3-5E06-4A5F-BF00-E0B1E17B3842}"/>
          </ac:spMkLst>
        </pc:spChg>
        <pc:picChg chg="add mod">
          <ac:chgData name="Lace Lofranco" userId="1515141e-a2ed-4ab4-a66f-6db2dda82fd4" providerId="ADAL" clId="{493B25E7-64DB-4C9E-8CFB-AC78AEDEF5A2}" dt="2018-04-20T01:50:59.318" v="955" actId="1076"/>
          <ac:picMkLst>
            <pc:docMk/>
            <pc:sldMk cId="1365688488" sldId="1641"/>
            <ac:picMk id="6" creationId="{8446C7A9-363B-4975-93D4-3F02D8039A27}"/>
          </ac:picMkLst>
        </pc:picChg>
        <pc:picChg chg="add mod">
          <ac:chgData name="Lace Lofranco" userId="1515141e-a2ed-4ab4-a66f-6db2dda82fd4" providerId="ADAL" clId="{493B25E7-64DB-4C9E-8CFB-AC78AEDEF5A2}" dt="2018-04-20T01:54:06.420" v="1005" actId="1076"/>
          <ac:picMkLst>
            <pc:docMk/>
            <pc:sldMk cId="1365688488" sldId="1641"/>
            <ac:picMk id="7" creationId="{18C5386B-9F79-4B3F-AF49-969A0C1DDEBC}"/>
          </ac:picMkLst>
        </pc:picChg>
        <pc:picChg chg="add del mod">
          <ac:chgData name="Lace Lofranco" userId="1515141e-a2ed-4ab4-a66f-6db2dda82fd4" providerId="ADAL" clId="{493B25E7-64DB-4C9E-8CFB-AC78AEDEF5A2}" dt="2018-04-20T01:52:18.352" v="995" actId="478"/>
          <ac:picMkLst>
            <pc:docMk/>
            <pc:sldMk cId="1365688488" sldId="1641"/>
            <ac:picMk id="8" creationId="{BE59F802-0442-428C-9A38-BE889FE95C7F}"/>
          </ac:picMkLst>
        </pc:picChg>
        <pc:picChg chg="add del">
          <ac:chgData name="Lace Lofranco" userId="1515141e-a2ed-4ab4-a66f-6db2dda82fd4" providerId="ADAL" clId="{493B25E7-64DB-4C9E-8CFB-AC78AEDEF5A2}" dt="2018-04-20T01:32:15.784" v="830"/>
          <ac:picMkLst>
            <pc:docMk/>
            <pc:sldMk cId="1365688488" sldId="1641"/>
            <ac:picMk id="3074" creationId="{CD328C01-0CFE-4C76-9798-02E0AA29A38E}"/>
          </ac:picMkLst>
        </pc:picChg>
        <pc:picChg chg="add mod">
          <ac:chgData name="Lace Lofranco" userId="1515141e-a2ed-4ab4-a66f-6db2dda82fd4" providerId="ADAL" clId="{493B25E7-64DB-4C9E-8CFB-AC78AEDEF5A2}" dt="2018-04-20T01:52:30.617" v="1000" actId="1076"/>
          <ac:picMkLst>
            <pc:docMk/>
            <pc:sldMk cId="1365688488" sldId="1641"/>
            <ac:picMk id="3076" creationId="{03DC985D-CF23-4433-9A5A-97CBA2363B8F}"/>
          </ac:picMkLst>
        </pc:picChg>
      </pc:sldChg>
      <pc:sldChg chg="add del">
        <pc:chgData name="Lace Lofranco" userId="1515141e-a2ed-4ab4-a66f-6db2dda82fd4" providerId="ADAL" clId="{493B25E7-64DB-4C9E-8CFB-AC78AEDEF5A2}" dt="2018-04-20T01:31:06.921" v="666" actId="2696"/>
        <pc:sldMkLst>
          <pc:docMk/>
          <pc:sldMk cId="3140411890" sldId="1641"/>
        </pc:sldMkLst>
      </pc:sldChg>
      <pc:sldChg chg="addSp delSp modSp add">
        <pc:chgData name="Lace Lofranco" userId="1515141e-a2ed-4ab4-a66f-6db2dda82fd4" providerId="ADAL" clId="{493B25E7-64DB-4C9E-8CFB-AC78AEDEF5A2}" dt="2018-04-20T02:00:35.100" v="1412" actId="20577"/>
        <pc:sldMkLst>
          <pc:docMk/>
          <pc:sldMk cId="3704113929" sldId="1642"/>
        </pc:sldMkLst>
        <pc:spChg chg="mod">
          <ac:chgData name="Lace Lofranco" userId="1515141e-a2ed-4ab4-a66f-6db2dda82fd4" providerId="ADAL" clId="{493B25E7-64DB-4C9E-8CFB-AC78AEDEF5A2}" dt="2018-04-20T01:59:24.999" v="1400" actId="20577"/>
          <ac:spMkLst>
            <pc:docMk/>
            <pc:sldMk cId="3704113929" sldId="1642"/>
            <ac:spMk id="2" creationId="{05268673-CAB3-4498-90A4-102EEFF2B78A}"/>
          </ac:spMkLst>
        </pc:spChg>
        <pc:spChg chg="del">
          <ac:chgData name="Lace Lofranco" userId="1515141e-a2ed-4ab4-a66f-6db2dda82fd4" providerId="ADAL" clId="{493B25E7-64DB-4C9E-8CFB-AC78AEDEF5A2}" dt="2018-04-20T01:55:42.849" v="1021" actId="478"/>
          <ac:spMkLst>
            <pc:docMk/>
            <pc:sldMk cId="3704113929" sldId="1642"/>
            <ac:spMk id="3" creationId="{34768ED2-FA55-4990-9B77-171E81CC9C56}"/>
          </ac:spMkLst>
        </pc:spChg>
        <pc:spChg chg="add del mod">
          <ac:chgData name="Lace Lofranco" userId="1515141e-a2ed-4ab4-a66f-6db2dda82fd4" providerId="ADAL" clId="{493B25E7-64DB-4C9E-8CFB-AC78AEDEF5A2}" dt="2018-04-20T01:57:31.252" v="1190" actId="478"/>
          <ac:spMkLst>
            <pc:docMk/>
            <pc:sldMk cId="3704113929" sldId="1642"/>
            <ac:spMk id="4" creationId="{EB8537F0-D2BB-4704-8814-81A8559592ED}"/>
          </ac:spMkLst>
        </pc:spChg>
        <pc:spChg chg="add mod">
          <ac:chgData name="Lace Lofranco" userId="1515141e-a2ed-4ab4-a66f-6db2dda82fd4" providerId="ADAL" clId="{493B25E7-64DB-4C9E-8CFB-AC78AEDEF5A2}" dt="2018-04-20T02:00:35.100" v="1412" actId="20577"/>
          <ac:spMkLst>
            <pc:docMk/>
            <pc:sldMk cId="3704113929" sldId="1642"/>
            <ac:spMk id="5" creationId="{6BF3CF70-4486-4DA4-9EF0-40DC61D31F0A}"/>
          </ac:spMkLst>
        </pc:spChg>
        <pc:spChg chg="add mod">
          <ac:chgData name="Lace Lofranco" userId="1515141e-a2ed-4ab4-a66f-6db2dda82fd4" providerId="ADAL" clId="{493B25E7-64DB-4C9E-8CFB-AC78AEDEF5A2}" dt="2018-04-20T01:59:35.135" v="1401" actId="17032"/>
          <ac:spMkLst>
            <pc:docMk/>
            <pc:sldMk cId="3704113929" sldId="1642"/>
            <ac:spMk id="6" creationId="{C687620C-3333-4A4F-BE35-57392817B42D}"/>
          </ac:spMkLst>
        </pc:spChg>
        <pc:spChg chg="add mod">
          <ac:chgData name="Lace Lofranco" userId="1515141e-a2ed-4ab4-a66f-6db2dda82fd4" providerId="ADAL" clId="{493B25E7-64DB-4C9E-8CFB-AC78AEDEF5A2}" dt="2018-04-20T01:59:46.416" v="1405" actId="20577"/>
          <ac:spMkLst>
            <pc:docMk/>
            <pc:sldMk cId="3704113929" sldId="1642"/>
            <ac:spMk id="7" creationId="{5D1DA3B7-488E-4DA6-BF42-DE7AA658B1EB}"/>
          </ac:spMkLst>
        </pc:spChg>
      </pc:sldChg>
      <pc:sldChg chg="modSp add">
        <pc:chgData name="Lace Lofranco" userId="1515141e-a2ed-4ab4-a66f-6db2dda82fd4" providerId="ADAL" clId="{493B25E7-64DB-4C9E-8CFB-AC78AEDEF5A2}" dt="2018-04-20T12:43:49.753" v="1784" actId="6549"/>
        <pc:sldMkLst>
          <pc:docMk/>
          <pc:sldMk cId="2292447912" sldId="1643"/>
        </pc:sldMkLst>
        <pc:spChg chg="mod">
          <ac:chgData name="Lace Lofranco" userId="1515141e-a2ed-4ab4-a66f-6db2dda82fd4" providerId="ADAL" clId="{493B25E7-64DB-4C9E-8CFB-AC78AEDEF5A2}" dt="2018-04-20T11:52:35.179" v="1644" actId="20577"/>
          <ac:spMkLst>
            <pc:docMk/>
            <pc:sldMk cId="2292447912" sldId="1643"/>
            <ac:spMk id="2" creationId="{20B362C3-A8A6-43A1-A4F1-3B1D012F36CA}"/>
          </ac:spMkLst>
        </pc:spChg>
        <pc:spChg chg="mod">
          <ac:chgData name="Lace Lofranco" userId="1515141e-a2ed-4ab4-a66f-6db2dda82fd4" providerId="ADAL" clId="{493B25E7-64DB-4C9E-8CFB-AC78AEDEF5A2}" dt="2018-04-20T12:43:49.753" v="1784" actId="6549"/>
          <ac:spMkLst>
            <pc:docMk/>
            <pc:sldMk cId="2292447912" sldId="1643"/>
            <ac:spMk id="3" creationId="{469CE95A-C3F0-467C-905B-04F2ED385857}"/>
          </ac:spMkLst>
        </pc:spChg>
      </pc:sldChg>
      <pc:sldChg chg="add del ord">
        <pc:chgData name="Lace Lofranco" userId="1515141e-a2ed-4ab4-a66f-6db2dda82fd4" providerId="ADAL" clId="{493B25E7-64DB-4C9E-8CFB-AC78AEDEF5A2}" dt="2018-04-20T12:37:08.516" v="1718" actId="2696"/>
        <pc:sldMkLst>
          <pc:docMk/>
          <pc:sldMk cId="245395061" sldId="1644"/>
        </pc:sldMkLst>
      </pc:sldChg>
      <pc:sldChg chg="addSp delSp modSp add del ord">
        <pc:chgData name="Lace Lofranco" userId="1515141e-a2ed-4ab4-a66f-6db2dda82fd4" providerId="ADAL" clId="{493B25E7-64DB-4C9E-8CFB-AC78AEDEF5A2}" dt="2018-04-20T12:42:31.298" v="1760" actId="2696"/>
        <pc:sldMkLst>
          <pc:docMk/>
          <pc:sldMk cId="959877262" sldId="1644"/>
        </pc:sldMkLst>
        <pc:spChg chg="add del mod">
          <ac:chgData name="Lace Lofranco" userId="1515141e-a2ed-4ab4-a66f-6db2dda82fd4" providerId="ADAL" clId="{493B25E7-64DB-4C9E-8CFB-AC78AEDEF5A2}" dt="2018-04-20T12:37:38.327" v="1723" actId="478"/>
          <ac:spMkLst>
            <pc:docMk/>
            <pc:sldMk cId="959877262" sldId="1644"/>
            <ac:spMk id="4" creationId="{0E4FD63A-ED34-4BDA-AB27-26E3F264880F}"/>
          </ac:spMkLst>
        </pc:spChg>
        <pc:spChg chg="add mod">
          <ac:chgData name="Lace Lofranco" userId="1515141e-a2ed-4ab4-a66f-6db2dda82fd4" providerId="ADAL" clId="{493B25E7-64DB-4C9E-8CFB-AC78AEDEF5A2}" dt="2018-04-20T12:37:49.626" v="1724" actId="11529"/>
          <ac:spMkLst>
            <pc:docMk/>
            <pc:sldMk cId="959877262" sldId="1644"/>
            <ac:spMk id="5" creationId="{483D8305-B1A4-444E-8362-5DCB4AA143A6}"/>
          </ac:spMkLst>
        </pc:spChg>
        <pc:spChg chg="add del mod">
          <ac:chgData name="Lace Lofranco" userId="1515141e-a2ed-4ab4-a66f-6db2dda82fd4" providerId="ADAL" clId="{493B25E7-64DB-4C9E-8CFB-AC78AEDEF5A2}" dt="2018-04-20T12:40:26.411" v="1728" actId="478"/>
          <ac:spMkLst>
            <pc:docMk/>
            <pc:sldMk cId="959877262" sldId="1644"/>
            <ac:spMk id="6" creationId="{4034FD6F-1315-44D8-AFD5-ED99A947C7D5}"/>
          </ac:spMkLst>
        </pc:spChg>
        <pc:spChg chg="add del mod">
          <ac:chgData name="Lace Lofranco" userId="1515141e-a2ed-4ab4-a66f-6db2dda82fd4" providerId="ADAL" clId="{493B25E7-64DB-4C9E-8CFB-AC78AEDEF5A2}" dt="2018-04-20T12:40:41.188" v="1730" actId="478"/>
          <ac:spMkLst>
            <pc:docMk/>
            <pc:sldMk cId="959877262" sldId="1644"/>
            <ac:spMk id="7" creationId="{3F75C37B-5988-43E8-BA26-50795E6E4009}"/>
          </ac:spMkLst>
        </pc:spChg>
        <pc:spChg chg="add mod">
          <ac:chgData name="Lace Lofranco" userId="1515141e-a2ed-4ab4-a66f-6db2dda82fd4" providerId="ADAL" clId="{493B25E7-64DB-4C9E-8CFB-AC78AEDEF5A2}" dt="2018-04-20T12:41:52.568" v="1748" actId="14100"/>
          <ac:spMkLst>
            <pc:docMk/>
            <pc:sldMk cId="959877262" sldId="1644"/>
            <ac:spMk id="8" creationId="{2159820F-4D09-40FB-8DEE-5D43D97CEF23}"/>
          </ac:spMkLst>
        </pc:spChg>
        <pc:picChg chg="mod">
          <ac:chgData name="Lace Lofranco" userId="1515141e-a2ed-4ab4-a66f-6db2dda82fd4" providerId="ADAL" clId="{493B25E7-64DB-4C9E-8CFB-AC78AEDEF5A2}" dt="2018-04-20T12:41:18.548" v="1739" actId="1076"/>
          <ac:picMkLst>
            <pc:docMk/>
            <pc:sldMk cId="959877262" sldId="1644"/>
            <ac:picMk id="3" creationId="{07E22D8D-8E56-4CD1-BEB3-B0366D59DC08}"/>
          </ac:picMkLst>
        </pc:picChg>
      </pc:sldChg>
      <pc:sldChg chg="addSp delSp modSp add ord">
        <pc:chgData name="Lace Lofranco" userId="1515141e-a2ed-4ab4-a66f-6db2dda82fd4" providerId="ADAL" clId="{493B25E7-64DB-4C9E-8CFB-AC78AEDEF5A2}" dt="2018-04-20T14:30:36.897" v="1801" actId="1037"/>
        <pc:sldMkLst>
          <pc:docMk/>
          <pc:sldMk cId="597044522" sldId="1645"/>
        </pc:sldMkLst>
        <pc:spChg chg="add mod">
          <ac:chgData name="Lace Lofranco" userId="1515141e-a2ed-4ab4-a66f-6db2dda82fd4" providerId="ADAL" clId="{493B25E7-64DB-4C9E-8CFB-AC78AEDEF5A2}" dt="2018-04-20T14:30:36.897" v="1801" actId="1037"/>
          <ac:spMkLst>
            <pc:docMk/>
            <pc:sldMk cId="597044522" sldId="1645"/>
            <ac:spMk id="4" creationId="{AC8EBA2F-054C-4B7B-84C3-3E3FC3E9B970}"/>
          </ac:spMkLst>
        </pc:spChg>
        <pc:spChg chg="del">
          <ac:chgData name="Lace Lofranco" userId="1515141e-a2ed-4ab4-a66f-6db2dda82fd4" providerId="ADAL" clId="{493B25E7-64DB-4C9E-8CFB-AC78AEDEF5A2}" dt="2018-04-20T12:42:10.283" v="1751" actId="478"/>
          <ac:spMkLst>
            <pc:docMk/>
            <pc:sldMk cId="597044522" sldId="1645"/>
            <ac:spMk id="8" creationId="{2159820F-4D09-40FB-8DEE-5D43D97CEF23}"/>
          </ac:spMkLst>
        </pc:spChg>
        <pc:picChg chg="del">
          <ac:chgData name="Lace Lofranco" userId="1515141e-a2ed-4ab4-a66f-6db2dda82fd4" providerId="ADAL" clId="{493B25E7-64DB-4C9E-8CFB-AC78AEDEF5A2}" dt="2018-04-20T14:30:29.935" v="1790" actId="478"/>
          <ac:picMkLst>
            <pc:docMk/>
            <pc:sldMk cId="597044522" sldId="1645"/>
            <ac:picMk id="3" creationId="{07E22D8D-8E56-4CD1-BEB3-B0366D59DC08}"/>
          </ac:picMkLst>
        </pc:picChg>
        <pc:picChg chg="add ord">
          <ac:chgData name="Lace Lofranco" userId="1515141e-a2ed-4ab4-a66f-6db2dda82fd4" providerId="ADAL" clId="{493B25E7-64DB-4C9E-8CFB-AC78AEDEF5A2}" dt="2018-04-20T14:30:33.297" v="1792" actId="167"/>
          <ac:picMkLst>
            <pc:docMk/>
            <pc:sldMk cId="597044522" sldId="1645"/>
            <ac:picMk id="7" creationId="{4B6748AF-42EB-437E-B84B-D56EB7716BA3}"/>
          </ac:picMkLst>
        </pc:picChg>
      </pc:sldChg>
      <pc:sldChg chg="addSp delSp modSp add">
        <pc:chgData name="Lace Lofranco" userId="1515141e-a2ed-4ab4-a66f-6db2dda82fd4" providerId="ADAL" clId="{493B25E7-64DB-4C9E-8CFB-AC78AEDEF5A2}" dt="2018-04-20T14:30:52.818" v="1815" actId="1038"/>
        <pc:sldMkLst>
          <pc:docMk/>
          <pc:sldMk cId="535386184" sldId="1646"/>
        </pc:sldMkLst>
        <pc:spChg chg="del">
          <ac:chgData name="Lace Lofranco" userId="1515141e-a2ed-4ab4-a66f-6db2dda82fd4" providerId="ADAL" clId="{493B25E7-64DB-4C9E-8CFB-AC78AEDEF5A2}" dt="2018-04-20T12:42:37.980" v="1761" actId="478"/>
          <ac:spMkLst>
            <pc:docMk/>
            <pc:sldMk cId="535386184" sldId="1646"/>
            <ac:spMk id="4" creationId="{AC8EBA2F-054C-4B7B-84C3-3E3FC3E9B970}"/>
          </ac:spMkLst>
        </pc:spChg>
        <pc:spChg chg="add mod">
          <ac:chgData name="Lace Lofranco" userId="1515141e-a2ed-4ab4-a66f-6db2dda82fd4" providerId="ADAL" clId="{493B25E7-64DB-4C9E-8CFB-AC78AEDEF5A2}" dt="2018-04-20T14:30:52.818" v="1815" actId="1038"/>
          <ac:spMkLst>
            <pc:docMk/>
            <pc:sldMk cId="535386184" sldId="1646"/>
            <ac:spMk id="6" creationId="{1C06A2B4-87ED-4F9F-8B6D-9848AD55E883}"/>
          </ac:spMkLst>
        </pc:spChg>
        <pc:picChg chg="del">
          <ac:chgData name="Lace Lofranco" userId="1515141e-a2ed-4ab4-a66f-6db2dda82fd4" providerId="ADAL" clId="{493B25E7-64DB-4C9E-8CFB-AC78AEDEF5A2}" dt="2018-04-20T14:30:44.343" v="1802" actId="478"/>
          <ac:picMkLst>
            <pc:docMk/>
            <pc:sldMk cId="535386184" sldId="1646"/>
            <ac:picMk id="3" creationId="{07E22D8D-8E56-4CD1-BEB3-B0366D59DC08}"/>
          </ac:picMkLst>
        </pc:picChg>
        <pc:picChg chg="add ord">
          <ac:chgData name="Lace Lofranco" userId="1515141e-a2ed-4ab4-a66f-6db2dda82fd4" providerId="ADAL" clId="{493B25E7-64DB-4C9E-8CFB-AC78AEDEF5A2}" dt="2018-04-20T14:30:49.384" v="1805" actId="167"/>
          <ac:picMkLst>
            <pc:docMk/>
            <pc:sldMk cId="535386184" sldId="1646"/>
            <ac:picMk id="7" creationId="{EE80B0E9-C479-499B-B3A8-30E0FB4B0EEB}"/>
          </ac:picMkLst>
        </pc:picChg>
      </pc:sldChg>
      <pc:sldChg chg="addSp delSp modSp add ord">
        <pc:chgData name="Lace Lofranco" userId="1515141e-a2ed-4ab4-a66f-6db2dda82fd4" providerId="ADAL" clId="{493B25E7-64DB-4C9E-8CFB-AC78AEDEF5A2}" dt="2018-04-20T14:31:04.466" v="1830" actId="1036"/>
        <pc:sldMkLst>
          <pc:docMk/>
          <pc:sldMk cId="2109022713" sldId="1647"/>
        </pc:sldMkLst>
        <pc:spChg chg="mod">
          <ac:chgData name="Lace Lofranco" userId="1515141e-a2ed-4ab4-a66f-6db2dda82fd4" providerId="ADAL" clId="{493B25E7-64DB-4C9E-8CFB-AC78AEDEF5A2}" dt="2018-04-20T14:31:04.466" v="1830" actId="1036"/>
          <ac:spMkLst>
            <pc:docMk/>
            <pc:sldMk cId="2109022713" sldId="1647"/>
            <ac:spMk id="6" creationId="{1C06A2B4-87ED-4F9F-8B6D-9848AD55E883}"/>
          </ac:spMkLst>
        </pc:spChg>
        <pc:picChg chg="del">
          <ac:chgData name="Lace Lofranco" userId="1515141e-a2ed-4ab4-a66f-6db2dda82fd4" providerId="ADAL" clId="{493B25E7-64DB-4C9E-8CFB-AC78AEDEF5A2}" dt="2018-04-20T14:30:57.235" v="1816" actId="478"/>
          <ac:picMkLst>
            <pc:docMk/>
            <pc:sldMk cId="2109022713" sldId="1647"/>
            <ac:picMk id="3" creationId="{07E22D8D-8E56-4CD1-BEB3-B0366D59DC08}"/>
          </ac:picMkLst>
        </pc:picChg>
        <pc:picChg chg="add ord">
          <ac:chgData name="Lace Lofranco" userId="1515141e-a2ed-4ab4-a66f-6db2dda82fd4" providerId="ADAL" clId="{493B25E7-64DB-4C9E-8CFB-AC78AEDEF5A2}" dt="2018-04-20T14:31:00.434" v="1818" actId="167"/>
          <ac:picMkLst>
            <pc:docMk/>
            <pc:sldMk cId="2109022713" sldId="1647"/>
            <ac:picMk id="7" creationId="{632115B9-B3F0-42B4-8D4D-8D9E9ED826EE}"/>
          </ac:picMkLst>
        </pc:picChg>
      </pc:sldChg>
      <pc:sldChg chg="modSp add">
        <pc:chgData name="Lace Lofranco" userId="1515141e-a2ed-4ab4-a66f-6db2dda82fd4" providerId="ADAL" clId="{493B25E7-64DB-4C9E-8CFB-AC78AEDEF5A2}" dt="2018-04-20T14:32:27.223" v="1952" actId="1038"/>
        <pc:sldMkLst>
          <pc:docMk/>
          <pc:sldMk cId="810544759" sldId="1648"/>
        </pc:sldMkLst>
        <pc:spChg chg="mod">
          <ac:chgData name="Lace Lofranco" userId="1515141e-a2ed-4ab4-a66f-6db2dda82fd4" providerId="ADAL" clId="{493B25E7-64DB-4C9E-8CFB-AC78AEDEF5A2}" dt="2018-04-20T14:32:27.223" v="1952" actId="1038"/>
          <ac:spMkLst>
            <pc:docMk/>
            <pc:sldMk cId="810544759" sldId="1648"/>
            <ac:spMk id="6" creationId="{1C06A2B4-87ED-4F9F-8B6D-9848AD55E883}"/>
          </ac:spMkLst>
        </pc:spChg>
      </pc:sldChg>
      <pc:sldChg chg="modSp add">
        <pc:chgData name="Lace Lofranco" userId="1515141e-a2ed-4ab4-a66f-6db2dda82fd4" providerId="ADAL" clId="{493B25E7-64DB-4C9E-8CFB-AC78AEDEF5A2}" dt="2018-04-20T14:32:49.534" v="1991" actId="20577"/>
        <pc:sldMkLst>
          <pc:docMk/>
          <pc:sldMk cId="1547623231" sldId="1649"/>
        </pc:sldMkLst>
        <pc:spChg chg="mod">
          <ac:chgData name="Lace Lofranco" userId="1515141e-a2ed-4ab4-a66f-6db2dda82fd4" providerId="ADAL" clId="{493B25E7-64DB-4C9E-8CFB-AC78AEDEF5A2}" dt="2018-04-20T14:32:49.534" v="1991" actId="20577"/>
          <ac:spMkLst>
            <pc:docMk/>
            <pc:sldMk cId="1547623231" sldId="1649"/>
            <ac:spMk id="3" creationId="{D7FFB026-E224-4BE1-A937-2F5134739DF2}"/>
          </ac:spMkLst>
        </pc:spChg>
      </pc:sldChg>
      <pc:sldChg chg="modSp add ord">
        <pc:chgData name="Lace Lofranco" userId="1515141e-a2ed-4ab4-a66f-6db2dda82fd4" providerId="ADAL" clId="{493B25E7-64DB-4C9E-8CFB-AC78AEDEF5A2}" dt="2018-04-20T14:32:02.404" v="1947" actId="20577"/>
        <pc:sldMkLst>
          <pc:docMk/>
          <pc:sldMk cId="1695353434" sldId="1650"/>
        </pc:sldMkLst>
        <pc:spChg chg="mod">
          <ac:chgData name="Lace Lofranco" userId="1515141e-a2ed-4ab4-a66f-6db2dda82fd4" providerId="ADAL" clId="{493B25E7-64DB-4C9E-8CFB-AC78AEDEF5A2}" dt="2018-04-20T14:31:25.374" v="1858" actId="20577"/>
          <ac:spMkLst>
            <pc:docMk/>
            <pc:sldMk cId="1695353434" sldId="1650"/>
            <ac:spMk id="2" creationId="{318B7882-F72D-49C8-96E0-C98C471993DB}"/>
          </ac:spMkLst>
        </pc:spChg>
        <pc:spChg chg="mod">
          <ac:chgData name="Lace Lofranco" userId="1515141e-a2ed-4ab4-a66f-6db2dda82fd4" providerId="ADAL" clId="{493B25E7-64DB-4C9E-8CFB-AC78AEDEF5A2}" dt="2018-04-20T14:32:02.404" v="1947" actId="20577"/>
          <ac:spMkLst>
            <pc:docMk/>
            <pc:sldMk cId="1695353434" sldId="1650"/>
            <ac:spMk id="3" creationId="{592C5456-7C93-4E29-B1CC-E151E50FFA3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4/20/2018 11:2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4/20/2018 11:2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youtube.com/embed/MXI0F8zfKGI"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www.youtube.com/embed/srI9yNOAbU0" TargetMode="External"/><Relationship Id="rId5" Type="http://schemas.openxmlformats.org/officeDocument/2006/relationships/hyperlink" Target="http://www.youtube.com/embed/2-imke2vDs8" TargetMode="External"/><Relationship Id="rId4" Type="http://schemas.openxmlformats.org/officeDocument/2006/relationships/hyperlink" Target="https://docs.azuredatabricks.net/user-guide/tables.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youtube.com/embed/MXI0F8zfKGI"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www.youtube.com/embed/srI9yNOAbU0" TargetMode="External"/><Relationship Id="rId5" Type="http://schemas.openxmlformats.org/officeDocument/2006/relationships/hyperlink" Target="http://www.youtube.com/embed/2-imke2vDs8" TargetMode="External"/><Relationship Id="rId4" Type="http://schemas.openxmlformats.org/officeDocument/2006/relationships/hyperlink" Target="https://docs.azuredatabricks.net/user-guide/tables.html"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900406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r>
              <a:rPr lang="en-AU" b="1" dirty="0"/>
              <a:t>Talking Point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AU" dirty="0"/>
              <a:t>Two types of operations: Transformation and Actions</a:t>
            </a:r>
            <a:endParaRPr lang="en-AU" b="1" dirty="0"/>
          </a:p>
          <a:p>
            <a:pPr marL="171450" indent="-171450">
              <a:buFontTx/>
              <a:buChar char="-"/>
            </a:pPr>
            <a:r>
              <a:rPr lang="en-AU" dirty="0"/>
              <a:t>RDDs are </a:t>
            </a:r>
            <a:r>
              <a:rPr lang="en-AU" u="sng" dirty="0"/>
              <a:t>immutable</a:t>
            </a:r>
            <a:r>
              <a:rPr lang="en-AU" dirty="0"/>
              <a:t>.</a:t>
            </a:r>
          </a:p>
          <a:p>
            <a:pPr marL="388712" lvl="1" indent="-171450">
              <a:buFontTx/>
              <a:buChar char="-"/>
            </a:pPr>
            <a:r>
              <a:rPr lang="en-AU" dirty="0"/>
              <a:t>Apply transformation to produce a new RDD</a:t>
            </a:r>
          </a:p>
          <a:p>
            <a:pPr marL="388712" lvl="1" indent="-171450">
              <a:buFontTx/>
              <a:buChar char="-"/>
            </a:pPr>
            <a:r>
              <a:rPr lang="en-AU" dirty="0"/>
              <a:t>Good property for easily distributable (functional style)</a:t>
            </a:r>
          </a:p>
          <a:p>
            <a:pPr marL="171450" lvl="0" indent="-171450">
              <a:buFontTx/>
              <a:buChar char="-"/>
            </a:pPr>
            <a:r>
              <a:rPr lang="en-AU" dirty="0"/>
              <a:t>Spark is lazy</a:t>
            </a:r>
          </a:p>
          <a:p>
            <a:pPr marL="388712" lvl="1" indent="-171450">
              <a:buFontTx/>
              <a:buChar char="-"/>
            </a:pPr>
            <a:r>
              <a:rPr lang="en-AU" dirty="0"/>
              <a:t>Transformations don’t trigger job, till an action</a:t>
            </a:r>
          </a:p>
          <a:p>
            <a:pPr marL="171450" indent="-171450">
              <a:buFontTx/>
              <a:buChar char="-"/>
            </a:pPr>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216538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r>
              <a:rPr lang="en-AU" b="1" dirty="0"/>
              <a:t>Talking Point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AU" dirty="0"/>
              <a:t>Two types of operations: Transformation and Actions</a:t>
            </a:r>
            <a:endParaRPr lang="en-AU" b="1" dirty="0"/>
          </a:p>
          <a:p>
            <a:pPr marL="171450" indent="-171450">
              <a:buFontTx/>
              <a:buChar char="-"/>
            </a:pPr>
            <a:r>
              <a:rPr lang="en-AU" dirty="0"/>
              <a:t>RDDs are </a:t>
            </a:r>
            <a:r>
              <a:rPr lang="en-AU" u="sng" dirty="0"/>
              <a:t>immutable</a:t>
            </a:r>
            <a:r>
              <a:rPr lang="en-AU" dirty="0"/>
              <a:t>.</a:t>
            </a:r>
          </a:p>
          <a:p>
            <a:pPr marL="388712" lvl="1" indent="-171450">
              <a:buFontTx/>
              <a:buChar char="-"/>
            </a:pPr>
            <a:r>
              <a:rPr lang="en-AU" dirty="0"/>
              <a:t>Apply transformation to produce a new RDD</a:t>
            </a:r>
          </a:p>
          <a:p>
            <a:pPr marL="388712" lvl="1" indent="-171450">
              <a:buFontTx/>
              <a:buChar char="-"/>
            </a:pPr>
            <a:r>
              <a:rPr lang="en-AU" dirty="0"/>
              <a:t>Good property for easily distributable (functional style)</a:t>
            </a:r>
          </a:p>
          <a:p>
            <a:pPr marL="171450" lvl="0" indent="-171450">
              <a:buFontTx/>
              <a:buChar char="-"/>
            </a:pPr>
            <a:r>
              <a:rPr lang="en-AU" dirty="0"/>
              <a:t>Spark is lazy</a:t>
            </a:r>
          </a:p>
          <a:p>
            <a:pPr marL="388712" lvl="1" indent="-171450">
              <a:buFontTx/>
              <a:buChar char="-"/>
            </a:pPr>
            <a:r>
              <a:rPr lang="en-AU" dirty="0"/>
              <a:t>Transformations don’t trigger job, till an action</a:t>
            </a:r>
          </a:p>
          <a:p>
            <a:pPr marL="171450" indent="-171450">
              <a:buFontTx/>
              <a:buChar char="-"/>
            </a:pPr>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539251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Objective: </a:t>
            </a:r>
            <a:r>
              <a:rPr lang="en-AU" dirty="0"/>
              <a:t>Describe a running spark application</a:t>
            </a:r>
          </a:p>
          <a:p>
            <a:endParaRPr lang="en-AU" dirty="0"/>
          </a:p>
          <a:p>
            <a:r>
              <a:rPr lang="en-AU" b="1" dirty="0"/>
              <a:t>Talking points:</a:t>
            </a:r>
          </a:p>
          <a:p>
            <a:pPr marL="171450" indent="-171450">
              <a:buFontTx/>
              <a:buChar char="-"/>
            </a:pPr>
            <a:r>
              <a:rPr lang="en-AU" dirty="0" err="1"/>
              <a:t>SparkSession</a:t>
            </a:r>
            <a:r>
              <a:rPr lang="en-AU" dirty="0"/>
              <a:t> </a:t>
            </a:r>
          </a:p>
          <a:p>
            <a:pPr marL="171450" indent="-171450">
              <a:buFontTx/>
              <a:buChar char="-"/>
            </a:pPr>
            <a:r>
              <a:rPr lang="en-AU" b="1" dirty="0"/>
              <a:t>Driver</a:t>
            </a:r>
            <a:r>
              <a:rPr lang="en-AU" dirty="0"/>
              <a:t> – heart of Spark app</a:t>
            </a:r>
          </a:p>
          <a:p>
            <a:pPr marL="388712" marR="0" lvl="1" indent="-171450" algn="l" defTabSz="932742" rtl="0" eaLnBrk="1" fontAlgn="auto" latinLnBrk="0" hangingPunct="1">
              <a:lnSpc>
                <a:spcPct val="90000"/>
              </a:lnSpc>
              <a:spcBef>
                <a:spcPts val="0"/>
              </a:spcBef>
              <a:spcAft>
                <a:spcPts val="340"/>
              </a:spcAft>
              <a:buClrTx/>
              <a:buSzTx/>
              <a:buFontTx/>
              <a:buChar char="-"/>
              <a:tabLst/>
              <a:defRPr/>
            </a:pPr>
            <a:r>
              <a:rPr lang="en-AU" dirty="0"/>
              <a:t>Responding to user’s program or input</a:t>
            </a:r>
          </a:p>
          <a:p>
            <a:pPr marL="388712" lvl="1" indent="-171450">
              <a:buFontTx/>
              <a:buChar char="-"/>
            </a:pPr>
            <a:r>
              <a:rPr lang="en-AU" dirty="0" err="1"/>
              <a:t>Maintaning</a:t>
            </a:r>
            <a:r>
              <a:rPr lang="en-AU" dirty="0"/>
              <a:t> info about spark app</a:t>
            </a:r>
          </a:p>
          <a:p>
            <a:pPr marL="388712" lvl="1" indent="-171450">
              <a:buFontTx/>
              <a:buChar char="-"/>
            </a:pPr>
            <a:r>
              <a:rPr lang="en-AU" dirty="0" err="1"/>
              <a:t>Analyze</a:t>
            </a:r>
            <a:r>
              <a:rPr lang="en-AU" dirty="0"/>
              <a:t>, distribute, schedule work across executors</a:t>
            </a:r>
          </a:p>
          <a:p>
            <a:pPr marL="171450" lvl="0" indent="-171450">
              <a:buFontTx/>
              <a:buChar char="-"/>
            </a:pPr>
            <a:r>
              <a:rPr lang="en-AU" b="1" dirty="0"/>
              <a:t>Executors</a:t>
            </a:r>
          </a:p>
          <a:p>
            <a:pPr marL="388712" lvl="1" indent="-171450">
              <a:buFontTx/>
              <a:buChar char="-"/>
            </a:pPr>
            <a:r>
              <a:rPr lang="en-AU" dirty="0"/>
              <a:t>Doing actual work assigned by driver</a:t>
            </a:r>
          </a:p>
          <a:p>
            <a:pPr marL="388712" lvl="1" indent="-171450">
              <a:buFontTx/>
              <a:buChar char="-"/>
            </a:pPr>
            <a:r>
              <a:rPr lang="en-AU" dirty="0"/>
              <a:t>Reporting back to driver</a:t>
            </a:r>
          </a:p>
          <a:p>
            <a:pPr marL="171450" indent="-171450">
              <a:buFontTx/>
              <a:buChar char="-"/>
            </a:pPr>
            <a:r>
              <a:rPr lang="en-AU" b="1" dirty="0"/>
              <a:t>Cluster manager</a:t>
            </a:r>
          </a:p>
          <a:p>
            <a:pPr marL="388712" lvl="1" indent="-171450">
              <a:buFontTx/>
              <a:buChar char="-"/>
            </a:pPr>
            <a:r>
              <a:rPr lang="en-AU" dirty="0"/>
              <a:t>Spark can use three difference cluster managers (including built in Spark cluster manager)</a:t>
            </a:r>
          </a:p>
          <a:p>
            <a:pPr marL="388712" lvl="1" indent="-171450">
              <a:buFontTx/>
              <a:buChar char="-"/>
            </a:pPr>
            <a:r>
              <a:rPr lang="en-AU" dirty="0"/>
              <a:t>Cluster Managers manage actual resources</a:t>
            </a:r>
          </a:p>
          <a:p>
            <a:pPr marL="171450" lvl="0" indent="-171450">
              <a:buFontTx/>
              <a:buChar char="-"/>
            </a:pPr>
            <a:r>
              <a:rPr lang="en-AU" u="sng" dirty="0"/>
              <a:t>CAREFUL with collect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61523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135671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AU" sz="900" b="1" dirty="0"/>
              <a:t>Fun fact: </a:t>
            </a:r>
            <a:r>
              <a:rPr lang="en-AU" sz="900" dirty="0"/>
              <a:t>Employees of Databricks have written over 75% of the code in Apache Spark</a:t>
            </a:r>
          </a:p>
          <a:p>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96686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Show how easy it is to get started </a:t>
            </a:r>
          </a:p>
          <a:p>
            <a:r>
              <a:rPr lang="en-US" dirty="0"/>
              <a:t>- Create Databricks workspace</a:t>
            </a:r>
          </a:p>
          <a:p>
            <a:r>
              <a:rPr lang="en-US" dirty="0"/>
              <a:t>- Create a spark cluster</a:t>
            </a:r>
          </a:p>
          <a:p>
            <a:pPr marL="171450" indent="-171450">
              <a:buFontTx/>
              <a:buChar char="-"/>
            </a:pPr>
            <a:r>
              <a:rPr lang="en-US" dirty="0"/>
              <a:t>Create a notebook</a:t>
            </a:r>
          </a:p>
          <a:p>
            <a:pPr marL="171450" indent="-171450">
              <a:buFontTx/>
              <a:buChar char="-"/>
            </a:pPr>
            <a:r>
              <a:rPr lang="en-US" dirty="0"/>
              <a:t>Import notebook: https://databricks.com/resources/type/example-notebooks</a:t>
            </a:r>
          </a:p>
          <a:p>
            <a:pPr marL="171450" indent="-171450">
              <a:buFontTx/>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176540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a small fraction of real-world ML systems is composed of the ML code, as shown by the small black box in the middle. The required surrounding infrastructure is vast and complex.</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7470336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864E82-B42A-F64E-B04D-3584A85182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98A0CFA5-4C4D-4495-8CF7-165E97EF7111}"/>
              </a:ext>
            </a:extLst>
          </p:cNvPr>
          <p:cNvSpPr>
            <a:spLocks noGrp="1"/>
          </p:cNvSpPr>
          <p:nvPr>
            <p:ph type="body" idx="1"/>
          </p:nvPr>
        </p:nvSpPr>
        <p:spPr/>
        <p:txBody>
          <a:bodyPr/>
          <a:lstStyle/>
          <a:p>
            <a:r>
              <a:rPr lang="en-US" b="1" dirty="0"/>
              <a:t>OBJECTIVE: </a:t>
            </a:r>
            <a:r>
              <a:rPr lang="en-US" b="0" dirty="0"/>
              <a:t>Databricks makes the infrastructure (from earlier slide) around ML easier</a:t>
            </a:r>
          </a:p>
          <a:p>
            <a:endParaRPr lang="en-US" b="0" dirty="0"/>
          </a:p>
          <a:p>
            <a:pPr marL="171450" indent="-171450">
              <a:buFontTx/>
              <a:buChar char="-"/>
            </a:pPr>
            <a:r>
              <a:rPr lang="en-US" dirty="0"/>
              <a:t>Unified computing platform</a:t>
            </a:r>
          </a:p>
          <a:p>
            <a:pPr marL="171450" indent="-171450">
              <a:buFontTx/>
              <a:buChar char="-"/>
            </a:pPr>
            <a:r>
              <a:rPr lang="en-US" dirty="0"/>
              <a:t>Not only does it provide an optimized and manage Spark runtime engine</a:t>
            </a:r>
          </a:p>
          <a:p>
            <a:pPr marL="171450" indent="-171450">
              <a:buFontTx/>
              <a:buChar char="-"/>
            </a:pPr>
            <a:r>
              <a:rPr lang="en-US" dirty="0"/>
              <a:t>Also:</a:t>
            </a:r>
          </a:p>
          <a:p>
            <a:pPr marL="388712" lvl="1" indent="-171450">
              <a:buFontTx/>
              <a:buChar char="-"/>
            </a:pPr>
            <a:r>
              <a:rPr lang="en-US" dirty="0"/>
              <a:t>Collaborative workspace</a:t>
            </a:r>
          </a:p>
          <a:p>
            <a:pPr marL="388712" lvl="1" indent="-171450">
              <a:buFontTx/>
              <a:buChar char="-"/>
            </a:pPr>
            <a:r>
              <a:rPr lang="en-US" dirty="0"/>
              <a:t>Tools to productionize</a:t>
            </a:r>
          </a:p>
        </p:txBody>
      </p:sp>
    </p:spTree>
    <p:extLst>
      <p:ext uri="{BB962C8B-B14F-4D97-AF65-F5344CB8AC3E}">
        <p14:creationId xmlns:p14="http://schemas.microsoft.com/office/powerpoint/2010/main" val="1496083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tight azure integrati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969771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Workspac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Workspaces allow you to organize all the work that you are doing on Databricks. Like a folder structure in your computer, it allows you to sav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and share them with other users. Workspaces are not connected to data and should not be used to store data. They're simply for you to store th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that you use to operate on and manipulate your data with.</a:t>
            </a:r>
          </a:p>
          <a:p>
            <a:r>
              <a:rPr lang="en-US" sz="900" b="1" i="0" kern="1200" dirty="0">
                <a:solidFill>
                  <a:schemeClr val="tx1"/>
                </a:solidFill>
                <a:effectLst/>
                <a:latin typeface="Segoe UI Light" pitchFamily="34" charset="0"/>
                <a:ea typeface="+mn-ea"/>
                <a:cs typeface="+mn-cs"/>
              </a:rPr>
              <a:t>Notebook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Notebooks are a set of any number of cells that allow you to execute commands. Cells hold code in any of the following languages: Scala, Python, R, SQL, or Markdown. Notebooks have a default language, but each cell can have a language override to another language. This is done by including %[language name] at the top of the cell. For instance %python. We'll see this feature shortly.</a:t>
            </a:r>
          </a:p>
          <a:p>
            <a:pPr lvl="1"/>
            <a:r>
              <a:rPr lang="en-US" sz="900" b="0" i="0" kern="1200" dirty="0">
                <a:solidFill>
                  <a:schemeClr val="tx1"/>
                </a:solidFill>
                <a:effectLst/>
                <a:latin typeface="Segoe UI Light" pitchFamily="34" charset="0"/>
                <a:ea typeface="+mn-ea"/>
                <a:cs typeface="+mn-cs"/>
              </a:rPr>
              <a:t>Notebooks need to be connected to a </a:t>
            </a:r>
            <a:r>
              <a:rPr lang="en-US" sz="900" b="1" i="0" kern="1200" dirty="0">
                <a:solidFill>
                  <a:schemeClr val="tx1"/>
                </a:solidFill>
                <a:effectLst/>
                <a:latin typeface="Segoe UI Light" pitchFamily="34" charset="0"/>
                <a:ea typeface="+mn-ea"/>
                <a:cs typeface="+mn-cs"/>
              </a:rPr>
              <a:t>cluster</a:t>
            </a:r>
            <a:r>
              <a:rPr lang="en-US" sz="900" b="0" i="0" kern="1200" dirty="0">
                <a:solidFill>
                  <a:schemeClr val="tx1"/>
                </a:solidFill>
                <a:effectLst/>
                <a:latin typeface="Segoe UI Light" pitchFamily="34" charset="0"/>
                <a:ea typeface="+mn-ea"/>
                <a:cs typeface="+mn-cs"/>
              </a:rPr>
              <a:t> in order to be able to execute commands however they are not permanently tied to a cluster. This allows notebooks to be shared via the web or downloaded onto your local machine.</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3"/>
              </a:rPr>
              <a:t>Notebooks</a:t>
            </a:r>
            <a:r>
              <a:rPr lang="en-US" sz="900" b="0" i="0" kern="1200" dirty="0">
                <a:solidFill>
                  <a:schemeClr val="tx1"/>
                </a:solidFill>
                <a:effectLst/>
                <a:latin typeface="Segoe UI Light" pitchFamily="34" charset="0"/>
                <a:ea typeface="+mn-ea"/>
                <a:cs typeface="+mn-cs"/>
              </a:rPr>
              <a:t>.</a:t>
            </a:r>
          </a:p>
          <a:p>
            <a:pPr lvl="1"/>
            <a:r>
              <a:rPr lang="en-US" sz="900" b="1" i="0" kern="1200" dirty="0">
                <a:solidFill>
                  <a:schemeClr val="tx1"/>
                </a:solidFill>
                <a:effectLst/>
                <a:latin typeface="Segoe UI Light" pitchFamily="34" charset="0"/>
                <a:ea typeface="+mn-ea"/>
                <a:cs typeface="+mn-cs"/>
              </a:rPr>
              <a:t>Dashboards</a:t>
            </a:r>
            <a:endParaRPr lang="en-US" sz="900" b="0" i="0" kern="1200" dirty="0">
              <a:solidFill>
                <a:schemeClr val="tx1"/>
              </a:solidFill>
              <a:effectLst/>
              <a:latin typeface="Segoe UI Light" pitchFamily="34" charset="0"/>
              <a:ea typeface="+mn-ea"/>
              <a:cs typeface="+mn-cs"/>
            </a:endParaRPr>
          </a:p>
          <a:p>
            <a:pPr lvl="2"/>
            <a:r>
              <a:rPr lang="en-US" sz="900" b="1" i="0" kern="1200" dirty="0">
                <a:solidFill>
                  <a:schemeClr val="tx1"/>
                </a:solidFill>
                <a:effectLst/>
                <a:latin typeface="Segoe UI Light" pitchFamily="34" charset="0"/>
                <a:ea typeface="+mn-ea"/>
                <a:cs typeface="+mn-cs"/>
              </a:rPr>
              <a:t>Dashboards</a:t>
            </a:r>
            <a:r>
              <a:rPr lang="en-US" sz="900" b="0" i="0" kern="1200" dirty="0">
                <a:solidFill>
                  <a:schemeClr val="tx1"/>
                </a:solidFill>
                <a:effectLst/>
                <a:latin typeface="Segoe UI Light" pitchFamily="34" charset="0"/>
                <a:ea typeface="+mn-ea"/>
                <a:cs typeface="+mn-cs"/>
              </a:rPr>
              <a:t> can be created from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s a way of displaying the output of cells without the code that generates them.</a:t>
            </a:r>
          </a:p>
          <a:p>
            <a:pPr lvl="1"/>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can also be scheduled as </a:t>
            </a:r>
            <a:r>
              <a:rPr lang="en-US" sz="900" b="1" i="0" kern="1200" dirty="0">
                <a:solidFill>
                  <a:schemeClr val="tx1"/>
                </a:solidFill>
                <a:effectLst/>
                <a:latin typeface="Segoe UI Light" pitchFamily="34" charset="0"/>
                <a:ea typeface="+mn-ea"/>
                <a:cs typeface="+mn-cs"/>
              </a:rPr>
              <a:t>jobs</a:t>
            </a:r>
            <a:r>
              <a:rPr lang="en-US" sz="900" b="0" i="0" kern="1200" dirty="0">
                <a:solidFill>
                  <a:schemeClr val="tx1"/>
                </a:solidFill>
                <a:effectLst/>
                <a:latin typeface="Segoe UI Light" pitchFamily="34" charset="0"/>
                <a:ea typeface="+mn-ea"/>
                <a:cs typeface="+mn-cs"/>
              </a:rPr>
              <a:t> in one click either to run a data pipeline, update a machine learning model, or update a dashboard.</a:t>
            </a:r>
          </a:p>
          <a:p>
            <a:r>
              <a:rPr lang="en-US" sz="900" b="1" i="0" kern="1200" dirty="0">
                <a:solidFill>
                  <a:schemeClr val="tx1"/>
                </a:solidFill>
                <a:effectLst/>
                <a:latin typeface="Segoe UI Light" pitchFamily="34" charset="0"/>
                <a:ea typeface="+mn-ea"/>
                <a:cs typeface="+mn-cs"/>
              </a:rPr>
              <a:t>Librari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Libraries are packages or modules that provide additional functionality that you need to solve your business problems. These may be custom written Scala or Java jars; Python eggs or custom written packages. You can write and upload these manually or you may install them directly via package management utilities like </a:t>
            </a:r>
            <a:r>
              <a:rPr lang="en-US" sz="900" b="0" i="0" kern="1200" dirty="0" err="1">
                <a:solidFill>
                  <a:schemeClr val="tx1"/>
                </a:solidFill>
                <a:effectLst/>
                <a:latin typeface="Segoe UI Light" pitchFamily="34" charset="0"/>
                <a:ea typeface="+mn-ea"/>
                <a:cs typeface="+mn-cs"/>
              </a:rPr>
              <a:t>pypi</a:t>
            </a:r>
            <a:r>
              <a:rPr lang="en-US" sz="900" b="0" i="0" kern="1200" dirty="0">
                <a:solidFill>
                  <a:schemeClr val="tx1"/>
                </a:solidFill>
                <a:effectLst/>
                <a:latin typeface="Segoe UI Light" pitchFamily="34" charset="0"/>
                <a:ea typeface="+mn-ea"/>
                <a:cs typeface="+mn-cs"/>
              </a:rPr>
              <a:t> or maven.</a:t>
            </a:r>
          </a:p>
          <a:p>
            <a:r>
              <a:rPr lang="en-US" sz="900" b="1" i="0" kern="1200" dirty="0">
                <a:solidFill>
                  <a:schemeClr val="tx1"/>
                </a:solidFill>
                <a:effectLst/>
                <a:latin typeface="Segoe UI Light" pitchFamily="34" charset="0"/>
                <a:ea typeface="+mn-ea"/>
                <a:cs typeface="+mn-cs"/>
              </a:rPr>
              <a:t>Tabl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Tables are structured data that you and your team will use for analysis. Tables can exist in several places. Tables can be stored in cloud storage, they can be stored on the cluster that you're currently using, or they can be cached in memory. </a:t>
            </a:r>
            <a:r>
              <a:rPr lang="en-US" sz="900" b="0" i="0" u="none" strike="noStrike" kern="1200" dirty="0">
                <a:solidFill>
                  <a:schemeClr val="tx1"/>
                </a:solidFill>
                <a:effectLst/>
                <a:latin typeface="Segoe UI Light" pitchFamily="34" charset="0"/>
                <a:ea typeface="+mn-ea"/>
                <a:cs typeface="+mn-cs"/>
                <a:hlinkClick r:id="rId4"/>
              </a:rPr>
              <a:t>For more about tables see the documentation</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Cluster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Clusters are groups of computers that you treat as a single computer. In Databricks, this means that you can effectively treat 20 computers as you might treat one computer. Clusters allow you to execute code from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or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on set of data. That data may be raw data located on cloud storage or structured data that you uploaded as a </a:t>
            </a:r>
            <a:r>
              <a:rPr lang="en-US" sz="900" b="1" i="0" kern="1200" dirty="0">
                <a:solidFill>
                  <a:schemeClr val="tx1"/>
                </a:solidFill>
                <a:effectLst/>
                <a:latin typeface="Segoe UI Light" pitchFamily="34" charset="0"/>
                <a:ea typeface="+mn-ea"/>
                <a:cs typeface="+mn-cs"/>
              </a:rPr>
              <a:t>table</a:t>
            </a:r>
            <a:r>
              <a:rPr lang="en-US" sz="900" b="0" i="0" kern="1200" dirty="0">
                <a:solidFill>
                  <a:schemeClr val="tx1"/>
                </a:solidFill>
                <a:effectLst/>
                <a:latin typeface="Segoe UI Light" pitchFamily="34" charset="0"/>
                <a:ea typeface="+mn-ea"/>
                <a:cs typeface="+mn-cs"/>
              </a:rPr>
              <a:t> to the cluster you are working on.</a:t>
            </a:r>
          </a:p>
          <a:p>
            <a:pPr lvl="1"/>
            <a:r>
              <a:rPr lang="en-US" sz="900" b="0" i="0" kern="1200" dirty="0">
                <a:solidFill>
                  <a:schemeClr val="tx1"/>
                </a:solidFill>
                <a:effectLst/>
                <a:latin typeface="Segoe UI Light" pitchFamily="34" charset="0"/>
                <a:ea typeface="+mn-ea"/>
                <a:cs typeface="+mn-cs"/>
              </a:rPr>
              <a:t>It is important to note that clusters have access controls to control who has access to each cluster.</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5"/>
              </a:rPr>
              <a:t>Clusters</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Job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Jobs are the tool by which you can schedule execution to occur either on an already existing </a:t>
            </a:r>
            <a:r>
              <a:rPr lang="en-US" sz="900" b="1" i="0" kern="1200" dirty="0">
                <a:solidFill>
                  <a:schemeClr val="tx1"/>
                </a:solidFill>
                <a:effectLst/>
                <a:latin typeface="Segoe UI Light" pitchFamily="34" charset="0"/>
                <a:ea typeface="+mn-ea"/>
                <a:cs typeface="+mn-cs"/>
              </a:rPr>
              <a:t>cluster</a:t>
            </a:r>
            <a:r>
              <a:rPr lang="en-US" sz="900" b="0" i="0" kern="1200" dirty="0">
                <a:solidFill>
                  <a:schemeClr val="tx1"/>
                </a:solidFill>
                <a:effectLst/>
                <a:latin typeface="Segoe UI Light" pitchFamily="34" charset="0"/>
                <a:ea typeface="+mn-ea"/>
                <a:cs typeface="+mn-cs"/>
              </a:rPr>
              <a:t> or a cluster of its own. These can b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s well as jars or Python scripts. They can be created either manually or via the REST API.</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6"/>
              </a:rPr>
              <a:t>Jobs</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App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Apps are third party integrations with the Databricks platform. These include applications like Tableau.</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980056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580952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i="0" kern="1200" dirty="0">
                <a:solidFill>
                  <a:schemeClr val="tx1"/>
                </a:solidFill>
                <a:effectLst/>
                <a:latin typeface="Segoe UI Light" pitchFamily="34" charset="0"/>
                <a:ea typeface="+mn-ea"/>
                <a:cs typeface="+mn-cs"/>
              </a:rPr>
              <a:t>Workspac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Workspaces allow you to organize all the work that you are doing on Databricks. Like a folder structure in your computer, it allows you to sav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and share them with other users. Workspaces are not connected to data and should not be used to store data. They're simply for you to store th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that you use to operate on and manipulate your data with.</a:t>
            </a:r>
          </a:p>
          <a:p>
            <a:r>
              <a:rPr lang="en-US" sz="900" b="1" i="0" kern="1200" dirty="0">
                <a:solidFill>
                  <a:schemeClr val="tx1"/>
                </a:solidFill>
                <a:effectLst/>
                <a:latin typeface="Segoe UI Light" pitchFamily="34" charset="0"/>
                <a:ea typeface="+mn-ea"/>
                <a:cs typeface="+mn-cs"/>
              </a:rPr>
              <a:t>Notebook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Notebooks are a set of any number of cells that allow you to execute commands. Cells hold code in any of the following languages: Scala, Python, R, SQL, or Markdown. Notebooks have a default language, but each cell can have a language override to another language. This is done by including %[language name] at the top of the cell. For instance %python. We'll see this feature shortly.</a:t>
            </a:r>
          </a:p>
          <a:p>
            <a:pPr lvl="1"/>
            <a:r>
              <a:rPr lang="en-US" sz="900" b="0" i="0" kern="1200" dirty="0">
                <a:solidFill>
                  <a:schemeClr val="tx1"/>
                </a:solidFill>
                <a:effectLst/>
                <a:latin typeface="Segoe UI Light" pitchFamily="34" charset="0"/>
                <a:ea typeface="+mn-ea"/>
                <a:cs typeface="+mn-cs"/>
              </a:rPr>
              <a:t>Notebooks need to be connected to a </a:t>
            </a:r>
            <a:r>
              <a:rPr lang="en-US" sz="900" b="1" i="0" kern="1200" dirty="0">
                <a:solidFill>
                  <a:schemeClr val="tx1"/>
                </a:solidFill>
                <a:effectLst/>
                <a:latin typeface="Segoe UI Light" pitchFamily="34" charset="0"/>
                <a:ea typeface="+mn-ea"/>
                <a:cs typeface="+mn-cs"/>
              </a:rPr>
              <a:t>cluster</a:t>
            </a:r>
            <a:r>
              <a:rPr lang="en-US" sz="900" b="0" i="0" kern="1200" dirty="0">
                <a:solidFill>
                  <a:schemeClr val="tx1"/>
                </a:solidFill>
                <a:effectLst/>
                <a:latin typeface="Segoe UI Light" pitchFamily="34" charset="0"/>
                <a:ea typeface="+mn-ea"/>
                <a:cs typeface="+mn-cs"/>
              </a:rPr>
              <a:t> in order to be able to execute commands however they are not permanently tied to a cluster. This allows notebooks to be shared via the web or downloaded onto your local machine.</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3"/>
              </a:rPr>
              <a:t>Notebooks</a:t>
            </a:r>
            <a:r>
              <a:rPr lang="en-US" sz="900" b="0" i="0" kern="1200" dirty="0">
                <a:solidFill>
                  <a:schemeClr val="tx1"/>
                </a:solidFill>
                <a:effectLst/>
                <a:latin typeface="Segoe UI Light" pitchFamily="34" charset="0"/>
                <a:ea typeface="+mn-ea"/>
                <a:cs typeface="+mn-cs"/>
              </a:rPr>
              <a:t>.</a:t>
            </a:r>
          </a:p>
          <a:p>
            <a:pPr lvl="1"/>
            <a:r>
              <a:rPr lang="en-US" sz="900" b="1" i="0" kern="1200" dirty="0">
                <a:solidFill>
                  <a:schemeClr val="tx1"/>
                </a:solidFill>
                <a:effectLst/>
                <a:latin typeface="Segoe UI Light" pitchFamily="34" charset="0"/>
                <a:ea typeface="+mn-ea"/>
                <a:cs typeface="+mn-cs"/>
              </a:rPr>
              <a:t>Dashboards</a:t>
            </a:r>
            <a:endParaRPr lang="en-US" sz="900" b="0" i="0" kern="1200" dirty="0">
              <a:solidFill>
                <a:schemeClr val="tx1"/>
              </a:solidFill>
              <a:effectLst/>
              <a:latin typeface="Segoe UI Light" pitchFamily="34" charset="0"/>
              <a:ea typeface="+mn-ea"/>
              <a:cs typeface="+mn-cs"/>
            </a:endParaRPr>
          </a:p>
          <a:p>
            <a:pPr lvl="2"/>
            <a:r>
              <a:rPr lang="en-US" sz="900" b="1" i="0" kern="1200" dirty="0">
                <a:solidFill>
                  <a:schemeClr val="tx1"/>
                </a:solidFill>
                <a:effectLst/>
                <a:latin typeface="Segoe UI Light" pitchFamily="34" charset="0"/>
                <a:ea typeface="+mn-ea"/>
                <a:cs typeface="+mn-cs"/>
              </a:rPr>
              <a:t>Dashboards</a:t>
            </a:r>
            <a:r>
              <a:rPr lang="en-US" sz="900" b="0" i="0" kern="1200" dirty="0">
                <a:solidFill>
                  <a:schemeClr val="tx1"/>
                </a:solidFill>
                <a:effectLst/>
                <a:latin typeface="Segoe UI Light" pitchFamily="34" charset="0"/>
                <a:ea typeface="+mn-ea"/>
                <a:cs typeface="+mn-cs"/>
              </a:rPr>
              <a:t> can be created from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s a way of displaying the output of cells without the code that generates them.</a:t>
            </a:r>
          </a:p>
          <a:p>
            <a:pPr lvl="1"/>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can also be scheduled as </a:t>
            </a:r>
            <a:r>
              <a:rPr lang="en-US" sz="900" b="1" i="0" kern="1200" dirty="0">
                <a:solidFill>
                  <a:schemeClr val="tx1"/>
                </a:solidFill>
                <a:effectLst/>
                <a:latin typeface="Segoe UI Light" pitchFamily="34" charset="0"/>
                <a:ea typeface="+mn-ea"/>
                <a:cs typeface="+mn-cs"/>
              </a:rPr>
              <a:t>jobs</a:t>
            </a:r>
            <a:r>
              <a:rPr lang="en-US" sz="900" b="0" i="0" kern="1200" dirty="0">
                <a:solidFill>
                  <a:schemeClr val="tx1"/>
                </a:solidFill>
                <a:effectLst/>
                <a:latin typeface="Segoe UI Light" pitchFamily="34" charset="0"/>
                <a:ea typeface="+mn-ea"/>
                <a:cs typeface="+mn-cs"/>
              </a:rPr>
              <a:t> in one click either to run a data pipeline, update a machine learning model, or update a dashboard.</a:t>
            </a:r>
          </a:p>
          <a:p>
            <a:r>
              <a:rPr lang="en-US" sz="900" b="1" i="0" kern="1200" dirty="0">
                <a:solidFill>
                  <a:schemeClr val="tx1"/>
                </a:solidFill>
                <a:effectLst/>
                <a:latin typeface="Segoe UI Light" pitchFamily="34" charset="0"/>
                <a:ea typeface="+mn-ea"/>
                <a:cs typeface="+mn-cs"/>
              </a:rPr>
              <a:t>Librari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Libraries are packages or modules that provide additional functionality that you need to solve your business problems. These may be custom written Scala or Java jars; Python eggs or custom written packages. You can write and upload these manually or you may install them directly via package management utilities like </a:t>
            </a:r>
            <a:r>
              <a:rPr lang="en-US" sz="900" b="0" i="0" kern="1200" dirty="0" err="1">
                <a:solidFill>
                  <a:schemeClr val="tx1"/>
                </a:solidFill>
                <a:effectLst/>
                <a:latin typeface="Segoe UI Light" pitchFamily="34" charset="0"/>
                <a:ea typeface="+mn-ea"/>
                <a:cs typeface="+mn-cs"/>
              </a:rPr>
              <a:t>pypi</a:t>
            </a:r>
            <a:r>
              <a:rPr lang="en-US" sz="900" b="0" i="0" kern="1200" dirty="0">
                <a:solidFill>
                  <a:schemeClr val="tx1"/>
                </a:solidFill>
                <a:effectLst/>
                <a:latin typeface="Segoe UI Light" pitchFamily="34" charset="0"/>
                <a:ea typeface="+mn-ea"/>
                <a:cs typeface="+mn-cs"/>
              </a:rPr>
              <a:t> or maven.</a:t>
            </a:r>
          </a:p>
          <a:p>
            <a:r>
              <a:rPr lang="en-US" sz="900" b="1" i="0" kern="1200" dirty="0">
                <a:solidFill>
                  <a:schemeClr val="tx1"/>
                </a:solidFill>
                <a:effectLst/>
                <a:latin typeface="Segoe UI Light" pitchFamily="34" charset="0"/>
                <a:ea typeface="+mn-ea"/>
                <a:cs typeface="+mn-cs"/>
              </a:rPr>
              <a:t>Table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Tables are structured data that you and your team will use for analysis. Tables can exist in several places. Tables can be stored in cloud storage, they can be stored on the cluster that you're currently using, or they can be cached in memory. </a:t>
            </a:r>
            <a:r>
              <a:rPr lang="en-US" sz="900" b="0" i="0" u="none" strike="noStrike" kern="1200" dirty="0">
                <a:solidFill>
                  <a:schemeClr val="tx1"/>
                </a:solidFill>
                <a:effectLst/>
                <a:latin typeface="Segoe UI Light" pitchFamily="34" charset="0"/>
                <a:ea typeface="+mn-ea"/>
                <a:cs typeface="+mn-cs"/>
                <a:hlinkClick r:id="rId4"/>
              </a:rPr>
              <a:t>For more about tables see the documentation</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Cluster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Clusters are groups of computers that you treat as a single computer. In Databricks, this means that you can effectively treat 20 computers as you might treat one computer. Clusters allow you to execute code from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or </a:t>
            </a:r>
            <a:r>
              <a:rPr lang="en-US" sz="900" b="1" i="0" kern="1200" dirty="0">
                <a:solidFill>
                  <a:schemeClr val="tx1"/>
                </a:solidFill>
                <a:effectLst/>
                <a:latin typeface="Segoe UI Light" pitchFamily="34" charset="0"/>
                <a:ea typeface="+mn-ea"/>
                <a:cs typeface="+mn-cs"/>
              </a:rPr>
              <a:t>libraries</a:t>
            </a:r>
            <a:r>
              <a:rPr lang="en-US" sz="900" b="0" i="0" kern="1200" dirty="0">
                <a:solidFill>
                  <a:schemeClr val="tx1"/>
                </a:solidFill>
                <a:effectLst/>
                <a:latin typeface="Segoe UI Light" pitchFamily="34" charset="0"/>
                <a:ea typeface="+mn-ea"/>
                <a:cs typeface="+mn-cs"/>
              </a:rPr>
              <a:t> on set of data. That data may be raw data located on cloud storage or structured data that you uploaded as a </a:t>
            </a:r>
            <a:r>
              <a:rPr lang="en-US" sz="900" b="1" i="0" kern="1200" dirty="0">
                <a:solidFill>
                  <a:schemeClr val="tx1"/>
                </a:solidFill>
                <a:effectLst/>
                <a:latin typeface="Segoe UI Light" pitchFamily="34" charset="0"/>
                <a:ea typeface="+mn-ea"/>
                <a:cs typeface="+mn-cs"/>
              </a:rPr>
              <a:t>table</a:t>
            </a:r>
            <a:r>
              <a:rPr lang="en-US" sz="900" b="0" i="0" kern="1200" dirty="0">
                <a:solidFill>
                  <a:schemeClr val="tx1"/>
                </a:solidFill>
                <a:effectLst/>
                <a:latin typeface="Segoe UI Light" pitchFamily="34" charset="0"/>
                <a:ea typeface="+mn-ea"/>
                <a:cs typeface="+mn-cs"/>
              </a:rPr>
              <a:t> to the cluster you are working on.</a:t>
            </a:r>
          </a:p>
          <a:p>
            <a:pPr lvl="1"/>
            <a:r>
              <a:rPr lang="en-US" sz="900" b="0" i="0" kern="1200" dirty="0">
                <a:solidFill>
                  <a:schemeClr val="tx1"/>
                </a:solidFill>
                <a:effectLst/>
                <a:latin typeface="Segoe UI Light" pitchFamily="34" charset="0"/>
                <a:ea typeface="+mn-ea"/>
                <a:cs typeface="+mn-cs"/>
              </a:rPr>
              <a:t>It is important to note that clusters have access controls to control who has access to each cluster.</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5"/>
              </a:rPr>
              <a:t>Clusters</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Job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Jobs are the tool by which you can schedule execution to occur either on an already existing </a:t>
            </a:r>
            <a:r>
              <a:rPr lang="en-US" sz="900" b="1" i="0" kern="1200" dirty="0">
                <a:solidFill>
                  <a:schemeClr val="tx1"/>
                </a:solidFill>
                <a:effectLst/>
                <a:latin typeface="Segoe UI Light" pitchFamily="34" charset="0"/>
                <a:ea typeface="+mn-ea"/>
                <a:cs typeface="+mn-cs"/>
              </a:rPr>
              <a:t>cluster</a:t>
            </a:r>
            <a:r>
              <a:rPr lang="en-US" sz="900" b="0" i="0" kern="1200" dirty="0">
                <a:solidFill>
                  <a:schemeClr val="tx1"/>
                </a:solidFill>
                <a:effectLst/>
                <a:latin typeface="Segoe UI Light" pitchFamily="34" charset="0"/>
                <a:ea typeface="+mn-ea"/>
                <a:cs typeface="+mn-cs"/>
              </a:rPr>
              <a:t> or a cluster of its own. These can be </a:t>
            </a:r>
            <a:r>
              <a:rPr lang="en-US" sz="900" b="1" i="0" kern="1200" dirty="0">
                <a:solidFill>
                  <a:schemeClr val="tx1"/>
                </a:solidFill>
                <a:effectLst/>
                <a:latin typeface="Segoe UI Light" pitchFamily="34" charset="0"/>
                <a:ea typeface="+mn-ea"/>
                <a:cs typeface="+mn-cs"/>
              </a:rPr>
              <a:t>notebooks</a:t>
            </a:r>
            <a:r>
              <a:rPr lang="en-US" sz="900" b="0" i="0" kern="1200" dirty="0">
                <a:solidFill>
                  <a:schemeClr val="tx1"/>
                </a:solidFill>
                <a:effectLst/>
                <a:latin typeface="Segoe UI Light" pitchFamily="34" charset="0"/>
                <a:ea typeface="+mn-ea"/>
                <a:cs typeface="+mn-cs"/>
              </a:rPr>
              <a:t> as well as jars or Python scripts. They can be created either manually or via the REST API.</a:t>
            </a:r>
          </a:p>
          <a:p>
            <a:pPr lvl="1"/>
            <a:r>
              <a:rPr lang="en-US" sz="900" b="0" i="0" kern="1200" dirty="0">
                <a:solidFill>
                  <a:schemeClr val="tx1"/>
                </a:solidFill>
                <a:effectLst/>
                <a:latin typeface="Segoe UI Light" pitchFamily="34" charset="0"/>
                <a:ea typeface="+mn-ea"/>
                <a:cs typeface="+mn-cs"/>
              </a:rPr>
              <a:t>Here is a demonstration video of </a:t>
            </a:r>
            <a:r>
              <a:rPr lang="en-US" sz="900" b="0" i="0" u="none" strike="noStrike" kern="1200" dirty="0">
                <a:solidFill>
                  <a:schemeClr val="tx1"/>
                </a:solidFill>
                <a:effectLst/>
                <a:latin typeface="Segoe UI Light" pitchFamily="34" charset="0"/>
                <a:ea typeface="+mn-ea"/>
                <a:cs typeface="+mn-cs"/>
                <a:hlinkClick r:id="rId6"/>
              </a:rPr>
              <a:t>Jobs</a:t>
            </a:r>
            <a:r>
              <a:rPr lang="en-US" sz="900" b="0" i="0" kern="1200" dirty="0">
                <a:solidFill>
                  <a:schemeClr val="tx1"/>
                </a:solidFill>
                <a:effectLst/>
                <a:latin typeface="Segoe UI Light" pitchFamily="34" charset="0"/>
                <a:ea typeface="+mn-ea"/>
                <a:cs typeface="+mn-cs"/>
              </a:rPr>
              <a:t>.</a:t>
            </a:r>
          </a:p>
          <a:p>
            <a:r>
              <a:rPr lang="en-US" sz="900" b="1" i="0" kern="1200" dirty="0">
                <a:solidFill>
                  <a:schemeClr val="tx1"/>
                </a:solidFill>
                <a:effectLst/>
                <a:latin typeface="Segoe UI Light" pitchFamily="34" charset="0"/>
                <a:ea typeface="+mn-ea"/>
                <a:cs typeface="+mn-cs"/>
              </a:rPr>
              <a:t>Apps</a:t>
            </a:r>
            <a:endParaRPr lang="en-US" sz="900" b="0" i="0" kern="1200" dirty="0">
              <a:solidFill>
                <a:schemeClr val="tx1"/>
              </a:solidFill>
              <a:effectLst/>
              <a:latin typeface="Segoe UI Light" pitchFamily="34" charset="0"/>
              <a:ea typeface="+mn-ea"/>
              <a:cs typeface="+mn-cs"/>
            </a:endParaRPr>
          </a:p>
          <a:p>
            <a:pPr lvl="1"/>
            <a:r>
              <a:rPr lang="en-US" sz="900" b="0" i="0" kern="1200" dirty="0">
                <a:solidFill>
                  <a:schemeClr val="tx1"/>
                </a:solidFill>
                <a:effectLst/>
                <a:latin typeface="Segoe UI Light" pitchFamily="34" charset="0"/>
                <a:ea typeface="+mn-ea"/>
                <a:cs typeface="+mn-cs"/>
              </a:rPr>
              <a:t>Apps are third party integrations with the Databricks platform. These include applications like Tableau.</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3768718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Spark is computing engine, where does Databricks store the data?</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9810948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unt Blob Storage (WITHOUT SECRET API)</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8533738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9435129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664729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1746391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 a spark SQL notebook</a:t>
            </a:r>
          </a:p>
          <a:p>
            <a:r>
              <a:rPr lang="en-US" dirty="0"/>
              <a:t>Spark SQL, setup tabl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652286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1883200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2124815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ibraries (add event hub library and attach to cluster)</a:t>
            </a:r>
          </a:p>
          <a:p>
            <a:r>
              <a:rPr lang="en-US" dirty="0"/>
              <a:t>- Ingest data with Spark Streaming</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343294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835830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165997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9405795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est data with Spark Streaming</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170026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8499751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40047340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data engineer, no need to rewrite model… just load it</a:t>
            </a:r>
          </a:p>
          <a:p>
            <a:r>
              <a:rPr lang="en-US" dirty="0"/>
              <a:t>Creating an scheduling Job</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37731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9391706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9505931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data engineer, no need to rewrite model… just load it</a:t>
            </a:r>
          </a:p>
          <a:p>
            <a:r>
              <a:rPr lang="en-US" dirty="0"/>
              <a:t>Creating an scheduling Job</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1/2018 12: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22976755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3690225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Objective: </a:t>
            </a:r>
            <a:r>
              <a:rPr lang="en-AU" dirty="0"/>
              <a:t>Show </a:t>
            </a:r>
            <a:r>
              <a:rPr lang="en-AU" u="sng" dirty="0"/>
              <a:t>heterogenous</a:t>
            </a:r>
            <a:r>
              <a:rPr lang="en-AU" dirty="0"/>
              <a:t> set of tools in big data world</a:t>
            </a:r>
          </a:p>
          <a:p>
            <a:endParaRPr lang="en-AU" dirty="0"/>
          </a:p>
          <a:p>
            <a:pPr marL="171450" indent="-171450">
              <a:buFontTx/>
              <a:buChar char="-"/>
            </a:pPr>
            <a:r>
              <a:rPr lang="en-AU" dirty="0"/>
              <a:t>Slice of the big data ecosystem</a:t>
            </a:r>
          </a:p>
          <a:p>
            <a:pPr marL="171450" indent="-171450">
              <a:buFontTx/>
              <a:buChar char="-"/>
            </a:pPr>
            <a:r>
              <a:rPr lang="en-AU" dirty="0"/>
              <a:t>For</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9228927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555727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2328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900" b="0" i="0" u="none" strike="noStrike" kern="1200" dirty="0">
                <a:solidFill>
                  <a:schemeClr val="tx1"/>
                </a:solidFill>
                <a:effectLst/>
                <a:latin typeface="Segoe UI Light" pitchFamily="34" charset="0"/>
                <a:ea typeface="+mn-ea"/>
                <a:cs typeface="+mn-cs"/>
              </a:rPr>
              <a:t>Talking points:</a:t>
            </a:r>
          </a:p>
          <a:p>
            <a:pPr marL="171450" indent="-171450">
              <a:buFontTx/>
              <a:buChar char="-"/>
            </a:pPr>
            <a:r>
              <a:rPr lang="en-AU" sz="900" b="0" i="0" u="none" strike="noStrike" kern="1200" dirty="0">
                <a:solidFill>
                  <a:schemeClr val="tx1"/>
                </a:solidFill>
                <a:effectLst/>
                <a:latin typeface="Segoe UI Light" pitchFamily="34" charset="0"/>
                <a:ea typeface="+mn-ea"/>
                <a:cs typeface="+mn-cs"/>
              </a:rPr>
              <a:t>Unified. </a:t>
            </a:r>
          </a:p>
          <a:p>
            <a:pPr marL="171450" indent="-171450">
              <a:buFontTx/>
              <a:buChar char="-"/>
            </a:pPr>
            <a:r>
              <a:rPr lang="en-AU" sz="900" b="0" i="0" u="none" strike="noStrike" kern="1200" dirty="0">
                <a:solidFill>
                  <a:schemeClr val="tx1"/>
                </a:solidFill>
                <a:effectLst/>
                <a:latin typeface="Segoe UI Light" pitchFamily="34" charset="0"/>
                <a:ea typeface="+mn-ea"/>
                <a:cs typeface="+mn-cs"/>
              </a:rPr>
              <a:t>Computing engine. Not a storage solution (interfaces w/ existing storage)</a:t>
            </a:r>
          </a:p>
          <a:p>
            <a:pPr marL="171450" indent="-171450">
              <a:buFontTx/>
              <a:buChar char="-"/>
            </a:pPr>
            <a:r>
              <a:rPr lang="en-AU" sz="900" b="0" i="0" u="none" strike="noStrike" kern="1200" dirty="0">
                <a:solidFill>
                  <a:schemeClr val="tx1"/>
                </a:solidFill>
                <a:effectLst/>
                <a:latin typeface="Segoe UI Light" pitchFamily="34" charset="0"/>
                <a:ea typeface="+mn-ea"/>
                <a:cs typeface="+mn-cs"/>
              </a:rPr>
              <a:t>Libraries (</a:t>
            </a:r>
            <a:r>
              <a:rPr lang="en-AU" sz="900" b="0" i="0" u="none" strike="noStrike" kern="1200" dirty="0" err="1">
                <a:solidFill>
                  <a:schemeClr val="tx1"/>
                </a:solidFill>
                <a:effectLst/>
                <a:latin typeface="Segoe UI Light" pitchFamily="34" charset="0"/>
                <a:ea typeface="+mn-ea"/>
                <a:cs typeface="+mn-cs"/>
              </a:rPr>
              <a:t>Mllib</a:t>
            </a:r>
            <a:r>
              <a:rPr lang="en-AU" sz="900" b="0" i="0" u="none" strike="noStrike" kern="1200" dirty="0">
                <a:solidFill>
                  <a:schemeClr val="tx1"/>
                </a:solidFill>
                <a:effectLst/>
                <a:latin typeface="Segoe UI Light" pitchFamily="34" charset="0"/>
                <a:ea typeface="+mn-ea"/>
                <a:cs typeface="+mn-cs"/>
              </a:rPr>
              <a:t>, </a:t>
            </a:r>
            <a:r>
              <a:rPr lang="en-AU" sz="900" b="0" i="0" u="none" strike="noStrike" kern="1200" dirty="0" err="1">
                <a:solidFill>
                  <a:schemeClr val="tx1"/>
                </a:solidFill>
                <a:effectLst/>
                <a:latin typeface="Segoe UI Light" pitchFamily="34" charset="0"/>
                <a:ea typeface="+mn-ea"/>
                <a:cs typeface="+mn-cs"/>
              </a:rPr>
              <a:t>GraphX</a:t>
            </a:r>
            <a:r>
              <a:rPr lang="en-AU" sz="900" b="0" i="0" u="none" strike="noStrike" kern="1200" dirty="0">
                <a:solidFill>
                  <a:schemeClr val="tx1"/>
                </a:solidFill>
                <a:effectLst/>
                <a:latin typeface="Segoe UI Light" pitchFamily="34" charset="0"/>
                <a:ea typeface="+mn-ea"/>
                <a:cs typeface="+mn-cs"/>
              </a:rPr>
              <a:t>, Spark SQL, Structured Streaming, open source packages)</a:t>
            </a:r>
          </a:p>
          <a:p>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6319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896974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evelopers can also choose to cache</a:t>
            </a:r>
          </a:p>
          <a:p>
            <a:endParaRPr lang="en-AU" dirty="0"/>
          </a:p>
          <a:p>
            <a:pPr marL="171450" indent="-171450">
              <a:buFontTx/>
              <a:buChar char="-"/>
            </a:pPr>
            <a:r>
              <a:rPr lang="en-AU" dirty="0"/>
              <a:t>For Jobs that reuse over again a particular Dataset</a:t>
            </a:r>
          </a:p>
          <a:p>
            <a:pPr marL="171450" indent="-171450">
              <a:buFontTx/>
              <a:buChar char="-"/>
            </a:pPr>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355053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056186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ifferent layers of API (low and high)</a:t>
            </a:r>
          </a:p>
          <a:p>
            <a:endParaRPr lang="en-AU" dirty="0"/>
          </a:p>
          <a:p>
            <a:r>
              <a:rPr lang="en-AU" dirty="0"/>
              <a:t>High over</a:t>
            </a:r>
          </a:p>
          <a:p>
            <a:endParaRPr lang="en-AU"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4/20/2018 11:2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1430374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7315200"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54864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54864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64973" y="479425"/>
            <a:ext cx="1451843" cy="310896"/>
          </a:xfrm>
          <a:prstGeom prst="rect">
            <a:avLst/>
          </a:prstGeom>
        </p:spPr>
      </p:pic>
      <p:pic>
        <p:nvPicPr>
          <p:cNvPr id="10" name="Picture 9">
            <a:extLst>
              <a:ext uri="{FF2B5EF4-FFF2-40B4-BE49-F238E27FC236}">
                <a16:creationId xmlns:a16="http://schemas.microsoft.com/office/drawing/2014/main" id="{66B6E59D-B61E-4471-A5EB-A1055BE2DDB3}"/>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74639" y="-552581"/>
            <a:ext cx="11889788" cy="357850"/>
          </a:xfrm>
        </p:spPr>
        <p:txBody>
          <a:bodyPr/>
          <a:lstStyle>
            <a:lvl1pPr>
              <a:defRPr sz="1224" b="0" spc="306">
                <a:latin typeface="+mn-lt"/>
              </a:defRPr>
            </a:lvl1pPr>
          </a:lstStyle>
          <a:p>
            <a:pPr lvl="0"/>
            <a:r>
              <a:rPr lang="en-US" dirty="0"/>
              <a:t>SUBHEAD 16 PT</a:t>
            </a:r>
          </a:p>
        </p:txBody>
      </p:sp>
    </p:spTree>
    <p:extLst>
      <p:ext uri="{BB962C8B-B14F-4D97-AF65-F5344CB8AC3E}">
        <p14:creationId xmlns:p14="http://schemas.microsoft.com/office/powerpoint/2010/main" val="156291877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88" name="Picture 4" descr="http://difinity.co.nz/wp-content/themes/eventum/images/color-bg-left-bottom.png">
            <a:extLst>
              <a:ext uri="{FF2B5EF4-FFF2-40B4-BE49-F238E27FC236}">
                <a16:creationId xmlns:a16="http://schemas.microsoft.com/office/drawing/2014/main" id="{FDBB906F-7FF9-4C5F-B4EB-526FE81F19C7}"/>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1870075"/>
            <a:ext cx="2905125" cy="5124450"/>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9244542C-3521-40E8-94C8-95E31BA6F7B6}"/>
              </a:ext>
            </a:extLst>
          </p:cNvPr>
          <p:cNvSpPr/>
          <p:nvPr userDrawn="1"/>
        </p:nvSpPr>
        <p:spPr bwMode="gray">
          <a:xfrm rot="16200000">
            <a:off x="909742" y="949131"/>
            <a:ext cx="5152639" cy="6994525"/>
          </a:xfrm>
          <a:prstGeom prst="rect">
            <a:avLst/>
          </a:prstGeom>
          <a:solidFill>
            <a:schemeClr val="accent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7315200"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6400800"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4"/>
          <a:stretch>
            <a:fillRect/>
          </a:stretch>
        </p:blipFill>
        <p:spPr bwMode="black">
          <a:xfrm>
            <a:off x="457200" y="479425"/>
            <a:ext cx="1483418" cy="310896"/>
          </a:xfrm>
          <a:prstGeom prst="rect">
            <a:avLst/>
          </a:prstGeom>
        </p:spPr>
      </p:pic>
      <p:pic>
        <p:nvPicPr>
          <p:cNvPr id="10" name="Picture 9">
            <a:extLst>
              <a:ext uri="{FF2B5EF4-FFF2-40B4-BE49-F238E27FC236}">
                <a16:creationId xmlns:a16="http://schemas.microsoft.com/office/drawing/2014/main" id="{D0F7CAAB-ED58-47A3-BF36-8469859F0DDA}"/>
              </a:ext>
            </a:extLst>
          </p:cNvPr>
          <p:cNvPicPr>
            <a:picLocks noChangeAspect="1"/>
          </p:cNvPicPr>
          <p:nvPr userDrawn="1"/>
        </p:nvPicPr>
        <p:blipFill>
          <a:blip r:embed="rId5"/>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7315200"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54864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54864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grpSp>
        <p:nvGrpSpPr>
          <p:cNvPr id="91" name="Group 90"/>
          <p:cNvGrpSpPr>
            <a:grpSpLocks noChangeAspect="1"/>
          </p:cNvGrpSpPr>
          <p:nvPr userDrawn="1"/>
        </p:nvGrpSpPr>
        <p:grpSpPr bwMode="gray">
          <a:xfrm>
            <a:off x="5788926" y="4224320"/>
            <a:ext cx="6647549" cy="2770205"/>
            <a:chOff x="5788926" y="4224320"/>
            <a:chExt cx="6647549" cy="2770205"/>
          </a:xfrm>
        </p:grpSpPr>
        <p:sp>
          <p:nvSpPr>
            <p:cNvPr id="92" name="Freeform: Shape 91"/>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8" name="Picture 8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200"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6400800"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grpSp>
        <p:nvGrpSpPr>
          <p:cNvPr id="90" name="Group 89"/>
          <p:cNvGrpSpPr>
            <a:grpSpLocks noChangeAspect="1"/>
          </p:cNvGrpSpPr>
          <p:nvPr userDrawn="1"/>
        </p:nvGrpSpPr>
        <p:grpSpPr bwMode="gray">
          <a:xfrm>
            <a:off x="5788926" y="4224320"/>
            <a:ext cx="6647549" cy="2770205"/>
            <a:chOff x="5788926" y="4224320"/>
            <a:chExt cx="6647549" cy="2770205"/>
          </a:xfrm>
        </p:grpSpPr>
        <p:sp>
          <p:nvSpPr>
            <p:cNvPr id="91" name="Freeform: Shape 90"/>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0"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7" name="Picture 86"/>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142" name="Rectangle 141"/>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91" name="Group 90"/>
          <p:cNvGrpSpPr>
            <a:grpSpLocks noChangeAspect="1"/>
          </p:cNvGrpSpPr>
          <p:nvPr userDrawn="1"/>
        </p:nvGrpSpPr>
        <p:grpSpPr bwMode="gray">
          <a:xfrm>
            <a:off x="5788926" y="4224320"/>
            <a:ext cx="6647549" cy="2770205"/>
            <a:chOff x="5788926" y="4224320"/>
            <a:chExt cx="6647549" cy="2770205"/>
          </a:xfrm>
        </p:grpSpPr>
        <p:sp>
          <p:nvSpPr>
            <p:cNvPr id="92" name="Freeform: Shape 91"/>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8"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0"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spTree>
    <p:extLst>
      <p:ext uri="{BB962C8B-B14F-4D97-AF65-F5344CB8AC3E}">
        <p14:creationId xmlns:p14="http://schemas.microsoft.com/office/powerpoint/2010/main" val="2914041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131958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57844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8863659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919316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2520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441950" y="0"/>
            <a:ext cx="699452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pic>
        <p:nvPicPr>
          <p:cNvPr id="89" name="Picture 2" descr="http://difinity.co.nz/wp-content/themes/eventum/images/color-bg-right-top.png">
            <a:extLst>
              <a:ext uri="{FF2B5EF4-FFF2-40B4-BE49-F238E27FC236}">
                <a16:creationId xmlns:a16="http://schemas.microsoft.com/office/drawing/2014/main" id="{9D15B5BA-02C4-4C2A-AEFF-71B39BC701E1}"/>
              </a:ext>
            </a:extLst>
          </p:cNvPr>
          <p:cNvPicPr>
            <a:picLocks noChangeAspect="1" noChangeArrowheads="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489109" y="-13302"/>
            <a:ext cx="2952750" cy="5895975"/>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0ACF7438-2F31-4E92-9030-592032106814}"/>
              </a:ext>
            </a:extLst>
          </p:cNvPr>
          <p:cNvSpPr/>
          <p:nvPr userDrawn="1"/>
        </p:nvSpPr>
        <p:spPr bwMode="gray">
          <a:xfrm>
            <a:off x="5436566" y="-511"/>
            <a:ext cx="6994525" cy="6994525"/>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0" name="Group 189"/>
          <p:cNvGrpSpPr>
            <a:grpSpLocks noChangeAspect="1"/>
          </p:cNvGrpSpPr>
          <p:nvPr userDrawn="1"/>
        </p:nvGrpSpPr>
        <p:grpSpPr bwMode="gray">
          <a:xfrm>
            <a:off x="5788926" y="4224320"/>
            <a:ext cx="6647549" cy="2770205"/>
            <a:chOff x="5788926" y="4224320"/>
            <a:chExt cx="6647549" cy="2770205"/>
          </a:xfrm>
        </p:grpSpPr>
        <p:sp>
          <p:nvSpPr>
            <p:cNvPr id="191" name="Freeform: Shape 190"/>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0"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1"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4"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27"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28"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2"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45"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54"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55"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6816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97938160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7710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7315200"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54864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74639" y="3770246"/>
            <a:ext cx="54864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grpSp>
        <p:nvGrpSpPr>
          <p:cNvPr id="91" name="Group 90"/>
          <p:cNvGrpSpPr>
            <a:grpSpLocks noChangeAspect="1"/>
          </p:cNvGrpSpPr>
          <p:nvPr userDrawn="1"/>
        </p:nvGrpSpPr>
        <p:grpSpPr bwMode="gray">
          <a:xfrm>
            <a:off x="5788926" y="4224320"/>
            <a:ext cx="6647549" cy="2770205"/>
            <a:chOff x="5788926" y="4224320"/>
            <a:chExt cx="6647549" cy="2770205"/>
          </a:xfrm>
        </p:grpSpPr>
        <p:sp>
          <p:nvSpPr>
            <p:cNvPr id="92" name="Freeform: Shape 91"/>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2"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8"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65"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8" name="Picture 8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7315200"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6400800"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grpSp>
        <p:nvGrpSpPr>
          <p:cNvPr id="90" name="Group 89"/>
          <p:cNvGrpSpPr>
            <a:grpSpLocks noChangeAspect="1"/>
          </p:cNvGrpSpPr>
          <p:nvPr userDrawn="1"/>
        </p:nvGrpSpPr>
        <p:grpSpPr bwMode="gray">
          <a:xfrm>
            <a:off x="5788926" y="4224320"/>
            <a:ext cx="6647549" cy="2770205"/>
            <a:chOff x="5788926" y="4224320"/>
            <a:chExt cx="6647549" cy="2770205"/>
          </a:xfrm>
        </p:grpSpPr>
        <p:sp>
          <p:nvSpPr>
            <p:cNvPr id="91" name="Freeform: Shape 90"/>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0"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1"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6"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87" name="Picture 86"/>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42" name="Rectangle 141"/>
          <p:cNvSpPr/>
          <p:nvPr userDrawn="1"/>
        </p:nvSpPr>
        <p:spPr bwMode="gray">
          <a:xfrm>
            <a:off x="5441950" y="0"/>
            <a:ext cx="6994525"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91" name="Group 90"/>
          <p:cNvGrpSpPr>
            <a:grpSpLocks noChangeAspect="1"/>
          </p:cNvGrpSpPr>
          <p:nvPr userDrawn="1"/>
        </p:nvGrpSpPr>
        <p:grpSpPr bwMode="gray">
          <a:xfrm>
            <a:off x="5788926" y="4224320"/>
            <a:ext cx="6647549" cy="2770205"/>
            <a:chOff x="5788926" y="4224320"/>
            <a:chExt cx="6647549" cy="2770205"/>
          </a:xfrm>
        </p:grpSpPr>
        <p:sp>
          <p:nvSpPr>
            <p:cNvPr id="92" name="Freeform: Shape 91"/>
            <p:cNvSpPr/>
            <p:nvPr userDrawn="1"/>
          </p:nvSpPr>
          <p:spPr bwMode="gray">
            <a:xfrm>
              <a:off x="5788926" y="5758835"/>
              <a:ext cx="2577047" cy="1235690"/>
            </a:xfrm>
            <a:custGeom>
              <a:avLst/>
              <a:gdLst>
                <a:gd name="connsiteX0" fmla="*/ 1214715 w 2577047"/>
                <a:gd name="connsiteY0" fmla="*/ 0 h 1235690"/>
                <a:gd name="connsiteX1" fmla="*/ 1914672 w 2577047"/>
                <a:gd name="connsiteY1" fmla="*/ 468064 h 1235690"/>
                <a:gd name="connsiteX2" fmla="*/ 2060300 w 2577047"/>
                <a:gd name="connsiteY2" fmla="*/ 446221 h 1235690"/>
                <a:gd name="connsiteX3" fmla="*/ 2577047 w 2577047"/>
                <a:gd name="connsiteY3" fmla="*/ 957972 h 1235690"/>
                <a:gd name="connsiteX4" fmla="*/ 2495620 w 2577047"/>
                <a:gd name="connsiteY4" fmla="*/ 1235690 h 1235690"/>
                <a:gd name="connsiteX5" fmla="*/ 1889591 w 2577047"/>
                <a:gd name="connsiteY5" fmla="*/ 1235690 h 1235690"/>
                <a:gd name="connsiteX6" fmla="*/ 1799319 w 2577047"/>
                <a:gd name="connsiteY6" fmla="*/ 1235690 h 1235690"/>
                <a:gd name="connsiteX7" fmla="*/ 31390 w 2577047"/>
                <a:gd name="connsiteY7" fmla="*/ 1235690 h 1235690"/>
                <a:gd name="connsiteX8" fmla="*/ 9264 w 2577047"/>
                <a:gd name="connsiteY8" fmla="*/ 1164413 h 1235690"/>
                <a:gd name="connsiteX9" fmla="*/ 0 w 2577047"/>
                <a:gd name="connsiteY9" fmla="*/ 1072517 h 1235690"/>
                <a:gd name="connsiteX10" fmla="*/ 455981 w 2577047"/>
                <a:gd name="connsiteY10" fmla="*/ 616536 h 1235690"/>
                <a:gd name="connsiteX11" fmla="*/ 459500 w 2577047"/>
                <a:gd name="connsiteY11" fmla="*/ 616891 h 1235690"/>
                <a:gd name="connsiteX12" fmla="*/ 459640 w 2577047"/>
                <a:gd name="connsiteY12" fmla="*/ 615506 h 1235690"/>
                <a:gd name="connsiteX13" fmla="*/ 720719 w 2577047"/>
                <a:gd name="connsiteY13" fmla="*/ 182302 h 1235690"/>
                <a:gd name="connsiteX14" fmla="*/ 739060 w 2577047"/>
                <a:gd name="connsiteY14" fmla="*/ 169592 h 1235690"/>
                <a:gd name="connsiteX15" fmla="*/ 747661 w 2577047"/>
                <a:gd name="connsiteY15" fmla="*/ 161263 h 1235690"/>
                <a:gd name="connsiteX16" fmla="*/ 1214715 w 2577047"/>
                <a:gd name="connsiteY16" fmla="*/ 0 h 123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7047" h="1235690">
                  <a:moveTo>
                    <a:pt x="1214715" y="0"/>
                  </a:moveTo>
                  <a:cubicBezTo>
                    <a:pt x="1532592" y="0"/>
                    <a:pt x="1803493" y="191906"/>
                    <a:pt x="1914672" y="468064"/>
                  </a:cubicBezTo>
                  <a:cubicBezTo>
                    <a:pt x="1961649" y="454022"/>
                    <a:pt x="2010192" y="446221"/>
                    <a:pt x="2060300" y="446221"/>
                  </a:cubicBezTo>
                  <a:cubicBezTo>
                    <a:pt x="2346860" y="446221"/>
                    <a:pt x="2577047" y="675573"/>
                    <a:pt x="2577047" y="957972"/>
                  </a:cubicBezTo>
                  <a:cubicBezTo>
                    <a:pt x="2577047" y="1060946"/>
                    <a:pt x="2547295" y="1156119"/>
                    <a:pt x="2495620" y="1235690"/>
                  </a:cubicBezTo>
                  <a:cubicBezTo>
                    <a:pt x="2495620" y="1235690"/>
                    <a:pt x="2495620" y="1235690"/>
                    <a:pt x="1889591" y="1235690"/>
                  </a:cubicBezTo>
                  <a:lnTo>
                    <a:pt x="1799319" y="1235690"/>
                  </a:lnTo>
                  <a:lnTo>
                    <a:pt x="31390" y="1235690"/>
                  </a:lnTo>
                  <a:lnTo>
                    <a:pt x="9264" y="1164413"/>
                  </a:lnTo>
                  <a:cubicBezTo>
                    <a:pt x="3190" y="1134730"/>
                    <a:pt x="0" y="1103996"/>
                    <a:pt x="0" y="1072517"/>
                  </a:cubicBezTo>
                  <a:cubicBezTo>
                    <a:pt x="0" y="820686"/>
                    <a:pt x="204150" y="616536"/>
                    <a:pt x="455981" y="616536"/>
                  </a:cubicBezTo>
                  <a:lnTo>
                    <a:pt x="459500" y="616891"/>
                  </a:lnTo>
                  <a:lnTo>
                    <a:pt x="459640" y="615506"/>
                  </a:lnTo>
                  <a:cubicBezTo>
                    <a:pt x="495067" y="442379"/>
                    <a:pt x="589371" y="290700"/>
                    <a:pt x="720719" y="182302"/>
                  </a:cubicBezTo>
                  <a:lnTo>
                    <a:pt x="739060" y="169592"/>
                  </a:lnTo>
                  <a:lnTo>
                    <a:pt x="747661" y="161263"/>
                  </a:lnTo>
                  <a:cubicBezTo>
                    <a:pt x="876480" y="60556"/>
                    <a:pt x="1038551" y="0"/>
                    <a:pt x="1214715" y="0"/>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7"/>
            <p:cNvSpPr>
              <a:spLocks noChangeArrowheads="1"/>
            </p:cNvSpPr>
            <p:nvPr/>
          </p:nvSpPr>
          <p:spPr bwMode="gray">
            <a:xfrm>
              <a:off x="9601660" y="4515070"/>
              <a:ext cx="573425"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8"/>
            <p:cNvSpPr>
              <a:spLocks noChangeArrowheads="1"/>
            </p:cNvSpPr>
            <p:nvPr/>
          </p:nvSpPr>
          <p:spPr bwMode="gray">
            <a:xfrm>
              <a:off x="8640568" y="4224320"/>
              <a:ext cx="576116" cy="1445676"/>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
            <p:cNvSpPr>
              <a:spLocks noChangeArrowheads="1"/>
            </p:cNvSpPr>
            <p:nvPr/>
          </p:nvSpPr>
          <p:spPr bwMode="gray">
            <a:xfrm>
              <a:off x="9771264" y="4698135"/>
              <a:ext cx="573425" cy="1445676"/>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10"/>
            <p:cNvSpPr>
              <a:spLocks noChangeArrowheads="1"/>
            </p:cNvSpPr>
            <p:nvPr/>
          </p:nvSpPr>
          <p:spPr bwMode="gray">
            <a:xfrm>
              <a:off x="9351291" y="4843510"/>
              <a:ext cx="320365" cy="1397218"/>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11"/>
            <p:cNvSpPr>
              <a:spLocks noChangeArrowheads="1"/>
            </p:cNvSpPr>
            <p:nvPr/>
          </p:nvSpPr>
          <p:spPr bwMode="gray">
            <a:xfrm>
              <a:off x="8505962" y="4708904"/>
              <a:ext cx="309596" cy="129222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12"/>
            <p:cNvSpPr>
              <a:spLocks noChangeArrowheads="1"/>
            </p:cNvSpPr>
            <p:nvPr/>
          </p:nvSpPr>
          <p:spPr bwMode="gray">
            <a:xfrm>
              <a:off x="8780559" y="4576988"/>
              <a:ext cx="570732" cy="15183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3"/>
            <p:cNvSpPr>
              <a:spLocks/>
            </p:cNvSpPr>
            <p:nvPr/>
          </p:nvSpPr>
          <p:spPr bwMode="gray">
            <a:xfrm>
              <a:off x="8842479" y="4665830"/>
              <a:ext cx="446894" cy="78073"/>
            </a:xfrm>
            <a:custGeom>
              <a:avLst/>
              <a:gdLst>
                <a:gd name="T0" fmla="*/ 24 w 286"/>
                <a:gd name="T1" fmla="*/ 0 h 50"/>
                <a:gd name="T2" fmla="*/ 0 w 286"/>
                <a:gd name="T3" fmla="*/ 22 h 50"/>
                <a:gd name="T4" fmla="*/ 0 w 286"/>
                <a:gd name="T5" fmla="*/ 28 h 50"/>
                <a:gd name="T6" fmla="*/ 24 w 286"/>
                <a:gd name="T7" fmla="*/ 50 h 50"/>
                <a:gd name="T8" fmla="*/ 262 w 286"/>
                <a:gd name="T9" fmla="*/ 50 h 50"/>
                <a:gd name="T10" fmla="*/ 286 w 286"/>
                <a:gd name="T11" fmla="*/ 28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8"/>
                    <a:pt x="0" y="28"/>
                    <a:pt x="0" y="28"/>
                  </a:cubicBezTo>
                  <a:cubicBezTo>
                    <a:pt x="0" y="28"/>
                    <a:pt x="0" y="50"/>
                    <a:pt x="24" y="50"/>
                  </a:cubicBezTo>
                  <a:cubicBezTo>
                    <a:pt x="262" y="50"/>
                    <a:pt x="262" y="50"/>
                    <a:pt x="262" y="50"/>
                  </a:cubicBezTo>
                  <a:cubicBezTo>
                    <a:pt x="262" y="50"/>
                    <a:pt x="286" y="50"/>
                    <a:pt x="286" y="28"/>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
            <p:cNvSpPr>
              <a:spLocks/>
            </p:cNvSpPr>
            <p:nvPr/>
          </p:nvSpPr>
          <p:spPr bwMode="gray">
            <a:xfrm>
              <a:off x="8842479" y="4805821"/>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5"/>
            <p:cNvSpPr>
              <a:spLocks/>
            </p:cNvSpPr>
            <p:nvPr/>
          </p:nvSpPr>
          <p:spPr bwMode="gray">
            <a:xfrm>
              <a:off x="8842479" y="4943118"/>
              <a:ext cx="446894" cy="78073"/>
            </a:xfrm>
            <a:custGeom>
              <a:avLst/>
              <a:gdLst>
                <a:gd name="T0" fmla="*/ 24 w 286"/>
                <a:gd name="T1" fmla="*/ 0 h 50"/>
                <a:gd name="T2" fmla="*/ 0 w 286"/>
                <a:gd name="T3" fmla="*/ 24 h 50"/>
                <a:gd name="T4" fmla="*/ 0 w 286"/>
                <a:gd name="T5" fmla="*/ 28 h 50"/>
                <a:gd name="T6" fmla="*/ 24 w 286"/>
                <a:gd name="T7" fmla="*/ 50 h 50"/>
                <a:gd name="T8" fmla="*/ 262 w 286"/>
                <a:gd name="T9" fmla="*/ 50 h 50"/>
                <a:gd name="T10" fmla="*/ 286 w 286"/>
                <a:gd name="T11" fmla="*/ 28 h 50"/>
                <a:gd name="T12" fmla="*/ 286 w 286"/>
                <a:gd name="T13" fmla="*/ 24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4"/>
                  </a:cubicBezTo>
                  <a:cubicBezTo>
                    <a:pt x="0" y="28"/>
                    <a:pt x="0" y="28"/>
                    <a:pt x="0" y="28"/>
                  </a:cubicBezTo>
                  <a:cubicBezTo>
                    <a:pt x="0" y="28"/>
                    <a:pt x="0" y="50"/>
                    <a:pt x="24" y="50"/>
                  </a:cubicBezTo>
                  <a:cubicBezTo>
                    <a:pt x="262" y="50"/>
                    <a:pt x="262" y="50"/>
                    <a:pt x="262" y="50"/>
                  </a:cubicBezTo>
                  <a:cubicBezTo>
                    <a:pt x="262" y="50"/>
                    <a:pt x="286" y="50"/>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6"/>
            <p:cNvSpPr>
              <a:spLocks/>
            </p:cNvSpPr>
            <p:nvPr/>
          </p:nvSpPr>
          <p:spPr bwMode="gray">
            <a:xfrm>
              <a:off x="8842479" y="5080418"/>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7"/>
            <p:cNvSpPr>
              <a:spLocks/>
            </p:cNvSpPr>
            <p:nvPr/>
          </p:nvSpPr>
          <p:spPr bwMode="gray">
            <a:xfrm>
              <a:off x="8842479" y="5220409"/>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8"/>
            <p:cNvSpPr>
              <a:spLocks/>
            </p:cNvSpPr>
            <p:nvPr/>
          </p:nvSpPr>
          <p:spPr bwMode="gray">
            <a:xfrm>
              <a:off x="8842479" y="5357707"/>
              <a:ext cx="446894" cy="78073"/>
            </a:xfrm>
            <a:custGeom>
              <a:avLst/>
              <a:gdLst>
                <a:gd name="T0" fmla="*/ 24 w 286"/>
                <a:gd name="T1" fmla="*/ 0 h 51"/>
                <a:gd name="T2" fmla="*/ 0 w 286"/>
                <a:gd name="T3" fmla="*/ 24 h 51"/>
                <a:gd name="T4" fmla="*/ 0 w 286"/>
                <a:gd name="T5" fmla="*/ 28 h 51"/>
                <a:gd name="T6" fmla="*/ 24 w 286"/>
                <a:gd name="T7" fmla="*/ 51 h 51"/>
                <a:gd name="T8" fmla="*/ 262 w 286"/>
                <a:gd name="T9" fmla="*/ 51 h 51"/>
                <a:gd name="T10" fmla="*/ 286 w 286"/>
                <a:gd name="T11" fmla="*/ 28 h 51"/>
                <a:gd name="T12" fmla="*/ 286 w 286"/>
                <a:gd name="T13" fmla="*/ 24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4"/>
                  </a:cubicBezTo>
                  <a:cubicBezTo>
                    <a:pt x="0" y="28"/>
                    <a:pt x="0" y="28"/>
                    <a:pt x="0" y="28"/>
                  </a:cubicBezTo>
                  <a:cubicBezTo>
                    <a:pt x="0" y="28"/>
                    <a:pt x="0" y="51"/>
                    <a:pt x="24" y="51"/>
                  </a:cubicBezTo>
                  <a:cubicBezTo>
                    <a:pt x="262" y="51"/>
                    <a:pt x="262" y="51"/>
                    <a:pt x="262" y="51"/>
                  </a:cubicBezTo>
                  <a:cubicBezTo>
                    <a:pt x="262" y="51"/>
                    <a:pt x="286" y="51"/>
                    <a:pt x="286" y="28"/>
                  </a:cubicBezTo>
                  <a:cubicBezTo>
                    <a:pt x="286" y="24"/>
                    <a:pt x="286" y="24"/>
                    <a:pt x="286" y="24"/>
                  </a:cubicBezTo>
                  <a:cubicBezTo>
                    <a:pt x="286" y="24"/>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9"/>
            <p:cNvSpPr>
              <a:spLocks/>
            </p:cNvSpPr>
            <p:nvPr/>
          </p:nvSpPr>
          <p:spPr bwMode="gray">
            <a:xfrm>
              <a:off x="8842479" y="5495006"/>
              <a:ext cx="446894" cy="78073"/>
            </a:xfrm>
            <a:custGeom>
              <a:avLst/>
              <a:gdLst>
                <a:gd name="T0" fmla="*/ 24 w 286"/>
                <a:gd name="T1" fmla="*/ 0 h 50"/>
                <a:gd name="T2" fmla="*/ 0 w 286"/>
                <a:gd name="T3" fmla="*/ 23 h 50"/>
                <a:gd name="T4" fmla="*/ 0 w 286"/>
                <a:gd name="T5" fmla="*/ 28 h 50"/>
                <a:gd name="T6" fmla="*/ 24 w 286"/>
                <a:gd name="T7" fmla="*/ 50 h 50"/>
                <a:gd name="T8" fmla="*/ 262 w 286"/>
                <a:gd name="T9" fmla="*/ 50 h 50"/>
                <a:gd name="T10" fmla="*/ 286 w 286"/>
                <a:gd name="T11" fmla="*/ 28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8"/>
                    <a:pt x="0" y="28"/>
                    <a:pt x="0" y="28"/>
                  </a:cubicBezTo>
                  <a:cubicBezTo>
                    <a:pt x="0" y="28"/>
                    <a:pt x="0" y="50"/>
                    <a:pt x="24" y="50"/>
                  </a:cubicBezTo>
                  <a:cubicBezTo>
                    <a:pt x="262" y="50"/>
                    <a:pt x="262" y="50"/>
                    <a:pt x="262" y="50"/>
                  </a:cubicBezTo>
                  <a:cubicBezTo>
                    <a:pt x="262" y="50"/>
                    <a:pt x="286" y="50"/>
                    <a:pt x="286" y="28"/>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0"/>
            <p:cNvSpPr>
              <a:spLocks/>
            </p:cNvSpPr>
            <p:nvPr/>
          </p:nvSpPr>
          <p:spPr bwMode="gray">
            <a:xfrm>
              <a:off x="8842479" y="5634997"/>
              <a:ext cx="446894" cy="78073"/>
            </a:xfrm>
            <a:custGeom>
              <a:avLst/>
              <a:gdLst>
                <a:gd name="T0" fmla="*/ 24 w 286"/>
                <a:gd name="T1" fmla="*/ 0 h 51"/>
                <a:gd name="T2" fmla="*/ 0 w 286"/>
                <a:gd name="T3" fmla="*/ 23 h 51"/>
                <a:gd name="T4" fmla="*/ 0 w 286"/>
                <a:gd name="T5" fmla="*/ 27 h 51"/>
                <a:gd name="T6" fmla="*/ 24 w 286"/>
                <a:gd name="T7" fmla="*/ 51 h 51"/>
                <a:gd name="T8" fmla="*/ 262 w 286"/>
                <a:gd name="T9" fmla="*/ 51 h 51"/>
                <a:gd name="T10" fmla="*/ 286 w 286"/>
                <a:gd name="T11" fmla="*/ 27 h 51"/>
                <a:gd name="T12" fmla="*/ 286 w 286"/>
                <a:gd name="T13" fmla="*/ 23 h 51"/>
                <a:gd name="T14" fmla="*/ 262 w 286"/>
                <a:gd name="T15" fmla="*/ 0 h 51"/>
                <a:gd name="T16" fmla="*/ 152 w 286"/>
                <a:gd name="T17" fmla="*/ 0 h 51"/>
                <a:gd name="T18" fmla="*/ 24 w 286"/>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1">
                  <a:moveTo>
                    <a:pt x="24" y="0"/>
                  </a:moveTo>
                  <a:cubicBezTo>
                    <a:pt x="24" y="0"/>
                    <a:pt x="0" y="0"/>
                    <a:pt x="0" y="23"/>
                  </a:cubicBezTo>
                  <a:cubicBezTo>
                    <a:pt x="0" y="27"/>
                    <a:pt x="0" y="27"/>
                    <a:pt x="0" y="27"/>
                  </a:cubicBezTo>
                  <a:cubicBezTo>
                    <a:pt x="0" y="27"/>
                    <a:pt x="0" y="51"/>
                    <a:pt x="24" y="51"/>
                  </a:cubicBezTo>
                  <a:cubicBezTo>
                    <a:pt x="262" y="51"/>
                    <a:pt x="262" y="51"/>
                    <a:pt x="262" y="51"/>
                  </a:cubicBezTo>
                  <a:cubicBezTo>
                    <a:pt x="262" y="51"/>
                    <a:pt x="286" y="51"/>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21"/>
            <p:cNvSpPr>
              <a:spLocks noChangeArrowheads="1"/>
            </p:cNvSpPr>
            <p:nvPr/>
          </p:nvSpPr>
          <p:spPr bwMode="gray">
            <a:xfrm>
              <a:off x="9203225" y="468198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3" name="Oval 22"/>
            <p:cNvSpPr>
              <a:spLocks noChangeArrowheads="1"/>
            </p:cNvSpPr>
            <p:nvPr/>
          </p:nvSpPr>
          <p:spPr bwMode="gray">
            <a:xfrm>
              <a:off x="9203225" y="4821973"/>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Oval 23"/>
            <p:cNvSpPr>
              <a:spLocks noChangeArrowheads="1"/>
            </p:cNvSpPr>
            <p:nvPr/>
          </p:nvSpPr>
          <p:spPr bwMode="gray">
            <a:xfrm>
              <a:off x="9203225" y="495927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5" name="Oval 24"/>
            <p:cNvSpPr>
              <a:spLocks noChangeArrowheads="1"/>
            </p:cNvSpPr>
            <p:nvPr/>
          </p:nvSpPr>
          <p:spPr bwMode="gray">
            <a:xfrm>
              <a:off x="9203225" y="5099262"/>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25"/>
            <p:cNvSpPr>
              <a:spLocks/>
            </p:cNvSpPr>
            <p:nvPr/>
          </p:nvSpPr>
          <p:spPr bwMode="gray">
            <a:xfrm>
              <a:off x="9203225" y="5236562"/>
              <a:ext cx="45767" cy="43074"/>
            </a:xfrm>
            <a:custGeom>
              <a:avLst/>
              <a:gdLst>
                <a:gd name="T0" fmla="*/ 14 w 28"/>
                <a:gd name="T1" fmla="*/ 28 h 28"/>
                <a:gd name="T2" fmla="*/ 28 w 28"/>
                <a:gd name="T3" fmla="*/ 13 h 28"/>
                <a:gd name="T4" fmla="*/ 14 w 28"/>
                <a:gd name="T5" fmla="*/ 0 h 28"/>
                <a:gd name="T6" fmla="*/ 0 w 28"/>
                <a:gd name="T7" fmla="*/ 13 h 28"/>
                <a:gd name="T8" fmla="*/ 14 w 28"/>
                <a:gd name="T9" fmla="*/ 28 h 28"/>
              </a:gdLst>
              <a:ahLst/>
              <a:cxnLst>
                <a:cxn ang="0">
                  <a:pos x="T0" y="T1"/>
                </a:cxn>
                <a:cxn ang="0">
                  <a:pos x="T2" y="T3"/>
                </a:cxn>
                <a:cxn ang="0">
                  <a:pos x="T4" y="T5"/>
                </a:cxn>
                <a:cxn ang="0">
                  <a:pos x="T6" y="T7"/>
                </a:cxn>
                <a:cxn ang="0">
                  <a:pos x="T8" y="T9"/>
                </a:cxn>
              </a:cxnLst>
              <a:rect l="0" t="0" r="r" b="b"/>
              <a:pathLst>
                <a:path w="28" h="28">
                  <a:moveTo>
                    <a:pt x="14" y="28"/>
                  </a:moveTo>
                  <a:cubicBezTo>
                    <a:pt x="22" y="28"/>
                    <a:pt x="28" y="21"/>
                    <a:pt x="28" y="13"/>
                  </a:cubicBezTo>
                  <a:cubicBezTo>
                    <a:pt x="28" y="7"/>
                    <a:pt x="22" y="0"/>
                    <a:pt x="14" y="0"/>
                  </a:cubicBezTo>
                  <a:cubicBezTo>
                    <a:pt x="7" y="0"/>
                    <a:pt x="0" y="7"/>
                    <a:pt x="0" y="13"/>
                  </a:cubicBezTo>
                  <a:cubicBezTo>
                    <a:pt x="0" y="21"/>
                    <a:pt x="7" y="28"/>
                    <a:pt x="14" y="2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7" name="Oval 26"/>
            <p:cNvSpPr>
              <a:spLocks noChangeArrowheads="1"/>
            </p:cNvSpPr>
            <p:nvPr/>
          </p:nvSpPr>
          <p:spPr bwMode="gray">
            <a:xfrm>
              <a:off x="9203225" y="5376553"/>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8" name="Oval 27"/>
            <p:cNvSpPr>
              <a:spLocks noChangeArrowheads="1"/>
            </p:cNvSpPr>
            <p:nvPr/>
          </p:nvSpPr>
          <p:spPr bwMode="gray">
            <a:xfrm>
              <a:off x="9203225" y="551385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Oval 28"/>
            <p:cNvSpPr>
              <a:spLocks noChangeArrowheads="1"/>
            </p:cNvSpPr>
            <p:nvPr/>
          </p:nvSpPr>
          <p:spPr bwMode="gray">
            <a:xfrm>
              <a:off x="9203225" y="5653841"/>
              <a:ext cx="45767" cy="40383"/>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00" name="Freeform 29"/>
            <p:cNvSpPr>
              <a:spLocks/>
            </p:cNvSpPr>
            <p:nvPr/>
          </p:nvSpPr>
          <p:spPr bwMode="gray">
            <a:xfrm>
              <a:off x="8842479" y="5772295"/>
              <a:ext cx="446894" cy="78073"/>
            </a:xfrm>
            <a:custGeom>
              <a:avLst/>
              <a:gdLst>
                <a:gd name="T0" fmla="*/ 24 w 286"/>
                <a:gd name="T1" fmla="*/ 0 h 50"/>
                <a:gd name="T2" fmla="*/ 0 w 286"/>
                <a:gd name="T3" fmla="*/ 22 h 50"/>
                <a:gd name="T4" fmla="*/ 0 w 286"/>
                <a:gd name="T5" fmla="*/ 27 h 50"/>
                <a:gd name="T6" fmla="*/ 24 w 286"/>
                <a:gd name="T7" fmla="*/ 50 h 50"/>
                <a:gd name="T8" fmla="*/ 262 w 286"/>
                <a:gd name="T9" fmla="*/ 50 h 50"/>
                <a:gd name="T10" fmla="*/ 286 w 286"/>
                <a:gd name="T11" fmla="*/ 27 h 50"/>
                <a:gd name="T12" fmla="*/ 286 w 286"/>
                <a:gd name="T13" fmla="*/ 22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2"/>
                  </a:cubicBezTo>
                  <a:cubicBezTo>
                    <a:pt x="0" y="27"/>
                    <a:pt x="0" y="27"/>
                    <a:pt x="0" y="27"/>
                  </a:cubicBezTo>
                  <a:cubicBezTo>
                    <a:pt x="0" y="27"/>
                    <a:pt x="0" y="50"/>
                    <a:pt x="24" y="50"/>
                  </a:cubicBezTo>
                  <a:cubicBezTo>
                    <a:pt x="262" y="50"/>
                    <a:pt x="262" y="50"/>
                    <a:pt x="262" y="50"/>
                  </a:cubicBezTo>
                  <a:cubicBezTo>
                    <a:pt x="262" y="50"/>
                    <a:pt x="286" y="50"/>
                    <a:pt x="286" y="27"/>
                  </a:cubicBezTo>
                  <a:cubicBezTo>
                    <a:pt x="286" y="22"/>
                    <a:pt x="286" y="22"/>
                    <a:pt x="286" y="22"/>
                  </a:cubicBezTo>
                  <a:cubicBezTo>
                    <a:pt x="286" y="22"/>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30"/>
            <p:cNvSpPr>
              <a:spLocks noChangeArrowheads="1"/>
            </p:cNvSpPr>
            <p:nvPr/>
          </p:nvSpPr>
          <p:spPr bwMode="gray">
            <a:xfrm>
              <a:off x="9203225" y="5791141"/>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02" name="Rectangle 31"/>
            <p:cNvSpPr>
              <a:spLocks noChangeArrowheads="1"/>
            </p:cNvSpPr>
            <p:nvPr/>
          </p:nvSpPr>
          <p:spPr bwMode="gray">
            <a:xfrm>
              <a:off x="9467054" y="4883892"/>
              <a:ext cx="570732" cy="1337991"/>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32"/>
            <p:cNvSpPr>
              <a:spLocks/>
            </p:cNvSpPr>
            <p:nvPr/>
          </p:nvSpPr>
          <p:spPr bwMode="gray">
            <a:xfrm>
              <a:off x="9526281" y="4975424"/>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33"/>
            <p:cNvSpPr>
              <a:spLocks/>
            </p:cNvSpPr>
            <p:nvPr/>
          </p:nvSpPr>
          <p:spPr bwMode="gray">
            <a:xfrm>
              <a:off x="9526281" y="5112724"/>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34"/>
            <p:cNvSpPr>
              <a:spLocks/>
            </p:cNvSpPr>
            <p:nvPr/>
          </p:nvSpPr>
          <p:spPr bwMode="gray">
            <a:xfrm>
              <a:off x="9526281" y="5252715"/>
              <a:ext cx="449587" cy="78073"/>
            </a:xfrm>
            <a:custGeom>
              <a:avLst/>
              <a:gdLst>
                <a:gd name="T0" fmla="*/ 25 w 287"/>
                <a:gd name="T1" fmla="*/ 0 h 50"/>
                <a:gd name="T2" fmla="*/ 0 w 287"/>
                <a:gd name="T3" fmla="*/ 22 h 50"/>
                <a:gd name="T4" fmla="*/ 0 w 287"/>
                <a:gd name="T5" fmla="*/ 28 h 50"/>
                <a:gd name="T6" fmla="*/ 25 w 287"/>
                <a:gd name="T7" fmla="*/ 50 h 50"/>
                <a:gd name="T8" fmla="*/ 262 w 287"/>
                <a:gd name="T9" fmla="*/ 50 h 50"/>
                <a:gd name="T10" fmla="*/ 287 w 287"/>
                <a:gd name="T11" fmla="*/ 28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8"/>
                    <a:pt x="0" y="28"/>
                    <a:pt x="0" y="28"/>
                  </a:cubicBezTo>
                  <a:cubicBezTo>
                    <a:pt x="0" y="28"/>
                    <a:pt x="0" y="50"/>
                    <a:pt x="25" y="50"/>
                  </a:cubicBezTo>
                  <a:cubicBezTo>
                    <a:pt x="262" y="50"/>
                    <a:pt x="262" y="50"/>
                    <a:pt x="262" y="50"/>
                  </a:cubicBezTo>
                  <a:cubicBezTo>
                    <a:pt x="262" y="50"/>
                    <a:pt x="287" y="50"/>
                    <a:pt x="287" y="28"/>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35"/>
            <p:cNvSpPr>
              <a:spLocks/>
            </p:cNvSpPr>
            <p:nvPr/>
          </p:nvSpPr>
          <p:spPr bwMode="gray">
            <a:xfrm>
              <a:off x="9526281" y="5390012"/>
              <a:ext cx="449587" cy="78073"/>
            </a:xfrm>
            <a:custGeom>
              <a:avLst/>
              <a:gdLst>
                <a:gd name="T0" fmla="*/ 25 w 287"/>
                <a:gd name="T1" fmla="*/ 0 h 50"/>
                <a:gd name="T2" fmla="*/ 0 w 287"/>
                <a:gd name="T3" fmla="*/ 22 h 50"/>
                <a:gd name="T4" fmla="*/ 0 w 287"/>
                <a:gd name="T5" fmla="*/ 27 h 50"/>
                <a:gd name="T6" fmla="*/ 25 w 287"/>
                <a:gd name="T7" fmla="*/ 50 h 50"/>
                <a:gd name="T8" fmla="*/ 262 w 287"/>
                <a:gd name="T9" fmla="*/ 50 h 50"/>
                <a:gd name="T10" fmla="*/ 287 w 287"/>
                <a:gd name="T11" fmla="*/ 27 h 50"/>
                <a:gd name="T12" fmla="*/ 287 w 287"/>
                <a:gd name="T13" fmla="*/ 22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2"/>
                  </a:cubicBezTo>
                  <a:cubicBezTo>
                    <a:pt x="0" y="27"/>
                    <a:pt x="0" y="27"/>
                    <a:pt x="0" y="27"/>
                  </a:cubicBezTo>
                  <a:cubicBezTo>
                    <a:pt x="0" y="27"/>
                    <a:pt x="0" y="50"/>
                    <a:pt x="25" y="50"/>
                  </a:cubicBezTo>
                  <a:cubicBezTo>
                    <a:pt x="262" y="50"/>
                    <a:pt x="262" y="50"/>
                    <a:pt x="262" y="50"/>
                  </a:cubicBezTo>
                  <a:cubicBezTo>
                    <a:pt x="262" y="50"/>
                    <a:pt x="287" y="50"/>
                    <a:pt x="287" y="27"/>
                  </a:cubicBezTo>
                  <a:cubicBezTo>
                    <a:pt x="287" y="22"/>
                    <a:pt x="287" y="22"/>
                    <a:pt x="287" y="22"/>
                  </a:cubicBezTo>
                  <a:cubicBezTo>
                    <a:pt x="287" y="22"/>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36"/>
            <p:cNvSpPr>
              <a:spLocks/>
            </p:cNvSpPr>
            <p:nvPr/>
          </p:nvSpPr>
          <p:spPr bwMode="gray">
            <a:xfrm>
              <a:off x="9526281" y="5527312"/>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37"/>
            <p:cNvSpPr>
              <a:spLocks/>
            </p:cNvSpPr>
            <p:nvPr/>
          </p:nvSpPr>
          <p:spPr bwMode="gray">
            <a:xfrm>
              <a:off x="9526281" y="5667303"/>
              <a:ext cx="449587" cy="78073"/>
            </a:xfrm>
            <a:custGeom>
              <a:avLst/>
              <a:gdLst>
                <a:gd name="T0" fmla="*/ 25 w 287"/>
                <a:gd name="T1" fmla="*/ 0 h 50"/>
                <a:gd name="T2" fmla="*/ 0 w 287"/>
                <a:gd name="T3" fmla="*/ 23 h 50"/>
                <a:gd name="T4" fmla="*/ 0 w 287"/>
                <a:gd name="T5" fmla="*/ 28 h 50"/>
                <a:gd name="T6" fmla="*/ 25 w 287"/>
                <a:gd name="T7" fmla="*/ 50 h 50"/>
                <a:gd name="T8" fmla="*/ 262 w 287"/>
                <a:gd name="T9" fmla="*/ 50 h 50"/>
                <a:gd name="T10" fmla="*/ 287 w 287"/>
                <a:gd name="T11" fmla="*/ 28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8"/>
                    <a:pt x="0" y="28"/>
                    <a:pt x="0" y="28"/>
                  </a:cubicBezTo>
                  <a:cubicBezTo>
                    <a:pt x="0" y="28"/>
                    <a:pt x="0" y="50"/>
                    <a:pt x="25" y="50"/>
                  </a:cubicBezTo>
                  <a:cubicBezTo>
                    <a:pt x="262" y="50"/>
                    <a:pt x="262" y="50"/>
                    <a:pt x="262" y="50"/>
                  </a:cubicBezTo>
                  <a:cubicBezTo>
                    <a:pt x="262" y="50"/>
                    <a:pt x="287" y="50"/>
                    <a:pt x="287" y="28"/>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38"/>
            <p:cNvSpPr>
              <a:spLocks/>
            </p:cNvSpPr>
            <p:nvPr/>
          </p:nvSpPr>
          <p:spPr bwMode="gray">
            <a:xfrm>
              <a:off x="9526281" y="5807294"/>
              <a:ext cx="449587" cy="75380"/>
            </a:xfrm>
            <a:custGeom>
              <a:avLst/>
              <a:gdLst>
                <a:gd name="T0" fmla="*/ 25 w 287"/>
                <a:gd name="T1" fmla="*/ 0 h 49"/>
                <a:gd name="T2" fmla="*/ 0 w 287"/>
                <a:gd name="T3" fmla="*/ 23 h 49"/>
                <a:gd name="T4" fmla="*/ 0 w 287"/>
                <a:gd name="T5" fmla="*/ 27 h 49"/>
                <a:gd name="T6" fmla="*/ 25 w 287"/>
                <a:gd name="T7" fmla="*/ 49 h 49"/>
                <a:gd name="T8" fmla="*/ 262 w 287"/>
                <a:gd name="T9" fmla="*/ 49 h 49"/>
                <a:gd name="T10" fmla="*/ 287 w 287"/>
                <a:gd name="T11" fmla="*/ 27 h 49"/>
                <a:gd name="T12" fmla="*/ 287 w 287"/>
                <a:gd name="T13" fmla="*/ 23 h 49"/>
                <a:gd name="T14" fmla="*/ 262 w 287"/>
                <a:gd name="T15" fmla="*/ 0 h 49"/>
                <a:gd name="T16" fmla="*/ 153 w 287"/>
                <a:gd name="T17" fmla="*/ 0 h 49"/>
                <a:gd name="T18" fmla="*/ 25 w 28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49">
                  <a:moveTo>
                    <a:pt x="25" y="0"/>
                  </a:moveTo>
                  <a:cubicBezTo>
                    <a:pt x="25" y="0"/>
                    <a:pt x="0" y="0"/>
                    <a:pt x="0" y="23"/>
                  </a:cubicBezTo>
                  <a:cubicBezTo>
                    <a:pt x="0" y="27"/>
                    <a:pt x="0" y="27"/>
                    <a:pt x="0" y="27"/>
                  </a:cubicBezTo>
                  <a:cubicBezTo>
                    <a:pt x="0" y="27"/>
                    <a:pt x="0" y="49"/>
                    <a:pt x="25" y="49"/>
                  </a:cubicBezTo>
                  <a:cubicBezTo>
                    <a:pt x="262" y="49"/>
                    <a:pt x="262" y="49"/>
                    <a:pt x="262" y="49"/>
                  </a:cubicBezTo>
                  <a:cubicBezTo>
                    <a:pt x="262" y="49"/>
                    <a:pt x="287" y="49"/>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9"/>
            <p:cNvSpPr>
              <a:spLocks/>
            </p:cNvSpPr>
            <p:nvPr/>
          </p:nvSpPr>
          <p:spPr bwMode="gray">
            <a:xfrm>
              <a:off x="9526281" y="5941900"/>
              <a:ext cx="449587" cy="78073"/>
            </a:xfrm>
            <a:custGeom>
              <a:avLst/>
              <a:gdLst>
                <a:gd name="T0" fmla="*/ 25 w 287"/>
                <a:gd name="T1" fmla="*/ 0 h 50"/>
                <a:gd name="T2" fmla="*/ 0 w 287"/>
                <a:gd name="T3" fmla="*/ 24 h 50"/>
                <a:gd name="T4" fmla="*/ 0 w 287"/>
                <a:gd name="T5" fmla="*/ 28 h 50"/>
                <a:gd name="T6" fmla="*/ 25 w 287"/>
                <a:gd name="T7" fmla="*/ 50 h 50"/>
                <a:gd name="T8" fmla="*/ 262 w 287"/>
                <a:gd name="T9" fmla="*/ 50 h 50"/>
                <a:gd name="T10" fmla="*/ 287 w 287"/>
                <a:gd name="T11" fmla="*/ 28 h 50"/>
                <a:gd name="T12" fmla="*/ 287 w 287"/>
                <a:gd name="T13" fmla="*/ 24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4"/>
                  </a:cubicBezTo>
                  <a:cubicBezTo>
                    <a:pt x="0" y="28"/>
                    <a:pt x="0" y="28"/>
                    <a:pt x="0" y="28"/>
                  </a:cubicBezTo>
                  <a:cubicBezTo>
                    <a:pt x="0" y="28"/>
                    <a:pt x="0" y="50"/>
                    <a:pt x="25" y="50"/>
                  </a:cubicBezTo>
                  <a:cubicBezTo>
                    <a:pt x="262" y="50"/>
                    <a:pt x="262" y="50"/>
                    <a:pt x="262" y="50"/>
                  </a:cubicBezTo>
                  <a:cubicBezTo>
                    <a:pt x="262" y="50"/>
                    <a:pt x="287" y="50"/>
                    <a:pt x="287" y="28"/>
                  </a:cubicBezTo>
                  <a:cubicBezTo>
                    <a:pt x="287" y="24"/>
                    <a:pt x="287" y="24"/>
                    <a:pt x="287" y="24"/>
                  </a:cubicBezTo>
                  <a:cubicBezTo>
                    <a:pt x="287" y="24"/>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40"/>
            <p:cNvSpPr>
              <a:spLocks noChangeArrowheads="1"/>
            </p:cNvSpPr>
            <p:nvPr/>
          </p:nvSpPr>
          <p:spPr bwMode="gray">
            <a:xfrm>
              <a:off x="9889718" y="499157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Oval 41"/>
            <p:cNvSpPr>
              <a:spLocks noChangeArrowheads="1"/>
            </p:cNvSpPr>
            <p:nvPr/>
          </p:nvSpPr>
          <p:spPr bwMode="gray">
            <a:xfrm>
              <a:off x="9889718" y="5131568"/>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Oval 42"/>
            <p:cNvSpPr>
              <a:spLocks noChangeArrowheads="1"/>
            </p:cNvSpPr>
            <p:nvPr/>
          </p:nvSpPr>
          <p:spPr bwMode="gray">
            <a:xfrm>
              <a:off x="9889718" y="5268867"/>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4" name="Oval 43"/>
            <p:cNvSpPr>
              <a:spLocks noChangeArrowheads="1"/>
            </p:cNvSpPr>
            <p:nvPr/>
          </p:nvSpPr>
          <p:spPr bwMode="gray">
            <a:xfrm>
              <a:off x="9889718" y="540616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Oval 44"/>
            <p:cNvSpPr>
              <a:spLocks noChangeArrowheads="1"/>
            </p:cNvSpPr>
            <p:nvPr/>
          </p:nvSpPr>
          <p:spPr bwMode="gray">
            <a:xfrm>
              <a:off x="9889718" y="5546156"/>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Oval 45"/>
            <p:cNvSpPr>
              <a:spLocks noChangeArrowheads="1"/>
            </p:cNvSpPr>
            <p:nvPr/>
          </p:nvSpPr>
          <p:spPr bwMode="gray">
            <a:xfrm>
              <a:off x="9889718" y="5683456"/>
              <a:ext cx="45767" cy="45767"/>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Oval 46"/>
            <p:cNvSpPr>
              <a:spLocks noChangeArrowheads="1"/>
            </p:cNvSpPr>
            <p:nvPr/>
          </p:nvSpPr>
          <p:spPr bwMode="gray">
            <a:xfrm>
              <a:off x="9889718" y="5823447"/>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Oval 47"/>
            <p:cNvSpPr>
              <a:spLocks noChangeArrowheads="1"/>
            </p:cNvSpPr>
            <p:nvPr/>
          </p:nvSpPr>
          <p:spPr bwMode="gray">
            <a:xfrm>
              <a:off x="9889718" y="5960744"/>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48"/>
            <p:cNvSpPr>
              <a:spLocks/>
            </p:cNvSpPr>
            <p:nvPr/>
          </p:nvSpPr>
          <p:spPr bwMode="gray">
            <a:xfrm>
              <a:off x="9526281" y="6081891"/>
              <a:ext cx="449587" cy="78073"/>
            </a:xfrm>
            <a:custGeom>
              <a:avLst/>
              <a:gdLst>
                <a:gd name="T0" fmla="*/ 25 w 287"/>
                <a:gd name="T1" fmla="*/ 0 h 50"/>
                <a:gd name="T2" fmla="*/ 0 w 287"/>
                <a:gd name="T3" fmla="*/ 23 h 50"/>
                <a:gd name="T4" fmla="*/ 0 w 287"/>
                <a:gd name="T5" fmla="*/ 27 h 50"/>
                <a:gd name="T6" fmla="*/ 25 w 287"/>
                <a:gd name="T7" fmla="*/ 50 h 50"/>
                <a:gd name="T8" fmla="*/ 262 w 287"/>
                <a:gd name="T9" fmla="*/ 50 h 50"/>
                <a:gd name="T10" fmla="*/ 287 w 287"/>
                <a:gd name="T11" fmla="*/ 27 h 50"/>
                <a:gd name="T12" fmla="*/ 287 w 287"/>
                <a:gd name="T13" fmla="*/ 23 h 50"/>
                <a:gd name="T14" fmla="*/ 262 w 287"/>
                <a:gd name="T15" fmla="*/ 0 h 50"/>
                <a:gd name="T16" fmla="*/ 153 w 287"/>
                <a:gd name="T17" fmla="*/ 0 h 50"/>
                <a:gd name="T18" fmla="*/ 25 w 287"/>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50">
                  <a:moveTo>
                    <a:pt x="25" y="0"/>
                  </a:moveTo>
                  <a:cubicBezTo>
                    <a:pt x="25" y="0"/>
                    <a:pt x="0" y="0"/>
                    <a:pt x="0" y="23"/>
                  </a:cubicBezTo>
                  <a:cubicBezTo>
                    <a:pt x="0" y="27"/>
                    <a:pt x="0" y="27"/>
                    <a:pt x="0" y="27"/>
                  </a:cubicBezTo>
                  <a:cubicBezTo>
                    <a:pt x="0" y="27"/>
                    <a:pt x="0" y="50"/>
                    <a:pt x="25" y="50"/>
                  </a:cubicBezTo>
                  <a:cubicBezTo>
                    <a:pt x="262" y="50"/>
                    <a:pt x="262" y="50"/>
                    <a:pt x="262" y="50"/>
                  </a:cubicBezTo>
                  <a:cubicBezTo>
                    <a:pt x="262" y="50"/>
                    <a:pt x="287" y="50"/>
                    <a:pt x="287" y="27"/>
                  </a:cubicBezTo>
                  <a:cubicBezTo>
                    <a:pt x="287" y="23"/>
                    <a:pt x="287" y="23"/>
                    <a:pt x="287" y="23"/>
                  </a:cubicBezTo>
                  <a:cubicBezTo>
                    <a:pt x="287" y="23"/>
                    <a:pt x="287" y="0"/>
                    <a:pt x="262" y="0"/>
                  </a:cubicBezTo>
                  <a:cubicBezTo>
                    <a:pt x="153" y="0"/>
                    <a:pt x="153" y="0"/>
                    <a:pt x="153" y="0"/>
                  </a:cubicBezTo>
                  <a:lnTo>
                    <a:pt x="25"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49"/>
            <p:cNvSpPr>
              <a:spLocks noChangeArrowheads="1"/>
            </p:cNvSpPr>
            <p:nvPr/>
          </p:nvSpPr>
          <p:spPr bwMode="gray">
            <a:xfrm>
              <a:off x="9889718" y="6100735"/>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50"/>
            <p:cNvSpPr>
              <a:spLocks/>
            </p:cNvSpPr>
            <p:nvPr/>
          </p:nvSpPr>
          <p:spPr bwMode="gray">
            <a:xfrm>
              <a:off x="8842479" y="5909595"/>
              <a:ext cx="446894" cy="78073"/>
            </a:xfrm>
            <a:custGeom>
              <a:avLst/>
              <a:gdLst>
                <a:gd name="T0" fmla="*/ 24 w 286"/>
                <a:gd name="T1" fmla="*/ 0 h 50"/>
                <a:gd name="T2" fmla="*/ 0 w 286"/>
                <a:gd name="T3" fmla="*/ 23 h 50"/>
                <a:gd name="T4" fmla="*/ 0 w 286"/>
                <a:gd name="T5" fmla="*/ 27 h 50"/>
                <a:gd name="T6" fmla="*/ 24 w 286"/>
                <a:gd name="T7" fmla="*/ 50 h 50"/>
                <a:gd name="T8" fmla="*/ 262 w 286"/>
                <a:gd name="T9" fmla="*/ 50 h 50"/>
                <a:gd name="T10" fmla="*/ 286 w 286"/>
                <a:gd name="T11" fmla="*/ 27 h 50"/>
                <a:gd name="T12" fmla="*/ 286 w 286"/>
                <a:gd name="T13" fmla="*/ 23 h 50"/>
                <a:gd name="T14" fmla="*/ 262 w 286"/>
                <a:gd name="T15" fmla="*/ 0 h 50"/>
                <a:gd name="T16" fmla="*/ 152 w 286"/>
                <a:gd name="T17" fmla="*/ 0 h 50"/>
                <a:gd name="T18" fmla="*/ 24 w 286"/>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50">
                  <a:moveTo>
                    <a:pt x="24" y="0"/>
                  </a:moveTo>
                  <a:cubicBezTo>
                    <a:pt x="24" y="0"/>
                    <a:pt x="0" y="0"/>
                    <a:pt x="0" y="23"/>
                  </a:cubicBezTo>
                  <a:cubicBezTo>
                    <a:pt x="0" y="27"/>
                    <a:pt x="0" y="27"/>
                    <a:pt x="0" y="27"/>
                  </a:cubicBezTo>
                  <a:cubicBezTo>
                    <a:pt x="0" y="27"/>
                    <a:pt x="0" y="50"/>
                    <a:pt x="24" y="50"/>
                  </a:cubicBezTo>
                  <a:cubicBezTo>
                    <a:pt x="262" y="50"/>
                    <a:pt x="262" y="50"/>
                    <a:pt x="262" y="50"/>
                  </a:cubicBezTo>
                  <a:cubicBezTo>
                    <a:pt x="262" y="50"/>
                    <a:pt x="286" y="50"/>
                    <a:pt x="286" y="27"/>
                  </a:cubicBezTo>
                  <a:cubicBezTo>
                    <a:pt x="286" y="23"/>
                    <a:pt x="286" y="23"/>
                    <a:pt x="286" y="23"/>
                  </a:cubicBezTo>
                  <a:cubicBezTo>
                    <a:pt x="286" y="23"/>
                    <a:pt x="286" y="0"/>
                    <a:pt x="262" y="0"/>
                  </a:cubicBezTo>
                  <a:cubicBezTo>
                    <a:pt x="152" y="0"/>
                    <a:pt x="152" y="0"/>
                    <a:pt x="152" y="0"/>
                  </a:cubicBezTo>
                  <a:lnTo>
                    <a:pt x="24"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51"/>
            <p:cNvSpPr>
              <a:spLocks noChangeArrowheads="1"/>
            </p:cNvSpPr>
            <p:nvPr/>
          </p:nvSpPr>
          <p:spPr bwMode="gray">
            <a:xfrm>
              <a:off x="9203225" y="5928439"/>
              <a:ext cx="45767" cy="43074"/>
            </a:xfrm>
            <a:prstGeom prst="ellipse">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Rectangle 52"/>
            <p:cNvSpPr>
              <a:spLocks noChangeArrowheads="1"/>
            </p:cNvSpPr>
            <p:nvPr/>
          </p:nvSpPr>
          <p:spPr bwMode="gray">
            <a:xfrm>
              <a:off x="8643261" y="4245857"/>
              <a:ext cx="573425" cy="255753"/>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53"/>
            <p:cNvSpPr>
              <a:spLocks/>
            </p:cNvSpPr>
            <p:nvPr/>
          </p:nvSpPr>
          <p:spPr bwMode="gray">
            <a:xfrm>
              <a:off x="10780814" y="5917670"/>
              <a:ext cx="1235690" cy="611115"/>
            </a:xfrm>
            <a:custGeom>
              <a:avLst/>
              <a:gdLst>
                <a:gd name="T0" fmla="*/ 763 w 788"/>
                <a:gd name="T1" fmla="*/ 392 h 392"/>
                <a:gd name="T2" fmla="*/ 788 w 788"/>
                <a:gd name="T3" fmla="*/ 304 h 392"/>
                <a:gd name="T4" fmla="*/ 625 w 788"/>
                <a:gd name="T5" fmla="*/ 142 h 392"/>
                <a:gd name="T6" fmla="*/ 580 w 788"/>
                <a:gd name="T7" fmla="*/ 149 h 392"/>
                <a:gd name="T8" fmla="*/ 358 w 788"/>
                <a:gd name="T9" fmla="*/ 0 h 392"/>
                <a:gd name="T10" fmla="*/ 120 w 788"/>
                <a:gd name="T11" fmla="*/ 224 h 392"/>
                <a:gd name="T12" fmla="*/ 0 w 788"/>
                <a:gd name="T13" fmla="*/ 347 h 392"/>
                <a:gd name="T14" fmla="*/ 8 w 788"/>
                <a:gd name="T15" fmla="*/ 392 h 392"/>
                <a:gd name="T16" fmla="*/ 763 w 788"/>
                <a:gd name="T1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8" h="392">
                  <a:moveTo>
                    <a:pt x="763" y="392"/>
                  </a:moveTo>
                  <a:cubicBezTo>
                    <a:pt x="779" y="366"/>
                    <a:pt x="788" y="337"/>
                    <a:pt x="788" y="304"/>
                  </a:cubicBezTo>
                  <a:cubicBezTo>
                    <a:pt x="788" y="214"/>
                    <a:pt x="715" y="142"/>
                    <a:pt x="625" y="142"/>
                  </a:cubicBezTo>
                  <a:cubicBezTo>
                    <a:pt x="609" y="142"/>
                    <a:pt x="594" y="144"/>
                    <a:pt x="580" y="149"/>
                  </a:cubicBezTo>
                  <a:cubicBezTo>
                    <a:pt x="544" y="61"/>
                    <a:pt x="458" y="0"/>
                    <a:pt x="358" y="0"/>
                  </a:cubicBezTo>
                  <a:cubicBezTo>
                    <a:pt x="231" y="0"/>
                    <a:pt x="127" y="99"/>
                    <a:pt x="120" y="224"/>
                  </a:cubicBezTo>
                  <a:cubicBezTo>
                    <a:pt x="53" y="226"/>
                    <a:pt x="0" y="280"/>
                    <a:pt x="0" y="347"/>
                  </a:cubicBezTo>
                  <a:cubicBezTo>
                    <a:pt x="0" y="363"/>
                    <a:pt x="2" y="378"/>
                    <a:pt x="8" y="392"/>
                  </a:cubicBezTo>
                  <a:lnTo>
                    <a:pt x="763" y="39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55"/>
            <p:cNvSpPr>
              <a:spLocks/>
            </p:cNvSpPr>
            <p:nvPr/>
          </p:nvSpPr>
          <p:spPr bwMode="gray">
            <a:xfrm>
              <a:off x="11198094" y="5990359"/>
              <a:ext cx="1238381" cy="646112"/>
            </a:xfrm>
            <a:custGeom>
              <a:avLst/>
              <a:gdLst>
                <a:gd name="T0" fmla="*/ 790 w 790"/>
                <a:gd name="T1" fmla="*/ 206 h 414"/>
                <a:gd name="T2" fmla="*/ 661 w 790"/>
                <a:gd name="T3" fmla="*/ 149 h 414"/>
                <a:gd name="T4" fmla="*/ 613 w 790"/>
                <a:gd name="T5" fmla="*/ 156 h 414"/>
                <a:gd name="T6" fmla="*/ 379 w 790"/>
                <a:gd name="T7" fmla="*/ 0 h 414"/>
                <a:gd name="T8" fmla="*/ 127 w 790"/>
                <a:gd name="T9" fmla="*/ 236 h 414"/>
                <a:gd name="T10" fmla="*/ 0 w 790"/>
                <a:gd name="T11" fmla="*/ 366 h 414"/>
                <a:gd name="T12" fmla="*/ 9 w 790"/>
                <a:gd name="T13" fmla="*/ 414 h 414"/>
                <a:gd name="T14" fmla="*/ 790 w 790"/>
                <a:gd name="T15" fmla="*/ 414 h 414"/>
                <a:gd name="T16" fmla="*/ 790 w 790"/>
                <a:gd name="T17" fmla="*/ 20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0" h="414">
                  <a:moveTo>
                    <a:pt x="790" y="206"/>
                  </a:moveTo>
                  <a:cubicBezTo>
                    <a:pt x="758" y="172"/>
                    <a:pt x="713" y="149"/>
                    <a:pt x="661" y="149"/>
                  </a:cubicBezTo>
                  <a:cubicBezTo>
                    <a:pt x="644" y="149"/>
                    <a:pt x="628" y="152"/>
                    <a:pt x="613" y="156"/>
                  </a:cubicBezTo>
                  <a:cubicBezTo>
                    <a:pt x="576" y="64"/>
                    <a:pt x="484" y="0"/>
                    <a:pt x="379" y="0"/>
                  </a:cubicBezTo>
                  <a:cubicBezTo>
                    <a:pt x="245" y="0"/>
                    <a:pt x="135" y="104"/>
                    <a:pt x="127" y="236"/>
                  </a:cubicBezTo>
                  <a:cubicBezTo>
                    <a:pt x="56" y="238"/>
                    <a:pt x="0" y="295"/>
                    <a:pt x="0" y="366"/>
                  </a:cubicBezTo>
                  <a:cubicBezTo>
                    <a:pt x="0" y="383"/>
                    <a:pt x="3" y="399"/>
                    <a:pt x="9" y="414"/>
                  </a:cubicBezTo>
                  <a:cubicBezTo>
                    <a:pt x="790" y="414"/>
                    <a:pt x="790" y="414"/>
                    <a:pt x="790" y="414"/>
                  </a:cubicBezTo>
                  <a:lnTo>
                    <a:pt x="790"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59"/>
            <p:cNvSpPr>
              <a:spLocks/>
            </p:cNvSpPr>
            <p:nvPr/>
          </p:nvSpPr>
          <p:spPr bwMode="gray">
            <a:xfrm>
              <a:off x="11682678" y="5328094"/>
              <a:ext cx="309596" cy="441510"/>
            </a:xfrm>
            <a:custGeom>
              <a:avLst/>
              <a:gdLst>
                <a:gd name="T0" fmla="*/ 198 w 198"/>
                <a:gd name="T1" fmla="*/ 202 h 283"/>
                <a:gd name="T2" fmla="*/ 198 w 198"/>
                <a:gd name="T3" fmla="*/ 0 h 283"/>
                <a:gd name="T4" fmla="*/ 177 w 198"/>
                <a:gd name="T5" fmla="*/ 6 h 283"/>
                <a:gd name="T6" fmla="*/ 177 w 198"/>
                <a:gd name="T7" fmla="*/ 230 h 283"/>
                <a:gd name="T8" fmla="*/ 0 w 198"/>
                <a:gd name="T9" fmla="*/ 230 h 283"/>
                <a:gd name="T10" fmla="*/ 26 w 198"/>
                <a:gd name="T11" fmla="*/ 246 h 283"/>
                <a:gd name="T12" fmla="*/ 26 w 198"/>
                <a:gd name="T13" fmla="*/ 283 h 283"/>
                <a:gd name="T14" fmla="*/ 171 w 198"/>
                <a:gd name="T15" fmla="*/ 283 h 283"/>
                <a:gd name="T16" fmla="*/ 171 w 198"/>
                <a:gd name="T17" fmla="*/ 246 h 283"/>
                <a:gd name="T18" fmla="*/ 198 w 198"/>
                <a:gd name="T19" fmla="*/ 20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283">
                  <a:moveTo>
                    <a:pt x="198" y="202"/>
                  </a:moveTo>
                  <a:cubicBezTo>
                    <a:pt x="198" y="0"/>
                    <a:pt x="198" y="0"/>
                    <a:pt x="198" y="0"/>
                  </a:cubicBezTo>
                  <a:cubicBezTo>
                    <a:pt x="190" y="0"/>
                    <a:pt x="183" y="3"/>
                    <a:pt x="177" y="6"/>
                  </a:cubicBezTo>
                  <a:cubicBezTo>
                    <a:pt x="177" y="230"/>
                    <a:pt x="177" y="230"/>
                    <a:pt x="177" y="230"/>
                  </a:cubicBezTo>
                  <a:cubicBezTo>
                    <a:pt x="0" y="230"/>
                    <a:pt x="0" y="230"/>
                    <a:pt x="0" y="230"/>
                  </a:cubicBezTo>
                  <a:cubicBezTo>
                    <a:pt x="6" y="239"/>
                    <a:pt x="15" y="244"/>
                    <a:pt x="26" y="246"/>
                  </a:cubicBezTo>
                  <a:cubicBezTo>
                    <a:pt x="26" y="283"/>
                    <a:pt x="26" y="283"/>
                    <a:pt x="26" y="283"/>
                  </a:cubicBezTo>
                  <a:cubicBezTo>
                    <a:pt x="171" y="283"/>
                    <a:pt x="171" y="283"/>
                    <a:pt x="171" y="283"/>
                  </a:cubicBezTo>
                  <a:cubicBezTo>
                    <a:pt x="171" y="246"/>
                    <a:pt x="171" y="246"/>
                    <a:pt x="171" y="246"/>
                  </a:cubicBezTo>
                  <a:lnTo>
                    <a:pt x="198" y="202"/>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60"/>
            <p:cNvSpPr>
              <a:spLocks/>
            </p:cNvSpPr>
            <p:nvPr/>
          </p:nvSpPr>
          <p:spPr bwMode="gray">
            <a:xfrm>
              <a:off x="11704215" y="5815369"/>
              <a:ext cx="263829" cy="419973"/>
            </a:xfrm>
            <a:custGeom>
              <a:avLst/>
              <a:gdLst>
                <a:gd name="T0" fmla="*/ 167 w 167"/>
                <a:gd name="T1" fmla="*/ 270 h 270"/>
                <a:gd name="T2" fmla="*/ 167 w 167"/>
                <a:gd name="T3" fmla="*/ 0 h 270"/>
                <a:gd name="T4" fmla="*/ 0 w 167"/>
                <a:gd name="T5" fmla="*/ 0 h 270"/>
                <a:gd name="T6" fmla="*/ 0 w 167"/>
                <a:gd name="T7" fmla="*/ 203 h 270"/>
                <a:gd name="T8" fmla="*/ 18 w 167"/>
                <a:gd name="T9" fmla="*/ 202 h 270"/>
                <a:gd name="T10" fmla="*/ 167 w 167"/>
                <a:gd name="T11" fmla="*/ 270 h 270"/>
              </a:gdLst>
              <a:ahLst/>
              <a:cxnLst>
                <a:cxn ang="0">
                  <a:pos x="T0" y="T1"/>
                </a:cxn>
                <a:cxn ang="0">
                  <a:pos x="T2" y="T3"/>
                </a:cxn>
                <a:cxn ang="0">
                  <a:pos x="T4" y="T5"/>
                </a:cxn>
                <a:cxn ang="0">
                  <a:pos x="T6" y="T7"/>
                </a:cxn>
                <a:cxn ang="0">
                  <a:pos x="T8" y="T9"/>
                </a:cxn>
                <a:cxn ang="0">
                  <a:pos x="T10" y="T11"/>
                </a:cxn>
              </a:cxnLst>
              <a:rect l="0" t="0" r="r" b="b"/>
              <a:pathLst>
                <a:path w="167" h="270">
                  <a:moveTo>
                    <a:pt x="167" y="270"/>
                  </a:moveTo>
                  <a:cubicBezTo>
                    <a:pt x="167" y="0"/>
                    <a:pt x="167" y="0"/>
                    <a:pt x="167" y="0"/>
                  </a:cubicBezTo>
                  <a:cubicBezTo>
                    <a:pt x="0" y="0"/>
                    <a:pt x="0" y="0"/>
                    <a:pt x="0" y="0"/>
                  </a:cubicBezTo>
                  <a:cubicBezTo>
                    <a:pt x="0" y="203"/>
                    <a:pt x="0" y="203"/>
                    <a:pt x="0" y="203"/>
                  </a:cubicBezTo>
                  <a:cubicBezTo>
                    <a:pt x="6" y="203"/>
                    <a:pt x="12" y="202"/>
                    <a:pt x="18" y="202"/>
                  </a:cubicBezTo>
                  <a:cubicBezTo>
                    <a:pt x="77" y="202"/>
                    <a:pt x="131" y="229"/>
                    <a:pt x="167" y="27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Rectangle 61"/>
            <p:cNvSpPr>
              <a:spLocks noChangeArrowheads="1"/>
            </p:cNvSpPr>
            <p:nvPr/>
          </p:nvSpPr>
          <p:spPr bwMode="gray">
            <a:xfrm>
              <a:off x="11712292" y="5769604"/>
              <a:ext cx="247676" cy="457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62"/>
            <p:cNvSpPr>
              <a:spLocks/>
            </p:cNvSpPr>
            <p:nvPr/>
          </p:nvSpPr>
          <p:spPr bwMode="gray">
            <a:xfrm>
              <a:off x="9698577" y="6491095"/>
              <a:ext cx="1017626" cy="503430"/>
            </a:xfrm>
            <a:custGeom>
              <a:avLst/>
              <a:gdLst>
                <a:gd name="T0" fmla="*/ 628 w 650"/>
                <a:gd name="T1" fmla="*/ 323 h 323"/>
                <a:gd name="T2" fmla="*/ 650 w 650"/>
                <a:gd name="T3" fmla="*/ 251 h 323"/>
                <a:gd name="T4" fmla="*/ 515 w 650"/>
                <a:gd name="T5" fmla="*/ 117 h 323"/>
                <a:gd name="T6" fmla="*/ 477 w 650"/>
                <a:gd name="T7" fmla="*/ 122 h 323"/>
                <a:gd name="T8" fmla="*/ 295 w 650"/>
                <a:gd name="T9" fmla="*/ 0 h 323"/>
                <a:gd name="T10" fmla="*/ 99 w 650"/>
                <a:gd name="T11" fmla="*/ 184 h 323"/>
                <a:gd name="T12" fmla="*/ 0 w 650"/>
                <a:gd name="T13" fmla="*/ 285 h 323"/>
                <a:gd name="T14" fmla="*/ 7 w 650"/>
                <a:gd name="T15" fmla="*/ 323 h 323"/>
                <a:gd name="T16" fmla="*/ 628 w 650"/>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323">
                  <a:moveTo>
                    <a:pt x="628" y="323"/>
                  </a:moveTo>
                  <a:cubicBezTo>
                    <a:pt x="642" y="302"/>
                    <a:pt x="650" y="277"/>
                    <a:pt x="650" y="251"/>
                  </a:cubicBezTo>
                  <a:cubicBezTo>
                    <a:pt x="650" y="176"/>
                    <a:pt x="589" y="117"/>
                    <a:pt x="515" y="117"/>
                  </a:cubicBezTo>
                  <a:cubicBezTo>
                    <a:pt x="502" y="117"/>
                    <a:pt x="489" y="119"/>
                    <a:pt x="477" y="122"/>
                  </a:cubicBezTo>
                  <a:cubicBezTo>
                    <a:pt x="448" y="50"/>
                    <a:pt x="377" y="0"/>
                    <a:pt x="295" y="0"/>
                  </a:cubicBezTo>
                  <a:cubicBezTo>
                    <a:pt x="191" y="0"/>
                    <a:pt x="105" y="81"/>
                    <a:pt x="99" y="184"/>
                  </a:cubicBezTo>
                  <a:cubicBezTo>
                    <a:pt x="44" y="185"/>
                    <a:pt x="0" y="230"/>
                    <a:pt x="0" y="285"/>
                  </a:cubicBezTo>
                  <a:cubicBezTo>
                    <a:pt x="0" y="298"/>
                    <a:pt x="1" y="311"/>
                    <a:pt x="7" y="323"/>
                  </a:cubicBezTo>
                  <a:lnTo>
                    <a:pt x="628"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63"/>
            <p:cNvSpPr>
              <a:spLocks noChangeArrowheads="1"/>
            </p:cNvSpPr>
            <p:nvPr/>
          </p:nvSpPr>
          <p:spPr bwMode="gray">
            <a:xfrm>
              <a:off x="10840041" y="5481545"/>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64"/>
            <p:cNvSpPr>
              <a:spLocks/>
            </p:cNvSpPr>
            <p:nvPr/>
          </p:nvSpPr>
          <p:spPr bwMode="gray">
            <a:xfrm>
              <a:off x="6852992" y="5328094"/>
              <a:ext cx="729569" cy="231523"/>
            </a:xfrm>
            <a:custGeom>
              <a:avLst/>
              <a:gdLst>
                <a:gd name="T0" fmla="*/ 271 w 271"/>
                <a:gd name="T1" fmla="*/ 0 h 86"/>
                <a:gd name="T2" fmla="*/ 0 w 271"/>
                <a:gd name="T3" fmla="*/ 0 h 86"/>
                <a:gd name="T4" fmla="*/ 17 w 271"/>
                <a:gd name="T5" fmla="*/ 11 h 86"/>
                <a:gd name="T6" fmla="*/ 132 w 271"/>
                <a:gd name="T7" fmla="*/ 48 h 86"/>
                <a:gd name="T8" fmla="*/ 133 w 271"/>
                <a:gd name="T9" fmla="*/ 86 h 86"/>
                <a:gd name="T10" fmla="*/ 240 w 271"/>
                <a:gd name="T11" fmla="*/ 86 h 86"/>
                <a:gd name="T12" fmla="*/ 240 w 271"/>
                <a:gd name="T13" fmla="*/ 21 h 86"/>
                <a:gd name="T14" fmla="*/ 271 w 27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86">
                  <a:moveTo>
                    <a:pt x="271" y="0"/>
                  </a:moveTo>
                  <a:lnTo>
                    <a:pt x="0" y="0"/>
                  </a:lnTo>
                  <a:lnTo>
                    <a:pt x="17" y="11"/>
                  </a:lnTo>
                  <a:lnTo>
                    <a:pt x="132" y="48"/>
                  </a:lnTo>
                  <a:lnTo>
                    <a:pt x="133" y="86"/>
                  </a:lnTo>
                  <a:lnTo>
                    <a:pt x="240" y="86"/>
                  </a:lnTo>
                  <a:lnTo>
                    <a:pt x="240" y="21"/>
                  </a:lnTo>
                  <a:lnTo>
                    <a:pt x="271" y="0"/>
                  </a:lnTo>
                  <a:close/>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65"/>
            <p:cNvSpPr>
              <a:spLocks/>
            </p:cNvSpPr>
            <p:nvPr/>
          </p:nvSpPr>
          <p:spPr bwMode="gray">
            <a:xfrm>
              <a:off x="7192201" y="5621536"/>
              <a:ext cx="328440" cy="508814"/>
            </a:xfrm>
            <a:custGeom>
              <a:avLst/>
              <a:gdLst>
                <a:gd name="T0" fmla="*/ 209 w 209"/>
                <a:gd name="T1" fmla="*/ 327 h 327"/>
                <a:gd name="T2" fmla="*/ 209 w 209"/>
                <a:gd name="T3" fmla="*/ 0 h 327"/>
                <a:gd name="T4" fmla="*/ 0 w 209"/>
                <a:gd name="T5" fmla="*/ 0 h 327"/>
                <a:gd name="T6" fmla="*/ 0 w 209"/>
                <a:gd name="T7" fmla="*/ 242 h 327"/>
                <a:gd name="T8" fmla="*/ 209 w 209"/>
                <a:gd name="T9" fmla="*/ 327 h 327"/>
              </a:gdLst>
              <a:ahLst/>
              <a:cxnLst>
                <a:cxn ang="0">
                  <a:pos x="T0" y="T1"/>
                </a:cxn>
                <a:cxn ang="0">
                  <a:pos x="T2" y="T3"/>
                </a:cxn>
                <a:cxn ang="0">
                  <a:pos x="T4" y="T5"/>
                </a:cxn>
                <a:cxn ang="0">
                  <a:pos x="T6" y="T7"/>
                </a:cxn>
                <a:cxn ang="0">
                  <a:pos x="T8" y="T9"/>
                </a:cxn>
              </a:cxnLst>
              <a:rect l="0" t="0" r="r" b="b"/>
              <a:pathLst>
                <a:path w="209" h="327">
                  <a:moveTo>
                    <a:pt x="209" y="327"/>
                  </a:moveTo>
                  <a:cubicBezTo>
                    <a:pt x="209" y="0"/>
                    <a:pt x="209" y="0"/>
                    <a:pt x="209" y="0"/>
                  </a:cubicBezTo>
                  <a:cubicBezTo>
                    <a:pt x="0" y="0"/>
                    <a:pt x="0" y="0"/>
                    <a:pt x="0" y="0"/>
                  </a:cubicBezTo>
                  <a:cubicBezTo>
                    <a:pt x="0" y="242"/>
                    <a:pt x="0" y="242"/>
                    <a:pt x="0" y="242"/>
                  </a:cubicBezTo>
                  <a:cubicBezTo>
                    <a:pt x="81" y="245"/>
                    <a:pt x="153" y="277"/>
                    <a:pt x="209" y="327"/>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66"/>
            <p:cNvSpPr>
              <a:spLocks noChangeArrowheads="1"/>
            </p:cNvSpPr>
            <p:nvPr/>
          </p:nvSpPr>
          <p:spPr bwMode="gray">
            <a:xfrm>
              <a:off x="7202970" y="5559618"/>
              <a:ext cx="306903" cy="619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67"/>
            <p:cNvSpPr>
              <a:spLocks noChangeArrowheads="1"/>
            </p:cNvSpPr>
            <p:nvPr/>
          </p:nvSpPr>
          <p:spPr bwMode="gray">
            <a:xfrm>
              <a:off x="7943307" y="5048112"/>
              <a:ext cx="43074" cy="91532"/>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68"/>
            <p:cNvSpPr>
              <a:spLocks/>
            </p:cNvSpPr>
            <p:nvPr/>
          </p:nvSpPr>
          <p:spPr bwMode="gray">
            <a:xfrm>
              <a:off x="7940614" y="5088494"/>
              <a:ext cx="1289532" cy="454971"/>
            </a:xfrm>
            <a:custGeom>
              <a:avLst/>
              <a:gdLst>
                <a:gd name="T0" fmla="*/ 479 w 479"/>
                <a:gd name="T1" fmla="*/ 169 h 169"/>
                <a:gd name="T2" fmla="*/ 163 w 479"/>
                <a:gd name="T3" fmla="*/ 169 h 169"/>
                <a:gd name="T4" fmla="*/ 163 w 479"/>
                <a:gd name="T5" fmla="*/ 5 h 169"/>
                <a:gd name="T6" fmla="*/ 0 w 479"/>
                <a:gd name="T7" fmla="*/ 5 h 169"/>
                <a:gd name="T8" fmla="*/ 0 w 479"/>
                <a:gd name="T9" fmla="*/ 0 h 169"/>
                <a:gd name="T10" fmla="*/ 169 w 479"/>
                <a:gd name="T11" fmla="*/ 0 h 169"/>
                <a:gd name="T12" fmla="*/ 169 w 479"/>
                <a:gd name="T13" fmla="*/ 165 h 169"/>
                <a:gd name="T14" fmla="*/ 479 w 479"/>
                <a:gd name="T15" fmla="*/ 165 h 169"/>
                <a:gd name="T16" fmla="*/ 479 w 47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69">
                  <a:moveTo>
                    <a:pt x="479" y="169"/>
                  </a:moveTo>
                  <a:lnTo>
                    <a:pt x="163" y="169"/>
                  </a:lnTo>
                  <a:lnTo>
                    <a:pt x="163" y="5"/>
                  </a:lnTo>
                  <a:lnTo>
                    <a:pt x="0" y="5"/>
                  </a:lnTo>
                  <a:lnTo>
                    <a:pt x="0" y="0"/>
                  </a:lnTo>
                  <a:lnTo>
                    <a:pt x="169" y="0"/>
                  </a:lnTo>
                  <a:lnTo>
                    <a:pt x="169" y="165"/>
                  </a:lnTo>
                  <a:lnTo>
                    <a:pt x="479" y="165"/>
                  </a:lnTo>
                  <a:lnTo>
                    <a:pt x="479" y="169"/>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Freeform 69"/>
            <p:cNvSpPr>
              <a:spLocks/>
            </p:cNvSpPr>
            <p:nvPr/>
          </p:nvSpPr>
          <p:spPr bwMode="gray">
            <a:xfrm>
              <a:off x="10215467" y="6227266"/>
              <a:ext cx="134607" cy="188449"/>
            </a:xfrm>
            <a:custGeom>
              <a:avLst/>
              <a:gdLst>
                <a:gd name="T0" fmla="*/ 85 w 85"/>
                <a:gd name="T1" fmla="*/ 86 h 121"/>
                <a:gd name="T2" fmla="*/ 85 w 85"/>
                <a:gd name="T3" fmla="*/ 0 h 121"/>
                <a:gd name="T4" fmla="*/ 77 w 85"/>
                <a:gd name="T5" fmla="*/ 2 h 121"/>
                <a:gd name="T6" fmla="*/ 77 w 85"/>
                <a:gd name="T7" fmla="*/ 98 h 121"/>
                <a:gd name="T8" fmla="*/ 0 w 85"/>
                <a:gd name="T9" fmla="*/ 98 h 121"/>
                <a:gd name="T10" fmla="*/ 11 w 85"/>
                <a:gd name="T11" fmla="*/ 105 h 121"/>
                <a:gd name="T12" fmla="*/ 11 w 85"/>
                <a:gd name="T13" fmla="*/ 121 h 121"/>
                <a:gd name="T14" fmla="*/ 73 w 85"/>
                <a:gd name="T15" fmla="*/ 121 h 121"/>
                <a:gd name="T16" fmla="*/ 73 w 85"/>
                <a:gd name="T17" fmla="*/ 105 h 121"/>
                <a:gd name="T18" fmla="*/ 85 w 85"/>
                <a:gd name="T19" fmla="*/ 8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21">
                  <a:moveTo>
                    <a:pt x="85" y="86"/>
                  </a:moveTo>
                  <a:cubicBezTo>
                    <a:pt x="85" y="0"/>
                    <a:pt x="85" y="0"/>
                    <a:pt x="85" y="0"/>
                  </a:cubicBezTo>
                  <a:cubicBezTo>
                    <a:pt x="82" y="0"/>
                    <a:pt x="79" y="1"/>
                    <a:pt x="77" y="2"/>
                  </a:cubicBezTo>
                  <a:cubicBezTo>
                    <a:pt x="77" y="98"/>
                    <a:pt x="77" y="98"/>
                    <a:pt x="77" y="98"/>
                  </a:cubicBezTo>
                  <a:cubicBezTo>
                    <a:pt x="0" y="98"/>
                    <a:pt x="0" y="98"/>
                    <a:pt x="0" y="98"/>
                  </a:cubicBezTo>
                  <a:cubicBezTo>
                    <a:pt x="3" y="102"/>
                    <a:pt x="7" y="104"/>
                    <a:pt x="11" y="105"/>
                  </a:cubicBezTo>
                  <a:cubicBezTo>
                    <a:pt x="11" y="121"/>
                    <a:pt x="11" y="121"/>
                    <a:pt x="11" y="121"/>
                  </a:cubicBezTo>
                  <a:cubicBezTo>
                    <a:pt x="73" y="121"/>
                    <a:pt x="73" y="121"/>
                    <a:pt x="73" y="121"/>
                  </a:cubicBezTo>
                  <a:cubicBezTo>
                    <a:pt x="73" y="105"/>
                    <a:pt x="73" y="105"/>
                    <a:pt x="73" y="105"/>
                  </a:cubicBezTo>
                  <a:lnTo>
                    <a:pt x="85" y="86"/>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70"/>
            <p:cNvSpPr>
              <a:spLocks/>
            </p:cNvSpPr>
            <p:nvPr/>
          </p:nvSpPr>
          <p:spPr bwMode="gray">
            <a:xfrm>
              <a:off x="10228926" y="6437253"/>
              <a:ext cx="110378" cy="250369"/>
            </a:xfrm>
            <a:custGeom>
              <a:avLst/>
              <a:gdLst>
                <a:gd name="T0" fmla="*/ 72 w 72"/>
                <a:gd name="T1" fmla="*/ 160 h 160"/>
                <a:gd name="T2" fmla="*/ 72 w 72"/>
                <a:gd name="T3" fmla="*/ 0 h 160"/>
                <a:gd name="T4" fmla="*/ 0 w 72"/>
                <a:gd name="T5" fmla="*/ 0 h 160"/>
                <a:gd name="T6" fmla="*/ 0 w 72"/>
                <a:gd name="T7" fmla="*/ 119 h 160"/>
                <a:gd name="T8" fmla="*/ 72 w 72"/>
                <a:gd name="T9" fmla="*/ 160 h 160"/>
              </a:gdLst>
              <a:ahLst/>
              <a:cxnLst>
                <a:cxn ang="0">
                  <a:pos x="T0" y="T1"/>
                </a:cxn>
                <a:cxn ang="0">
                  <a:pos x="T2" y="T3"/>
                </a:cxn>
                <a:cxn ang="0">
                  <a:pos x="T4" y="T5"/>
                </a:cxn>
                <a:cxn ang="0">
                  <a:pos x="T6" y="T7"/>
                </a:cxn>
                <a:cxn ang="0">
                  <a:pos x="T8" y="T9"/>
                </a:cxn>
              </a:cxnLst>
              <a:rect l="0" t="0" r="r" b="b"/>
              <a:pathLst>
                <a:path w="72" h="160">
                  <a:moveTo>
                    <a:pt x="72" y="160"/>
                  </a:moveTo>
                  <a:cubicBezTo>
                    <a:pt x="72" y="0"/>
                    <a:pt x="72" y="0"/>
                    <a:pt x="72" y="0"/>
                  </a:cubicBezTo>
                  <a:cubicBezTo>
                    <a:pt x="0" y="0"/>
                    <a:pt x="0" y="0"/>
                    <a:pt x="0" y="0"/>
                  </a:cubicBezTo>
                  <a:cubicBezTo>
                    <a:pt x="0" y="119"/>
                    <a:pt x="0" y="119"/>
                    <a:pt x="0" y="119"/>
                  </a:cubicBezTo>
                  <a:cubicBezTo>
                    <a:pt x="27" y="126"/>
                    <a:pt x="52" y="140"/>
                    <a:pt x="72" y="160"/>
                  </a:cubicBezTo>
                  <a:close/>
                </a:path>
              </a:pathLst>
            </a:custGeom>
            <a:solidFill>
              <a:srgbClr val="001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71"/>
            <p:cNvSpPr>
              <a:spLocks noChangeArrowheads="1"/>
            </p:cNvSpPr>
            <p:nvPr/>
          </p:nvSpPr>
          <p:spPr bwMode="gray">
            <a:xfrm>
              <a:off x="10231619" y="6415716"/>
              <a:ext cx="104994" cy="215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72"/>
            <p:cNvSpPr>
              <a:spLocks/>
            </p:cNvSpPr>
            <p:nvPr/>
          </p:nvSpPr>
          <p:spPr bwMode="gray">
            <a:xfrm>
              <a:off x="9916639" y="5287711"/>
              <a:ext cx="923402" cy="247676"/>
            </a:xfrm>
            <a:custGeom>
              <a:avLst/>
              <a:gdLst>
                <a:gd name="T0" fmla="*/ 343 w 343"/>
                <a:gd name="T1" fmla="*/ 92 h 92"/>
                <a:gd name="T2" fmla="*/ 196 w 343"/>
                <a:gd name="T3" fmla="*/ 92 h 92"/>
                <a:gd name="T4" fmla="*/ 196 w 343"/>
                <a:gd name="T5" fmla="*/ 5 h 92"/>
                <a:gd name="T6" fmla="*/ 0 w 343"/>
                <a:gd name="T7" fmla="*/ 5 h 92"/>
                <a:gd name="T8" fmla="*/ 0 w 343"/>
                <a:gd name="T9" fmla="*/ 0 h 92"/>
                <a:gd name="T10" fmla="*/ 201 w 343"/>
                <a:gd name="T11" fmla="*/ 0 h 92"/>
                <a:gd name="T12" fmla="*/ 201 w 343"/>
                <a:gd name="T13" fmla="*/ 87 h 92"/>
                <a:gd name="T14" fmla="*/ 343 w 343"/>
                <a:gd name="T15" fmla="*/ 87 h 92"/>
                <a:gd name="T16" fmla="*/ 343 w 343"/>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92">
                  <a:moveTo>
                    <a:pt x="343" y="92"/>
                  </a:moveTo>
                  <a:lnTo>
                    <a:pt x="196" y="92"/>
                  </a:lnTo>
                  <a:lnTo>
                    <a:pt x="196" y="5"/>
                  </a:lnTo>
                  <a:lnTo>
                    <a:pt x="0" y="5"/>
                  </a:lnTo>
                  <a:lnTo>
                    <a:pt x="0" y="0"/>
                  </a:lnTo>
                  <a:lnTo>
                    <a:pt x="201" y="0"/>
                  </a:lnTo>
                  <a:lnTo>
                    <a:pt x="201" y="87"/>
                  </a:lnTo>
                  <a:lnTo>
                    <a:pt x="343" y="87"/>
                  </a:lnTo>
                  <a:lnTo>
                    <a:pt x="343" y="92"/>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73"/>
            <p:cNvSpPr>
              <a:spLocks/>
            </p:cNvSpPr>
            <p:nvPr/>
          </p:nvSpPr>
          <p:spPr bwMode="gray">
            <a:xfrm>
              <a:off x="9623198" y="5565002"/>
              <a:ext cx="282675" cy="743029"/>
            </a:xfrm>
            <a:custGeom>
              <a:avLst/>
              <a:gdLst>
                <a:gd name="T0" fmla="*/ 93 w 105"/>
                <a:gd name="T1" fmla="*/ 276 h 276"/>
                <a:gd name="T2" fmla="*/ 0 w 105"/>
                <a:gd name="T3" fmla="*/ 276 h 276"/>
                <a:gd name="T4" fmla="*/ 0 w 105"/>
                <a:gd name="T5" fmla="*/ 0 h 276"/>
                <a:gd name="T6" fmla="*/ 105 w 105"/>
                <a:gd name="T7" fmla="*/ 0 h 276"/>
                <a:gd name="T8" fmla="*/ 105 w 105"/>
                <a:gd name="T9" fmla="*/ 6 h 276"/>
                <a:gd name="T10" fmla="*/ 6 w 105"/>
                <a:gd name="T11" fmla="*/ 6 h 276"/>
                <a:gd name="T12" fmla="*/ 6 w 105"/>
                <a:gd name="T13" fmla="*/ 271 h 276"/>
                <a:gd name="T14" fmla="*/ 93 w 105"/>
                <a:gd name="T15" fmla="*/ 271 h 276"/>
                <a:gd name="T16" fmla="*/ 93 w 105"/>
                <a:gd name="T17"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76">
                  <a:moveTo>
                    <a:pt x="93" y="276"/>
                  </a:moveTo>
                  <a:lnTo>
                    <a:pt x="0" y="276"/>
                  </a:lnTo>
                  <a:lnTo>
                    <a:pt x="0" y="0"/>
                  </a:lnTo>
                  <a:lnTo>
                    <a:pt x="105" y="0"/>
                  </a:lnTo>
                  <a:lnTo>
                    <a:pt x="105" y="6"/>
                  </a:lnTo>
                  <a:lnTo>
                    <a:pt x="6" y="6"/>
                  </a:lnTo>
                  <a:lnTo>
                    <a:pt x="6" y="271"/>
                  </a:lnTo>
                  <a:lnTo>
                    <a:pt x="93" y="271"/>
                  </a:lnTo>
                  <a:lnTo>
                    <a:pt x="93" y="276"/>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Rectangle 74"/>
            <p:cNvSpPr>
              <a:spLocks noChangeArrowheads="1"/>
            </p:cNvSpPr>
            <p:nvPr/>
          </p:nvSpPr>
          <p:spPr bwMode="gray">
            <a:xfrm>
              <a:off x="9846644" y="6273032"/>
              <a:ext cx="26921" cy="56536"/>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42" name="Freeform 75"/>
            <p:cNvSpPr>
              <a:spLocks/>
            </p:cNvSpPr>
            <p:nvPr/>
          </p:nvSpPr>
          <p:spPr bwMode="gray">
            <a:xfrm>
              <a:off x="10883115" y="4951196"/>
              <a:ext cx="1076853" cy="734953"/>
            </a:xfrm>
            <a:custGeom>
              <a:avLst/>
              <a:gdLst>
                <a:gd name="T0" fmla="*/ 400 w 400"/>
                <a:gd name="T1" fmla="*/ 273 h 273"/>
                <a:gd name="T2" fmla="*/ 400 w 400"/>
                <a:gd name="T3" fmla="*/ 0 h 273"/>
                <a:gd name="T4" fmla="*/ 201 w 400"/>
                <a:gd name="T5" fmla="*/ 0 h 273"/>
                <a:gd name="T6" fmla="*/ 0 w 400"/>
                <a:gd name="T7" fmla="*/ 0 h 273"/>
                <a:gd name="T8" fmla="*/ 0 w 400"/>
                <a:gd name="T9" fmla="*/ 273 h 273"/>
                <a:gd name="T10" fmla="*/ 201 w 400"/>
                <a:gd name="T11" fmla="*/ 273 h 273"/>
                <a:gd name="T12" fmla="*/ 400 w 400"/>
                <a:gd name="T13" fmla="*/ 273 h 273"/>
              </a:gdLst>
              <a:ahLst/>
              <a:cxnLst>
                <a:cxn ang="0">
                  <a:pos x="T0" y="T1"/>
                </a:cxn>
                <a:cxn ang="0">
                  <a:pos x="T2" y="T3"/>
                </a:cxn>
                <a:cxn ang="0">
                  <a:pos x="T4" y="T5"/>
                </a:cxn>
                <a:cxn ang="0">
                  <a:pos x="T6" y="T7"/>
                </a:cxn>
                <a:cxn ang="0">
                  <a:pos x="T8" y="T9"/>
                </a:cxn>
                <a:cxn ang="0">
                  <a:pos x="T10" y="T11"/>
                </a:cxn>
                <a:cxn ang="0">
                  <a:pos x="T12" y="T13"/>
                </a:cxn>
              </a:cxnLst>
              <a:rect l="0" t="0" r="r" b="b"/>
              <a:pathLst>
                <a:path w="400" h="273">
                  <a:moveTo>
                    <a:pt x="400" y="273"/>
                  </a:moveTo>
                  <a:lnTo>
                    <a:pt x="400" y="0"/>
                  </a:lnTo>
                  <a:lnTo>
                    <a:pt x="201" y="0"/>
                  </a:lnTo>
                  <a:lnTo>
                    <a:pt x="0" y="0"/>
                  </a:lnTo>
                  <a:lnTo>
                    <a:pt x="0" y="273"/>
                  </a:lnTo>
                  <a:lnTo>
                    <a:pt x="201" y="273"/>
                  </a:lnTo>
                  <a:lnTo>
                    <a:pt x="400" y="27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76"/>
            <p:cNvSpPr>
              <a:spLocks noChangeArrowheads="1"/>
            </p:cNvSpPr>
            <p:nvPr/>
          </p:nvSpPr>
          <p:spPr bwMode="gray">
            <a:xfrm>
              <a:off x="10939649" y="4991577"/>
              <a:ext cx="966476" cy="5734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77"/>
            <p:cNvSpPr>
              <a:spLocks noEditPoints="1"/>
            </p:cNvSpPr>
            <p:nvPr/>
          </p:nvSpPr>
          <p:spPr bwMode="gray">
            <a:xfrm>
              <a:off x="11009645" y="5384628"/>
              <a:ext cx="826485" cy="99610"/>
            </a:xfrm>
            <a:custGeom>
              <a:avLst/>
              <a:gdLst>
                <a:gd name="T0" fmla="*/ 0 w 527"/>
                <a:gd name="T1" fmla="*/ 57 h 64"/>
                <a:gd name="T2" fmla="*/ 41 w 527"/>
                <a:gd name="T3" fmla="*/ 57 h 64"/>
                <a:gd name="T4" fmla="*/ 8 w 527"/>
                <a:gd name="T5" fmla="*/ 0 h 64"/>
                <a:gd name="T6" fmla="*/ 34 w 527"/>
                <a:gd name="T7" fmla="*/ 57 h 64"/>
                <a:gd name="T8" fmla="*/ 86 w 527"/>
                <a:gd name="T9" fmla="*/ 57 h 64"/>
                <a:gd name="T10" fmla="*/ 60 w 527"/>
                <a:gd name="T11" fmla="*/ 4 h 64"/>
                <a:gd name="T12" fmla="*/ 77 w 527"/>
                <a:gd name="T13" fmla="*/ 57 h 64"/>
                <a:gd name="T14" fmla="*/ 65 w 527"/>
                <a:gd name="T15" fmla="*/ 64 h 64"/>
                <a:gd name="T16" fmla="*/ 102 w 527"/>
                <a:gd name="T17" fmla="*/ 39 h 64"/>
                <a:gd name="T18" fmla="*/ 93 w 527"/>
                <a:gd name="T19" fmla="*/ 57 h 64"/>
                <a:gd name="T20" fmla="*/ 121 w 527"/>
                <a:gd name="T21" fmla="*/ 8 h 64"/>
                <a:gd name="T22" fmla="*/ 154 w 527"/>
                <a:gd name="T23" fmla="*/ 64 h 64"/>
                <a:gd name="T24" fmla="*/ 154 w 527"/>
                <a:gd name="T25" fmla="*/ 0 h 64"/>
                <a:gd name="T26" fmla="*/ 154 w 527"/>
                <a:gd name="T27" fmla="*/ 8 h 64"/>
                <a:gd name="T28" fmla="*/ 130 w 527"/>
                <a:gd name="T29" fmla="*/ 8 h 64"/>
                <a:gd name="T30" fmla="*/ 182 w 527"/>
                <a:gd name="T31" fmla="*/ 57 h 64"/>
                <a:gd name="T32" fmla="*/ 224 w 527"/>
                <a:gd name="T33" fmla="*/ 57 h 64"/>
                <a:gd name="T34" fmla="*/ 191 w 527"/>
                <a:gd name="T35" fmla="*/ 0 h 64"/>
                <a:gd name="T36" fmla="*/ 215 w 527"/>
                <a:gd name="T37" fmla="*/ 57 h 64"/>
                <a:gd name="T38" fmla="*/ 251 w 527"/>
                <a:gd name="T39" fmla="*/ 0 h 64"/>
                <a:gd name="T40" fmla="*/ 251 w 527"/>
                <a:gd name="T41" fmla="*/ 64 h 64"/>
                <a:gd name="T42" fmla="*/ 284 w 527"/>
                <a:gd name="T43" fmla="*/ 8 h 64"/>
                <a:gd name="T44" fmla="*/ 251 w 527"/>
                <a:gd name="T45" fmla="*/ 8 h 64"/>
                <a:gd name="T46" fmla="*/ 251 w 527"/>
                <a:gd name="T47" fmla="*/ 57 h 64"/>
                <a:gd name="T48" fmla="*/ 328 w 527"/>
                <a:gd name="T49" fmla="*/ 0 h 64"/>
                <a:gd name="T50" fmla="*/ 307 w 527"/>
                <a:gd name="T51" fmla="*/ 8 h 64"/>
                <a:gd name="T52" fmla="*/ 307 w 527"/>
                <a:gd name="T53" fmla="*/ 57 h 64"/>
                <a:gd name="T54" fmla="*/ 340 w 527"/>
                <a:gd name="T55" fmla="*/ 64 h 64"/>
                <a:gd name="T56" fmla="*/ 340 w 527"/>
                <a:gd name="T57" fmla="*/ 35 h 64"/>
                <a:gd name="T58" fmla="*/ 328 w 527"/>
                <a:gd name="T59" fmla="*/ 57 h 64"/>
                <a:gd name="T60" fmla="*/ 368 w 527"/>
                <a:gd name="T61" fmla="*/ 0 h 64"/>
                <a:gd name="T62" fmla="*/ 380 w 527"/>
                <a:gd name="T63" fmla="*/ 8 h 64"/>
                <a:gd name="T64" fmla="*/ 364 w 527"/>
                <a:gd name="T65" fmla="*/ 60 h 64"/>
                <a:gd name="T66" fmla="*/ 405 w 527"/>
                <a:gd name="T67" fmla="*/ 60 h 64"/>
                <a:gd name="T68" fmla="*/ 396 w 527"/>
                <a:gd name="T69" fmla="*/ 39 h 64"/>
                <a:gd name="T70" fmla="*/ 433 w 527"/>
                <a:gd name="T71" fmla="*/ 0 h 64"/>
                <a:gd name="T72" fmla="*/ 433 w 527"/>
                <a:gd name="T73" fmla="*/ 64 h 64"/>
                <a:gd name="T74" fmla="*/ 466 w 527"/>
                <a:gd name="T75" fmla="*/ 8 h 64"/>
                <a:gd name="T76" fmla="*/ 433 w 527"/>
                <a:gd name="T77" fmla="*/ 8 h 64"/>
                <a:gd name="T78" fmla="*/ 433 w 527"/>
                <a:gd name="T79" fmla="*/ 57 h 64"/>
                <a:gd name="T80" fmla="*/ 510 w 527"/>
                <a:gd name="T81" fmla="*/ 0 h 64"/>
                <a:gd name="T82" fmla="*/ 489 w 527"/>
                <a:gd name="T83" fmla="*/ 8 h 64"/>
                <a:gd name="T84" fmla="*/ 489 w 527"/>
                <a:gd name="T85" fmla="*/ 57 h 64"/>
                <a:gd name="T86" fmla="*/ 522 w 527"/>
                <a:gd name="T87" fmla="*/ 64 h 64"/>
                <a:gd name="T88" fmla="*/ 522 w 527"/>
                <a:gd name="T89" fmla="*/ 35 h 64"/>
                <a:gd name="T90" fmla="*/ 510 w 527"/>
                <a:gd name="T91"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7" h="64">
                  <a:moveTo>
                    <a:pt x="8" y="0"/>
                  </a:moveTo>
                  <a:cubicBezTo>
                    <a:pt x="4" y="0"/>
                    <a:pt x="0" y="3"/>
                    <a:pt x="0" y="8"/>
                  </a:cubicBezTo>
                  <a:cubicBezTo>
                    <a:pt x="0" y="57"/>
                    <a:pt x="0" y="57"/>
                    <a:pt x="0" y="57"/>
                  </a:cubicBezTo>
                  <a:cubicBezTo>
                    <a:pt x="0" y="61"/>
                    <a:pt x="4" y="64"/>
                    <a:pt x="8" y="64"/>
                  </a:cubicBezTo>
                  <a:cubicBezTo>
                    <a:pt x="34" y="64"/>
                    <a:pt x="34" y="64"/>
                    <a:pt x="34" y="64"/>
                  </a:cubicBezTo>
                  <a:cubicBezTo>
                    <a:pt x="38" y="64"/>
                    <a:pt x="41" y="61"/>
                    <a:pt x="41" y="57"/>
                  </a:cubicBezTo>
                  <a:cubicBezTo>
                    <a:pt x="41" y="8"/>
                    <a:pt x="41" y="8"/>
                    <a:pt x="41" y="8"/>
                  </a:cubicBezTo>
                  <a:cubicBezTo>
                    <a:pt x="41" y="3"/>
                    <a:pt x="38" y="0"/>
                    <a:pt x="34" y="0"/>
                  </a:cubicBezTo>
                  <a:lnTo>
                    <a:pt x="8" y="0"/>
                  </a:lnTo>
                  <a:close/>
                  <a:moveTo>
                    <a:pt x="8" y="8"/>
                  </a:moveTo>
                  <a:cubicBezTo>
                    <a:pt x="34" y="8"/>
                    <a:pt x="34" y="8"/>
                    <a:pt x="34" y="8"/>
                  </a:cubicBezTo>
                  <a:cubicBezTo>
                    <a:pt x="34" y="57"/>
                    <a:pt x="34" y="57"/>
                    <a:pt x="34" y="57"/>
                  </a:cubicBezTo>
                  <a:cubicBezTo>
                    <a:pt x="8" y="57"/>
                    <a:pt x="8" y="57"/>
                    <a:pt x="8" y="57"/>
                  </a:cubicBezTo>
                  <a:lnTo>
                    <a:pt x="8" y="8"/>
                  </a:lnTo>
                  <a:close/>
                  <a:moveTo>
                    <a:pt x="86" y="57"/>
                  </a:moveTo>
                  <a:cubicBezTo>
                    <a:pt x="86" y="0"/>
                    <a:pt x="86" y="0"/>
                    <a:pt x="86" y="0"/>
                  </a:cubicBezTo>
                  <a:cubicBezTo>
                    <a:pt x="65" y="0"/>
                    <a:pt x="65" y="0"/>
                    <a:pt x="65" y="0"/>
                  </a:cubicBezTo>
                  <a:cubicBezTo>
                    <a:pt x="63" y="0"/>
                    <a:pt x="60" y="0"/>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0"/>
                  </a:cubicBezTo>
                  <a:cubicBezTo>
                    <a:pt x="60" y="64"/>
                    <a:pt x="63" y="64"/>
                    <a:pt x="65" y="64"/>
                  </a:cubicBezTo>
                  <a:cubicBezTo>
                    <a:pt x="98" y="64"/>
                    <a:pt x="98" y="64"/>
                    <a:pt x="98" y="64"/>
                  </a:cubicBezTo>
                  <a:cubicBezTo>
                    <a:pt x="100" y="64"/>
                    <a:pt x="102" y="64"/>
                    <a:pt x="102" y="60"/>
                  </a:cubicBezTo>
                  <a:cubicBezTo>
                    <a:pt x="102" y="39"/>
                    <a:pt x="102" y="39"/>
                    <a:pt x="102" y="39"/>
                  </a:cubicBezTo>
                  <a:cubicBezTo>
                    <a:pt x="102" y="37"/>
                    <a:pt x="101" y="35"/>
                    <a:pt x="98" y="35"/>
                  </a:cubicBezTo>
                  <a:cubicBezTo>
                    <a:pt x="95" y="35"/>
                    <a:pt x="93" y="37"/>
                    <a:pt x="93" y="39"/>
                  </a:cubicBezTo>
                  <a:cubicBezTo>
                    <a:pt x="93" y="57"/>
                    <a:pt x="93" y="57"/>
                    <a:pt x="93" y="57"/>
                  </a:cubicBezTo>
                  <a:lnTo>
                    <a:pt x="86" y="57"/>
                  </a:lnTo>
                  <a:close/>
                  <a:moveTo>
                    <a:pt x="130" y="0"/>
                  </a:moveTo>
                  <a:cubicBezTo>
                    <a:pt x="125" y="0"/>
                    <a:pt x="121" y="3"/>
                    <a:pt x="121" y="8"/>
                  </a:cubicBezTo>
                  <a:cubicBezTo>
                    <a:pt x="121" y="57"/>
                    <a:pt x="121" y="57"/>
                    <a:pt x="121" y="57"/>
                  </a:cubicBezTo>
                  <a:cubicBezTo>
                    <a:pt x="121" y="61"/>
                    <a:pt x="125" y="64"/>
                    <a:pt x="130" y="64"/>
                  </a:cubicBezTo>
                  <a:cubicBezTo>
                    <a:pt x="154" y="64"/>
                    <a:pt x="154" y="64"/>
                    <a:pt x="154" y="64"/>
                  </a:cubicBezTo>
                  <a:cubicBezTo>
                    <a:pt x="159" y="64"/>
                    <a:pt x="163" y="61"/>
                    <a:pt x="163" y="57"/>
                  </a:cubicBezTo>
                  <a:cubicBezTo>
                    <a:pt x="163" y="8"/>
                    <a:pt x="163" y="8"/>
                    <a:pt x="163" y="8"/>
                  </a:cubicBezTo>
                  <a:cubicBezTo>
                    <a:pt x="163" y="3"/>
                    <a:pt x="159" y="0"/>
                    <a:pt x="154" y="0"/>
                  </a:cubicBezTo>
                  <a:lnTo>
                    <a:pt x="130" y="0"/>
                  </a:lnTo>
                  <a:close/>
                  <a:moveTo>
                    <a:pt x="130" y="8"/>
                  </a:moveTo>
                  <a:cubicBezTo>
                    <a:pt x="154" y="8"/>
                    <a:pt x="154" y="8"/>
                    <a:pt x="154" y="8"/>
                  </a:cubicBezTo>
                  <a:cubicBezTo>
                    <a:pt x="154" y="57"/>
                    <a:pt x="154" y="57"/>
                    <a:pt x="154" y="57"/>
                  </a:cubicBezTo>
                  <a:cubicBezTo>
                    <a:pt x="130" y="57"/>
                    <a:pt x="130" y="57"/>
                    <a:pt x="130" y="57"/>
                  </a:cubicBezTo>
                  <a:lnTo>
                    <a:pt x="130" y="8"/>
                  </a:lnTo>
                  <a:close/>
                  <a:moveTo>
                    <a:pt x="191" y="0"/>
                  </a:moveTo>
                  <a:cubicBezTo>
                    <a:pt x="185" y="0"/>
                    <a:pt x="182" y="3"/>
                    <a:pt x="182" y="8"/>
                  </a:cubicBezTo>
                  <a:cubicBezTo>
                    <a:pt x="182" y="57"/>
                    <a:pt x="182" y="57"/>
                    <a:pt x="182" y="57"/>
                  </a:cubicBezTo>
                  <a:cubicBezTo>
                    <a:pt x="182" y="61"/>
                    <a:pt x="185" y="64"/>
                    <a:pt x="191" y="64"/>
                  </a:cubicBezTo>
                  <a:cubicBezTo>
                    <a:pt x="215" y="64"/>
                    <a:pt x="215" y="64"/>
                    <a:pt x="215" y="64"/>
                  </a:cubicBezTo>
                  <a:cubicBezTo>
                    <a:pt x="220" y="64"/>
                    <a:pt x="224" y="61"/>
                    <a:pt x="224" y="57"/>
                  </a:cubicBezTo>
                  <a:cubicBezTo>
                    <a:pt x="224" y="8"/>
                    <a:pt x="224" y="8"/>
                    <a:pt x="224" y="8"/>
                  </a:cubicBezTo>
                  <a:cubicBezTo>
                    <a:pt x="224" y="3"/>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51" y="0"/>
                  </a:moveTo>
                  <a:cubicBezTo>
                    <a:pt x="246" y="0"/>
                    <a:pt x="243" y="3"/>
                    <a:pt x="243" y="8"/>
                  </a:cubicBezTo>
                  <a:cubicBezTo>
                    <a:pt x="243" y="57"/>
                    <a:pt x="243" y="57"/>
                    <a:pt x="243" y="57"/>
                  </a:cubicBezTo>
                  <a:cubicBezTo>
                    <a:pt x="243" y="61"/>
                    <a:pt x="246" y="64"/>
                    <a:pt x="251" y="64"/>
                  </a:cubicBezTo>
                  <a:cubicBezTo>
                    <a:pt x="276" y="64"/>
                    <a:pt x="276" y="64"/>
                    <a:pt x="276" y="64"/>
                  </a:cubicBezTo>
                  <a:cubicBezTo>
                    <a:pt x="280" y="64"/>
                    <a:pt x="284" y="61"/>
                    <a:pt x="284" y="57"/>
                  </a:cubicBezTo>
                  <a:cubicBezTo>
                    <a:pt x="284" y="8"/>
                    <a:pt x="284" y="8"/>
                    <a:pt x="284" y="8"/>
                  </a:cubicBezTo>
                  <a:cubicBezTo>
                    <a:pt x="284" y="3"/>
                    <a:pt x="280" y="0"/>
                    <a:pt x="276" y="0"/>
                  </a:cubicBezTo>
                  <a:lnTo>
                    <a:pt x="251" y="0"/>
                  </a:lnTo>
                  <a:close/>
                  <a:moveTo>
                    <a:pt x="251" y="8"/>
                  </a:moveTo>
                  <a:cubicBezTo>
                    <a:pt x="276" y="8"/>
                    <a:pt x="276" y="8"/>
                    <a:pt x="276" y="8"/>
                  </a:cubicBezTo>
                  <a:cubicBezTo>
                    <a:pt x="276" y="57"/>
                    <a:pt x="276" y="57"/>
                    <a:pt x="276" y="57"/>
                  </a:cubicBezTo>
                  <a:cubicBezTo>
                    <a:pt x="251" y="57"/>
                    <a:pt x="251" y="57"/>
                    <a:pt x="251" y="57"/>
                  </a:cubicBezTo>
                  <a:lnTo>
                    <a:pt x="251" y="8"/>
                  </a:lnTo>
                  <a:close/>
                  <a:moveTo>
                    <a:pt x="328" y="57"/>
                  </a:moveTo>
                  <a:cubicBezTo>
                    <a:pt x="328" y="0"/>
                    <a:pt x="328" y="0"/>
                    <a:pt x="328" y="0"/>
                  </a:cubicBezTo>
                  <a:cubicBezTo>
                    <a:pt x="307" y="0"/>
                    <a:pt x="307" y="0"/>
                    <a:pt x="307" y="0"/>
                  </a:cubicBezTo>
                  <a:cubicBezTo>
                    <a:pt x="305" y="0"/>
                    <a:pt x="303" y="0"/>
                    <a:pt x="303" y="4"/>
                  </a:cubicBezTo>
                  <a:cubicBezTo>
                    <a:pt x="303" y="7"/>
                    <a:pt x="305" y="8"/>
                    <a:pt x="307" y="8"/>
                  </a:cubicBezTo>
                  <a:cubicBezTo>
                    <a:pt x="320" y="8"/>
                    <a:pt x="320" y="8"/>
                    <a:pt x="320" y="8"/>
                  </a:cubicBezTo>
                  <a:cubicBezTo>
                    <a:pt x="320" y="57"/>
                    <a:pt x="320" y="57"/>
                    <a:pt x="320" y="57"/>
                  </a:cubicBezTo>
                  <a:cubicBezTo>
                    <a:pt x="307" y="57"/>
                    <a:pt x="307" y="57"/>
                    <a:pt x="307" y="57"/>
                  </a:cubicBezTo>
                  <a:cubicBezTo>
                    <a:pt x="305" y="57"/>
                    <a:pt x="303" y="58"/>
                    <a:pt x="303" y="60"/>
                  </a:cubicBezTo>
                  <a:cubicBezTo>
                    <a:pt x="303" y="64"/>
                    <a:pt x="305" y="64"/>
                    <a:pt x="307" y="64"/>
                  </a:cubicBezTo>
                  <a:cubicBezTo>
                    <a:pt x="340" y="64"/>
                    <a:pt x="340" y="64"/>
                    <a:pt x="340" y="64"/>
                  </a:cubicBezTo>
                  <a:cubicBezTo>
                    <a:pt x="343" y="64"/>
                    <a:pt x="344" y="64"/>
                    <a:pt x="344" y="60"/>
                  </a:cubicBezTo>
                  <a:cubicBezTo>
                    <a:pt x="344" y="39"/>
                    <a:pt x="344" y="39"/>
                    <a:pt x="344" y="39"/>
                  </a:cubicBezTo>
                  <a:cubicBezTo>
                    <a:pt x="344" y="37"/>
                    <a:pt x="344" y="35"/>
                    <a:pt x="340" y="35"/>
                  </a:cubicBezTo>
                  <a:cubicBezTo>
                    <a:pt x="337" y="35"/>
                    <a:pt x="337" y="37"/>
                    <a:pt x="337" y="39"/>
                  </a:cubicBezTo>
                  <a:cubicBezTo>
                    <a:pt x="337" y="57"/>
                    <a:pt x="337" y="57"/>
                    <a:pt x="337" y="57"/>
                  </a:cubicBezTo>
                  <a:lnTo>
                    <a:pt x="328" y="57"/>
                  </a:lnTo>
                  <a:close/>
                  <a:moveTo>
                    <a:pt x="389" y="57"/>
                  </a:moveTo>
                  <a:cubicBezTo>
                    <a:pt x="389" y="0"/>
                    <a:pt x="389" y="0"/>
                    <a:pt x="389" y="0"/>
                  </a:cubicBezTo>
                  <a:cubicBezTo>
                    <a:pt x="368" y="0"/>
                    <a:pt x="368" y="0"/>
                    <a:pt x="368" y="0"/>
                  </a:cubicBezTo>
                  <a:cubicBezTo>
                    <a:pt x="366" y="0"/>
                    <a:pt x="364" y="0"/>
                    <a:pt x="364" y="4"/>
                  </a:cubicBezTo>
                  <a:cubicBezTo>
                    <a:pt x="364" y="7"/>
                    <a:pt x="366" y="8"/>
                    <a:pt x="368" y="8"/>
                  </a:cubicBezTo>
                  <a:cubicBezTo>
                    <a:pt x="380" y="8"/>
                    <a:pt x="380" y="8"/>
                    <a:pt x="380" y="8"/>
                  </a:cubicBezTo>
                  <a:cubicBezTo>
                    <a:pt x="380" y="57"/>
                    <a:pt x="380" y="57"/>
                    <a:pt x="380" y="57"/>
                  </a:cubicBezTo>
                  <a:cubicBezTo>
                    <a:pt x="368" y="57"/>
                    <a:pt x="368" y="57"/>
                    <a:pt x="368" y="57"/>
                  </a:cubicBezTo>
                  <a:cubicBezTo>
                    <a:pt x="366" y="57"/>
                    <a:pt x="364" y="58"/>
                    <a:pt x="364" y="60"/>
                  </a:cubicBezTo>
                  <a:cubicBezTo>
                    <a:pt x="364" y="64"/>
                    <a:pt x="366" y="64"/>
                    <a:pt x="368" y="64"/>
                  </a:cubicBezTo>
                  <a:cubicBezTo>
                    <a:pt x="401" y="64"/>
                    <a:pt x="401" y="64"/>
                    <a:pt x="401" y="64"/>
                  </a:cubicBezTo>
                  <a:cubicBezTo>
                    <a:pt x="403" y="64"/>
                    <a:pt x="405" y="64"/>
                    <a:pt x="405" y="60"/>
                  </a:cubicBezTo>
                  <a:cubicBezTo>
                    <a:pt x="405" y="39"/>
                    <a:pt x="405" y="39"/>
                    <a:pt x="405" y="39"/>
                  </a:cubicBezTo>
                  <a:cubicBezTo>
                    <a:pt x="405" y="37"/>
                    <a:pt x="404" y="35"/>
                    <a:pt x="401" y="35"/>
                  </a:cubicBezTo>
                  <a:cubicBezTo>
                    <a:pt x="398" y="35"/>
                    <a:pt x="396" y="37"/>
                    <a:pt x="396" y="39"/>
                  </a:cubicBezTo>
                  <a:cubicBezTo>
                    <a:pt x="396" y="57"/>
                    <a:pt x="396" y="57"/>
                    <a:pt x="396" y="57"/>
                  </a:cubicBezTo>
                  <a:lnTo>
                    <a:pt x="389" y="57"/>
                  </a:lnTo>
                  <a:close/>
                  <a:moveTo>
                    <a:pt x="433" y="0"/>
                  </a:moveTo>
                  <a:cubicBezTo>
                    <a:pt x="428" y="0"/>
                    <a:pt x="424" y="3"/>
                    <a:pt x="424" y="8"/>
                  </a:cubicBezTo>
                  <a:cubicBezTo>
                    <a:pt x="424" y="57"/>
                    <a:pt x="424" y="57"/>
                    <a:pt x="424" y="57"/>
                  </a:cubicBezTo>
                  <a:cubicBezTo>
                    <a:pt x="424" y="61"/>
                    <a:pt x="428" y="64"/>
                    <a:pt x="433" y="64"/>
                  </a:cubicBezTo>
                  <a:cubicBezTo>
                    <a:pt x="457" y="64"/>
                    <a:pt x="457" y="64"/>
                    <a:pt x="457" y="64"/>
                  </a:cubicBezTo>
                  <a:cubicBezTo>
                    <a:pt x="462" y="64"/>
                    <a:pt x="466" y="61"/>
                    <a:pt x="466" y="57"/>
                  </a:cubicBezTo>
                  <a:cubicBezTo>
                    <a:pt x="466" y="8"/>
                    <a:pt x="466" y="8"/>
                    <a:pt x="466" y="8"/>
                  </a:cubicBezTo>
                  <a:cubicBezTo>
                    <a:pt x="466" y="3"/>
                    <a:pt x="462" y="0"/>
                    <a:pt x="457" y="0"/>
                  </a:cubicBezTo>
                  <a:lnTo>
                    <a:pt x="433" y="0"/>
                  </a:lnTo>
                  <a:close/>
                  <a:moveTo>
                    <a:pt x="433" y="8"/>
                  </a:moveTo>
                  <a:cubicBezTo>
                    <a:pt x="457" y="8"/>
                    <a:pt x="457" y="8"/>
                    <a:pt x="457" y="8"/>
                  </a:cubicBezTo>
                  <a:cubicBezTo>
                    <a:pt x="457" y="57"/>
                    <a:pt x="457" y="57"/>
                    <a:pt x="457" y="57"/>
                  </a:cubicBezTo>
                  <a:cubicBezTo>
                    <a:pt x="433" y="57"/>
                    <a:pt x="433" y="57"/>
                    <a:pt x="433" y="57"/>
                  </a:cubicBezTo>
                  <a:lnTo>
                    <a:pt x="433" y="8"/>
                  </a:lnTo>
                  <a:close/>
                  <a:moveTo>
                    <a:pt x="510" y="57"/>
                  </a:moveTo>
                  <a:cubicBezTo>
                    <a:pt x="510" y="0"/>
                    <a:pt x="510" y="0"/>
                    <a:pt x="510" y="0"/>
                  </a:cubicBezTo>
                  <a:cubicBezTo>
                    <a:pt x="489" y="0"/>
                    <a:pt x="489" y="0"/>
                    <a:pt x="489" y="0"/>
                  </a:cubicBezTo>
                  <a:cubicBezTo>
                    <a:pt x="487" y="0"/>
                    <a:pt x="485" y="0"/>
                    <a:pt x="485" y="4"/>
                  </a:cubicBezTo>
                  <a:cubicBezTo>
                    <a:pt x="485" y="7"/>
                    <a:pt x="487" y="8"/>
                    <a:pt x="489" y="8"/>
                  </a:cubicBezTo>
                  <a:cubicBezTo>
                    <a:pt x="502" y="8"/>
                    <a:pt x="502" y="8"/>
                    <a:pt x="502" y="8"/>
                  </a:cubicBezTo>
                  <a:cubicBezTo>
                    <a:pt x="502" y="57"/>
                    <a:pt x="502" y="57"/>
                    <a:pt x="502" y="57"/>
                  </a:cubicBezTo>
                  <a:cubicBezTo>
                    <a:pt x="489" y="57"/>
                    <a:pt x="489" y="57"/>
                    <a:pt x="489" y="57"/>
                  </a:cubicBezTo>
                  <a:cubicBezTo>
                    <a:pt x="487" y="57"/>
                    <a:pt x="485" y="58"/>
                    <a:pt x="485" y="60"/>
                  </a:cubicBezTo>
                  <a:cubicBezTo>
                    <a:pt x="485" y="64"/>
                    <a:pt x="487" y="64"/>
                    <a:pt x="489" y="64"/>
                  </a:cubicBezTo>
                  <a:cubicBezTo>
                    <a:pt x="522" y="64"/>
                    <a:pt x="522" y="64"/>
                    <a:pt x="522" y="64"/>
                  </a:cubicBezTo>
                  <a:cubicBezTo>
                    <a:pt x="524" y="64"/>
                    <a:pt x="527" y="64"/>
                    <a:pt x="527" y="60"/>
                  </a:cubicBezTo>
                  <a:cubicBezTo>
                    <a:pt x="527" y="39"/>
                    <a:pt x="527" y="39"/>
                    <a:pt x="527" y="39"/>
                  </a:cubicBezTo>
                  <a:cubicBezTo>
                    <a:pt x="527" y="37"/>
                    <a:pt x="525" y="35"/>
                    <a:pt x="522" y="35"/>
                  </a:cubicBezTo>
                  <a:cubicBezTo>
                    <a:pt x="519" y="35"/>
                    <a:pt x="518" y="37"/>
                    <a:pt x="518" y="39"/>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78"/>
            <p:cNvSpPr>
              <a:spLocks noEditPoints="1"/>
            </p:cNvSpPr>
            <p:nvPr/>
          </p:nvSpPr>
          <p:spPr bwMode="gray">
            <a:xfrm>
              <a:off x="11009645" y="5228485"/>
              <a:ext cx="826485" cy="99610"/>
            </a:xfrm>
            <a:custGeom>
              <a:avLst/>
              <a:gdLst>
                <a:gd name="T0" fmla="*/ 4 w 527"/>
                <a:gd name="T1" fmla="*/ 0 h 65"/>
                <a:gd name="T2" fmla="*/ 17 w 527"/>
                <a:gd name="T3" fmla="*/ 8 h 65"/>
                <a:gd name="T4" fmla="*/ 0 w 527"/>
                <a:gd name="T5" fmla="*/ 61 h 65"/>
                <a:gd name="T6" fmla="*/ 41 w 527"/>
                <a:gd name="T7" fmla="*/ 61 h 65"/>
                <a:gd name="T8" fmla="*/ 34 w 527"/>
                <a:gd name="T9" fmla="*/ 40 h 65"/>
                <a:gd name="T10" fmla="*/ 86 w 527"/>
                <a:gd name="T11" fmla="*/ 57 h 65"/>
                <a:gd name="T12" fmla="*/ 60 w 527"/>
                <a:gd name="T13" fmla="*/ 4 h 65"/>
                <a:gd name="T14" fmla="*/ 77 w 527"/>
                <a:gd name="T15" fmla="*/ 57 h 65"/>
                <a:gd name="T16" fmla="*/ 65 w 527"/>
                <a:gd name="T17" fmla="*/ 65 h 65"/>
                <a:gd name="T18" fmla="*/ 102 w 527"/>
                <a:gd name="T19" fmla="*/ 40 h 65"/>
                <a:gd name="T20" fmla="*/ 93 w 527"/>
                <a:gd name="T21" fmla="*/ 57 h 65"/>
                <a:gd name="T22" fmla="*/ 146 w 527"/>
                <a:gd name="T23" fmla="*/ 0 h 65"/>
                <a:gd name="T24" fmla="*/ 126 w 527"/>
                <a:gd name="T25" fmla="*/ 8 h 65"/>
                <a:gd name="T26" fmla="*/ 126 w 527"/>
                <a:gd name="T27" fmla="*/ 57 h 65"/>
                <a:gd name="T28" fmla="*/ 159 w 527"/>
                <a:gd name="T29" fmla="*/ 65 h 65"/>
                <a:gd name="T30" fmla="*/ 159 w 527"/>
                <a:gd name="T31" fmla="*/ 36 h 65"/>
                <a:gd name="T32" fmla="*/ 146 w 527"/>
                <a:gd name="T33" fmla="*/ 57 h 65"/>
                <a:gd name="T34" fmla="*/ 182 w 527"/>
                <a:gd name="T35" fmla="*/ 57 h 65"/>
                <a:gd name="T36" fmla="*/ 224 w 527"/>
                <a:gd name="T37" fmla="*/ 57 h 65"/>
                <a:gd name="T38" fmla="*/ 191 w 527"/>
                <a:gd name="T39" fmla="*/ 0 h 65"/>
                <a:gd name="T40" fmla="*/ 215 w 527"/>
                <a:gd name="T41" fmla="*/ 57 h 65"/>
                <a:gd name="T42" fmla="*/ 267 w 527"/>
                <a:gd name="T43" fmla="*/ 57 h 65"/>
                <a:gd name="T44" fmla="*/ 243 w 527"/>
                <a:gd name="T45" fmla="*/ 4 h 65"/>
                <a:gd name="T46" fmla="*/ 259 w 527"/>
                <a:gd name="T47" fmla="*/ 57 h 65"/>
                <a:gd name="T48" fmla="*/ 246 w 527"/>
                <a:gd name="T49" fmla="*/ 65 h 65"/>
                <a:gd name="T50" fmla="*/ 284 w 527"/>
                <a:gd name="T51" fmla="*/ 40 h 65"/>
                <a:gd name="T52" fmla="*/ 276 w 527"/>
                <a:gd name="T53" fmla="*/ 57 h 65"/>
                <a:gd name="T54" fmla="*/ 303 w 527"/>
                <a:gd name="T55" fmla="*/ 8 h 65"/>
                <a:gd name="T56" fmla="*/ 337 w 527"/>
                <a:gd name="T57" fmla="*/ 65 h 65"/>
                <a:gd name="T58" fmla="*/ 337 w 527"/>
                <a:gd name="T59" fmla="*/ 0 h 65"/>
                <a:gd name="T60" fmla="*/ 337 w 527"/>
                <a:gd name="T61" fmla="*/ 8 h 65"/>
                <a:gd name="T62" fmla="*/ 311 w 527"/>
                <a:gd name="T63" fmla="*/ 8 h 65"/>
                <a:gd name="T64" fmla="*/ 364 w 527"/>
                <a:gd name="T65" fmla="*/ 57 h 65"/>
                <a:gd name="T66" fmla="*/ 405 w 527"/>
                <a:gd name="T67" fmla="*/ 57 h 65"/>
                <a:gd name="T68" fmla="*/ 372 w 527"/>
                <a:gd name="T69" fmla="*/ 0 h 65"/>
                <a:gd name="T70" fmla="*/ 396 w 527"/>
                <a:gd name="T71" fmla="*/ 57 h 65"/>
                <a:gd name="T72" fmla="*/ 449 w 527"/>
                <a:gd name="T73" fmla="*/ 57 h 65"/>
                <a:gd name="T74" fmla="*/ 424 w 527"/>
                <a:gd name="T75" fmla="*/ 4 h 65"/>
                <a:gd name="T76" fmla="*/ 441 w 527"/>
                <a:gd name="T77" fmla="*/ 57 h 65"/>
                <a:gd name="T78" fmla="*/ 429 w 527"/>
                <a:gd name="T79" fmla="*/ 65 h 65"/>
                <a:gd name="T80" fmla="*/ 466 w 527"/>
                <a:gd name="T81" fmla="*/ 40 h 65"/>
                <a:gd name="T82" fmla="*/ 457 w 527"/>
                <a:gd name="T83" fmla="*/ 57 h 65"/>
                <a:gd name="T84" fmla="*/ 485 w 527"/>
                <a:gd name="T85" fmla="*/ 8 h 65"/>
                <a:gd name="T86" fmla="*/ 518 w 527"/>
                <a:gd name="T87" fmla="*/ 65 h 65"/>
                <a:gd name="T88" fmla="*/ 518 w 527"/>
                <a:gd name="T89" fmla="*/ 0 h 65"/>
                <a:gd name="T90" fmla="*/ 518 w 527"/>
                <a:gd name="T91" fmla="*/ 8 h 65"/>
                <a:gd name="T92" fmla="*/ 494 w 527"/>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5">
                  <a:moveTo>
                    <a:pt x="25" y="57"/>
                  </a:moveTo>
                  <a:cubicBezTo>
                    <a:pt x="25" y="0"/>
                    <a:pt x="25" y="0"/>
                    <a:pt x="25" y="0"/>
                  </a:cubicBezTo>
                  <a:cubicBezTo>
                    <a:pt x="4" y="0"/>
                    <a:pt x="4" y="0"/>
                    <a:pt x="4" y="0"/>
                  </a:cubicBezTo>
                  <a:cubicBezTo>
                    <a:pt x="2" y="0"/>
                    <a:pt x="0" y="1"/>
                    <a:pt x="0" y="4"/>
                  </a:cubicBezTo>
                  <a:cubicBezTo>
                    <a:pt x="0" y="7"/>
                    <a:pt x="2" y="8"/>
                    <a:pt x="4" y="8"/>
                  </a:cubicBezTo>
                  <a:cubicBezTo>
                    <a:pt x="17" y="8"/>
                    <a:pt x="17" y="8"/>
                    <a:pt x="17" y="8"/>
                  </a:cubicBezTo>
                  <a:cubicBezTo>
                    <a:pt x="17" y="57"/>
                    <a:pt x="17" y="57"/>
                    <a:pt x="17" y="57"/>
                  </a:cubicBezTo>
                  <a:cubicBezTo>
                    <a:pt x="4" y="57"/>
                    <a:pt x="4" y="57"/>
                    <a:pt x="4" y="57"/>
                  </a:cubicBezTo>
                  <a:cubicBezTo>
                    <a:pt x="2" y="57"/>
                    <a:pt x="0" y="58"/>
                    <a:pt x="0" y="61"/>
                  </a:cubicBezTo>
                  <a:cubicBezTo>
                    <a:pt x="0" y="64"/>
                    <a:pt x="2" y="65"/>
                    <a:pt x="4" y="65"/>
                  </a:cubicBezTo>
                  <a:cubicBezTo>
                    <a:pt x="38" y="65"/>
                    <a:pt x="38" y="65"/>
                    <a:pt x="38" y="65"/>
                  </a:cubicBezTo>
                  <a:cubicBezTo>
                    <a:pt x="40" y="65"/>
                    <a:pt x="41" y="64"/>
                    <a:pt x="41" y="61"/>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86" y="57"/>
                  </a:moveTo>
                  <a:cubicBezTo>
                    <a:pt x="86" y="0"/>
                    <a:pt x="86" y="0"/>
                    <a:pt x="86" y="0"/>
                  </a:cubicBezTo>
                  <a:cubicBezTo>
                    <a:pt x="65" y="0"/>
                    <a:pt x="65" y="0"/>
                    <a:pt x="65" y="0"/>
                  </a:cubicBezTo>
                  <a:cubicBezTo>
                    <a:pt x="63" y="0"/>
                    <a:pt x="60" y="1"/>
                    <a:pt x="60" y="4"/>
                  </a:cubicBezTo>
                  <a:cubicBezTo>
                    <a:pt x="60" y="7"/>
                    <a:pt x="63" y="8"/>
                    <a:pt x="65" y="8"/>
                  </a:cubicBezTo>
                  <a:cubicBezTo>
                    <a:pt x="77" y="8"/>
                    <a:pt x="77" y="8"/>
                    <a:pt x="77" y="8"/>
                  </a:cubicBezTo>
                  <a:cubicBezTo>
                    <a:pt x="77" y="57"/>
                    <a:pt x="77" y="57"/>
                    <a:pt x="77" y="57"/>
                  </a:cubicBezTo>
                  <a:cubicBezTo>
                    <a:pt x="65" y="57"/>
                    <a:pt x="65" y="57"/>
                    <a:pt x="65" y="57"/>
                  </a:cubicBezTo>
                  <a:cubicBezTo>
                    <a:pt x="63" y="57"/>
                    <a:pt x="60" y="58"/>
                    <a:pt x="60" y="61"/>
                  </a:cubicBezTo>
                  <a:cubicBezTo>
                    <a:pt x="60" y="64"/>
                    <a:pt x="63" y="65"/>
                    <a:pt x="65" y="65"/>
                  </a:cubicBezTo>
                  <a:cubicBezTo>
                    <a:pt x="98" y="65"/>
                    <a:pt x="98" y="65"/>
                    <a:pt x="98" y="65"/>
                  </a:cubicBezTo>
                  <a:cubicBezTo>
                    <a:pt x="100" y="65"/>
                    <a:pt x="102" y="64"/>
                    <a:pt x="102" y="61"/>
                  </a:cubicBezTo>
                  <a:cubicBezTo>
                    <a:pt x="102" y="40"/>
                    <a:pt x="102" y="40"/>
                    <a:pt x="102" y="40"/>
                  </a:cubicBezTo>
                  <a:cubicBezTo>
                    <a:pt x="102" y="38"/>
                    <a:pt x="101" y="36"/>
                    <a:pt x="98" y="36"/>
                  </a:cubicBezTo>
                  <a:cubicBezTo>
                    <a:pt x="95" y="36"/>
                    <a:pt x="93" y="38"/>
                    <a:pt x="93" y="40"/>
                  </a:cubicBezTo>
                  <a:cubicBezTo>
                    <a:pt x="93" y="57"/>
                    <a:pt x="93" y="57"/>
                    <a:pt x="93" y="57"/>
                  </a:cubicBezTo>
                  <a:lnTo>
                    <a:pt x="86" y="57"/>
                  </a:lnTo>
                  <a:close/>
                  <a:moveTo>
                    <a:pt x="146" y="57"/>
                  </a:moveTo>
                  <a:cubicBezTo>
                    <a:pt x="146" y="0"/>
                    <a:pt x="146" y="0"/>
                    <a:pt x="146" y="0"/>
                  </a:cubicBezTo>
                  <a:cubicBezTo>
                    <a:pt x="126" y="0"/>
                    <a:pt x="126" y="0"/>
                    <a:pt x="126" y="0"/>
                  </a:cubicBezTo>
                  <a:cubicBezTo>
                    <a:pt x="123" y="0"/>
                    <a:pt x="121" y="1"/>
                    <a:pt x="121" y="4"/>
                  </a:cubicBezTo>
                  <a:cubicBezTo>
                    <a:pt x="121" y="7"/>
                    <a:pt x="123" y="8"/>
                    <a:pt x="126" y="8"/>
                  </a:cubicBezTo>
                  <a:cubicBezTo>
                    <a:pt x="138" y="8"/>
                    <a:pt x="138" y="8"/>
                    <a:pt x="138" y="8"/>
                  </a:cubicBezTo>
                  <a:cubicBezTo>
                    <a:pt x="138" y="57"/>
                    <a:pt x="138" y="57"/>
                    <a:pt x="138" y="57"/>
                  </a:cubicBezTo>
                  <a:cubicBezTo>
                    <a:pt x="126" y="57"/>
                    <a:pt x="126" y="57"/>
                    <a:pt x="126" y="57"/>
                  </a:cubicBezTo>
                  <a:cubicBezTo>
                    <a:pt x="123" y="57"/>
                    <a:pt x="121" y="58"/>
                    <a:pt x="121" y="61"/>
                  </a:cubicBezTo>
                  <a:cubicBezTo>
                    <a:pt x="121" y="64"/>
                    <a:pt x="123" y="65"/>
                    <a:pt x="126" y="65"/>
                  </a:cubicBezTo>
                  <a:cubicBezTo>
                    <a:pt x="159" y="65"/>
                    <a:pt x="159" y="65"/>
                    <a:pt x="159" y="65"/>
                  </a:cubicBezTo>
                  <a:cubicBezTo>
                    <a:pt x="161" y="65"/>
                    <a:pt x="163" y="64"/>
                    <a:pt x="163" y="61"/>
                  </a:cubicBezTo>
                  <a:cubicBezTo>
                    <a:pt x="163" y="40"/>
                    <a:pt x="163" y="40"/>
                    <a:pt x="163" y="40"/>
                  </a:cubicBezTo>
                  <a:cubicBezTo>
                    <a:pt x="163" y="38"/>
                    <a:pt x="162" y="36"/>
                    <a:pt x="159" y="36"/>
                  </a:cubicBezTo>
                  <a:cubicBezTo>
                    <a:pt x="156" y="36"/>
                    <a:pt x="154" y="38"/>
                    <a:pt x="154" y="40"/>
                  </a:cubicBezTo>
                  <a:cubicBezTo>
                    <a:pt x="154" y="57"/>
                    <a:pt x="154" y="57"/>
                    <a:pt x="154" y="57"/>
                  </a:cubicBezTo>
                  <a:lnTo>
                    <a:pt x="146" y="57"/>
                  </a:lnTo>
                  <a:close/>
                  <a:moveTo>
                    <a:pt x="191" y="0"/>
                  </a:moveTo>
                  <a:cubicBezTo>
                    <a:pt x="185" y="0"/>
                    <a:pt x="182" y="4"/>
                    <a:pt x="182" y="8"/>
                  </a:cubicBezTo>
                  <a:cubicBezTo>
                    <a:pt x="182" y="57"/>
                    <a:pt x="182" y="57"/>
                    <a:pt x="182" y="57"/>
                  </a:cubicBezTo>
                  <a:cubicBezTo>
                    <a:pt x="182" y="62"/>
                    <a:pt x="185" y="65"/>
                    <a:pt x="191" y="65"/>
                  </a:cubicBezTo>
                  <a:cubicBezTo>
                    <a:pt x="215" y="65"/>
                    <a:pt x="215" y="65"/>
                    <a:pt x="215" y="65"/>
                  </a:cubicBezTo>
                  <a:cubicBezTo>
                    <a:pt x="220" y="65"/>
                    <a:pt x="224" y="62"/>
                    <a:pt x="224" y="57"/>
                  </a:cubicBezTo>
                  <a:cubicBezTo>
                    <a:pt x="224" y="8"/>
                    <a:pt x="224" y="8"/>
                    <a:pt x="224" y="8"/>
                  </a:cubicBezTo>
                  <a:cubicBezTo>
                    <a:pt x="224" y="4"/>
                    <a:pt x="219" y="0"/>
                    <a:pt x="215" y="0"/>
                  </a:cubicBezTo>
                  <a:lnTo>
                    <a:pt x="191" y="0"/>
                  </a:lnTo>
                  <a:close/>
                  <a:moveTo>
                    <a:pt x="191" y="8"/>
                  </a:moveTo>
                  <a:cubicBezTo>
                    <a:pt x="215" y="8"/>
                    <a:pt x="215" y="8"/>
                    <a:pt x="215" y="8"/>
                  </a:cubicBezTo>
                  <a:cubicBezTo>
                    <a:pt x="215" y="57"/>
                    <a:pt x="215" y="57"/>
                    <a:pt x="215" y="57"/>
                  </a:cubicBezTo>
                  <a:cubicBezTo>
                    <a:pt x="191" y="57"/>
                    <a:pt x="191" y="57"/>
                    <a:pt x="191" y="57"/>
                  </a:cubicBezTo>
                  <a:lnTo>
                    <a:pt x="191" y="8"/>
                  </a:lnTo>
                  <a:close/>
                  <a:moveTo>
                    <a:pt x="267" y="57"/>
                  </a:moveTo>
                  <a:cubicBezTo>
                    <a:pt x="267" y="0"/>
                    <a:pt x="267" y="0"/>
                    <a:pt x="267" y="0"/>
                  </a:cubicBezTo>
                  <a:cubicBezTo>
                    <a:pt x="246" y="0"/>
                    <a:pt x="246" y="0"/>
                    <a:pt x="246" y="0"/>
                  </a:cubicBezTo>
                  <a:cubicBezTo>
                    <a:pt x="245" y="0"/>
                    <a:pt x="243" y="1"/>
                    <a:pt x="243" y="4"/>
                  </a:cubicBezTo>
                  <a:cubicBezTo>
                    <a:pt x="243" y="7"/>
                    <a:pt x="245" y="8"/>
                    <a:pt x="246" y="8"/>
                  </a:cubicBezTo>
                  <a:cubicBezTo>
                    <a:pt x="259" y="8"/>
                    <a:pt x="259" y="8"/>
                    <a:pt x="259" y="8"/>
                  </a:cubicBezTo>
                  <a:cubicBezTo>
                    <a:pt x="259" y="57"/>
                    <a:pt x="259" y="57"/>
                    <a:pt x="259" y="57"/>
                  </a:cubicBezTo>
                  <a:cubicBezTo>
                    <a:pt x="246" y="57"/>
                    <a:pt x="246" y="57"/>
                    <a:pt x="246" y="57"/>
                  </a:cubicBezTo>
                  <a:cubicBezTo>
                    <a:pt x="245" y="57"/>
                    <a:pt x="243" y="58"/>
                    <a:pt x="243" y="61"/>
                  </a:cubicBezTo>
                  <a:cubicBezTo>
                    <a:pt x="243" y="64"/>
                    <a:pt x="245" y="65"/>
                    <a:pt x="246" y="65"/>
                  </a:cubicBezTo>
                  <a:cubicBezTo>
                    <a:pt x="280" y="65"/>
                    <a:pt x="280" y="65"/>
                    <a:pt x="280" y="65"/>
                  </a:cubicBezTo>
                  <a:cubicBezTo>
                    <a:pt x="282" y="65"/>
                    <a:pt x="284" y="64"/>
                    <a:pt x="284" y="61"/>
                  </a:cubicBezTo>
                  <a:cubicBezTo>
                    <a:pt x="284" y="40"/>
                    <a:pt x="284" y="40"/>
                    <a:pt x="284" y="40"/>
                  </a:cubicBezTo>
                  <a:cubicBezTo>
                    <a:pt x="284" y="38"/>
                    <a:pt x="283" y="36"/>
                    <a:pt x="280" y="36"/>
                  </a:cubicBezTo>
                  <a:cubicBezTo>
                    <a:pt x="277" y="36"/>
                    <a:pt x="276" y="38"/>
                    <a:pt x="276" y="40"/>
                  </a:cubicBezTo>
                  <a:cubicBezTo>
                    <a:pt x="276" y="57"/>
                    <a:pt x="276" y="57"/>
                    <a:pt x="276" y="57"/>
                  </a:cubicBezTo>
                  <a:lnTo>
                    <a:pt x="267" y="57"/>
                  </a:lnTo>
                  <a:close/>
                  <a:moveTo>
                    <a:pt x="311" y="0"/>
                  </a:moveTo>
                  <a:cubicBezTo>
                    <a:pt x="307" y="0"/>
                    <a:pt x="303" y="4"/>
                    <a:pt x="303" y="8"/>
                  </a:cubicBezTo>
                  <a:cubicBezTo>
                    <a:pt x="303" y="57"/>
                    <a:pt x="303" y="57"/>
                    <a:pt x="303" y="57"/>
                  </a:cubicBezTo>
                  <a:cubicBezTo>
                    <a:pt x="303" y="62"/>
                    <a:pt x="307" y="65"/>
                    <a:pt x="311" y="65"/>
                  </a:cubicBezTo>
                  <a:cubicBezTo>
                    <a:pt x="337" y="65"/>
                    <a:pt x="337" y="65"/>
                    <a:pt x="337" y="65"/>
                  </a:cubicBezTo>
                  <a:cubicBezTo>
                    <a:pt x="341" y="65"/>
                    <a:pt x="344" y="62"/>
                    <a:pt x="344" y="57"/>
                  </a:cubicBezTo>
                  <a:cubicBezTo>
                    <a:pt x="344" y="8"/>
                    <a:pt x="344" y="8"/>
                    <a:pt x="344" y="8"/>
                  </a:cubicBezTo>
                  <a:cubicBezTo>
                    <a:pt x="344" y="4"/>
                    <a:pt x="341" y="0"/>
                    <a:pt x="337" y="0"/>
                  </a:cubicBezTo>
                  <a:lnTo>
                    <a:pt x="311" y="0"/>
                  </a:lnTo>
                  <a:close/>
                  <a:moveTo>
                    <a:pt x="311" y="8"/>
                  </a:moveTo>
                  <a:cubicBezTo>
                    <a:pt x="337" y="8"/>
                    <a:pt x="337" y="8"/>
                    <a:pt x="337" y="8"/>
                  </a:cubicBezTo>
                  <a:cubicBezTo>
                    <a:pt x="337" y="57"/>
                    <a:pt x="337" y="57"/>
                    <a:pt x="337" y="57"/>
                  </a:cubicBezTo>
                  <a:cubicBezTo>
                    <a:pt x="311" y="57"/>
                    <a:pt x="311" y="57"/>
                    <a:pt x="311" y="57"/>
                  </a:cubicBezTo>
                  <a:lnTo>
                    <a:pt x="311" y="8"/>
                  </a:lnTo>
                  <a:close/>
                  <a:moveTo>
                    <a:pt x="372" y="0"/>
                  </a:moveTo>
                  <a:cubicBezTo>
                    <a:pt x="368" y="0"/>
                    <a:pt x="364" y="4"/>
                    <a:pt x="364" y="8"/>
                  </a:cubicBezTo>
                  <a:cubicBezTo>
                    <a:pt x="364" y="57"/>
                    <a:pt x="364" y="57"/>
                    <a:pt x="364" y="57"/>
                  </a:cubicBezTo>
                  <a:cubicBezTo>
                    <a:pt x="364" y="62"/>
                    <a:pt x="367" y="65"/>
                    <a:pt x="372" y="65"/>
                  </a:cubicBezTo>
                  <a:cubicBezTo>
                    <a:pt x="396" y="65"/>
                    <a:pt x="396" y="65"/>
                    <a:pt x="396" y="65"/>
                  </a:cubicBezTo>
                  <a:cubicBezTo>
                    <a:pt x="402" y="65"/>
                    <a:pt x="405" y="62"/>
                    <a:pt x="405" y="57"/>
                  </a:cubicBezTo>
                  <a:cubicBezTo>
                    <a:pt x="405" y="8"/>
                    <a:pt x="405" y="8"/>
                    <a:pt x="405" y="8"/>
                  </a:cubicBezTo>
                  <a:cubicBezTo>
                    <a:pt x="405" y="4"/>
                    <a:pt x="402" y="0"/>
                    <a:pt x="396" y="0"/>
                  </a:cubicBezTo>
                  <a:lnTo>
                    <a:pt x="372" y="0"/>
                  </a:lnTo>
                  <a:close/>
                  <a:moveTo>
                    <a:pt x="372" y="8"/>
                  </a:moveTo>
                  <a:cubicBezTo>
                    <a:pt x="396" y="8"/>
                    <a:pt x="396" y="8"/>
                    <a:pt x="396" y="8"/>
                  </a:cubicBezTo>
                  <a:cubicBezTo>
                    <a:pt x="396" y="57"/>
                    <a:pt x="396" y="57"/>
                    <a:pt x="396" y="57"/>
                  </a:cubicBezTo>
                  <a:cubicBezTo>
                    <a:pt x="372" y="57"/>
                    <a:pt x="372" y="57"/>
                    <a:pt x="372" y="57"/>
                  </a:cubicBezTo>
                  <a:lnTo>
                    <a:pt x="372" y="8"/>
                  </a:lnTo>
                  <a:close/>
                  <a:moveTo>
                    <a:pt x="449" y="57"/>
                  </a:moveTo>
                  <a:cubicBezTo>
                    <a:pt x="449" y="0"/>
                    <a:pt x="449" y="0"/>
                    <a:pt x="449" y="0"/>
                  </a:cubicBezTo>
                  <a:cubicBezTo>
                    <a:pt x="429" y="0"/>
                    <a:pt x="429" y="0"/>
                    <a:pt x="429" y="0"/>
                  </a:cubicBezTo>
                  <a:cubicBezTo>
                    <a:pt x="426" y="0"/>
                    <a:pt x="424" y="1"/>
                    <a:pt x="424" y="4"/>
                  </a:cubicBezTo>
                  <a:cubicBezTo>
                    <a:pt x="424" y="7"/>
                    <a:pt x="426" y="8"/>
                    <a:pt x="429" y="8"/>
                  </a:cubicBezTo>
                  <a:cubicBezTo>
                    <a:pt x="441" y="8"/>
                    <a:pt x="441" y="8"/>
                    <a:pt x="441" y="8"/>
                  </a:cubicBezTo>
                  <a:cubicBezTo>
                    <a:pt x="441" y="57"/>
                    <a:pt x="441" y="57"/>
                    <a:pt x="441" y="57"/>
                  </a:cubicBezTo>
                  <a:cubicBezTo>
                    <a:pt x="429" y="57"/>
                    <a:pt x="429" y="57"/>
                    <a:pt x="429" y="57"/>
                  </a:cubicBezTo>
                  <a:cubicBezTo>
                    <a:pt x="426" y="57"/>
                    <a:pt x="424" y="58"/>
                    <a:pt x="424" y="61"/>
                  </a:cubicBezTo>
                  <a:cubicBezTo>
                    <a:pt x="424" y="64"/>
                    <a:pt x="426" y="65"/>
                    <a:pt x="429" y="65"/>
                  </a:cubicBezTo>
                  <a:cubicBezTo>
                    <a:pt x="462" y="65"/>
                    <a:pt x="462" y="65"/>
                    <a:pt x="462" y="65"/>
                  </a:cubicBezTo>
                  <a:cubicBezTo>
                    <a:pt x="464" y="65"/>
                    <a:pt x="466" y="64"/>
                    <a:pt x="466" y="61"/>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494" y="0"/>
                  </a:moveTo>
                  <a:cubicBezTo>
                    <a:pt x="488" y="0"/>
                    <a:pt x="485" y="4"/>
                    <a:pt x="485" y="8"/>
                  </a:cubicBezTo>
                  <a:cubicBezTo>
                    <a:pt x="485" y="57"/>
                    <a:pt x="485" y="57"/>
                    <a:pt x="485" y="57"/>
                  </a:cubicBezTo>
                  <a:cubicBezTo>
                    <a:pt x="485" y="62"/>
                    <a:pt x="488" y="65"/>
                    <a:pt x="494" y="65"/>
                  </a:cubicBezTo>
                  <a:cubicBezTo>
                    <a:pt x="518" y="65"/>
                    <a:pt x="518" y="65"/>
                    <a:pt x="518" y="65"/>
                  </a:cubicBezTo>
                  <a:cubicBezTo>
                    <a:pt x="523" y="65"/>
                    <a:pt x="527" y="62"/>
                    <a:pt x="527" y="57"/>
                  </a:cubicBezTo>
                  <a:cubicBezTo>
                    <a:pt x="527" y="8"/>
                    <a:pt x="527" y="8"/>
                    <a:pt x="527" y="8"/>
                  </a:cubicBezTo>
                  <a:cubicBezTo>
                    <a:pt x="527" y="4"/>
                    <a:pt x="522" y="0"/>
                    <a:pt x="518" y="0"/>
                  </a:cubicBezTo>
                  <a:lnTo>
                    <a:pt x="494" y="0"/>
                  </a:lnTo>
                  <a:close/>
                  <a:moveTo>
                    <a:pt x="494" y="8"/>
                  </a:moveTo>
                  <a:cubicBezTo>
                    <a:pt x="518" y="8"/>
                    <a:pt x="518" y="8"/>
                    <a:pt x="518" y="8"/>
                  </a:cubicBezTo>
                  <a:cubicBezTo>
                    <a:pt x="518" y="57"/>
                    <a:pt x="518" y="57"/>
                    <a:pt x="518" y="57"/>
                  </a:cubicBezTo>
                  <a:cubicBezTo>
                    <a:pt x="494" y="57"/>
                    <a:pt x="494" y="57"/>
                    <a:pt x="494" y="57"/>
                  </a:cubicBezTo>
                  <a:lnTo>
                    <a:pt x="49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79"/>
            <p:cNvSpPr>
              <a:spLocks noEditPoints="1"/>
            </p:cNvSpPr>
            <p:nvPr/>
          </p:nvSpPr>
          <p:spPr bwMode="gray">
            <a:xfrm>
              <a:off x="11009645" y="5069650"/>
              <a:ext cx="826485" cy="102301"/>
            </a:xfrm>
            <a:custGeom>
              <a:avLst/>
              <a:gdLst>
                <a:gd name="T0" fmla="*/ 4 w 527"/>
                <a:gd name="T1" fmla="*/ 0 h 66"/>
                <a:gd name="T2" fmla="*/ 17 w 527"/>
                <a:gd name="T3" fmla="*/ 9 h 66"/>
                <a:gd name="T4" fmla="*/ 0 w 527"/>
                <a:gd name="T5" fmla="*/ 62 h 66"/>
                <a:gd name="T6" fmla="*/ 41 w 527"/>
                <a:gd name="T7" fmla="*/ 62 h 66"/>
                <a:gd name="T8" fmla="*/ 34 w 527"/>
                <a:gd name="T9" fmla="*/ 40 h 66"/>
                <a:gd name="T10" fmla="*/ 69 w 527"/>
                <a:gd name="T11" fmla="*/ 0 h 66"/>
                <a:gd name="T12" fmla="*/ 69 w 527"/>
                <a:gd name="T13" fmla="*/ 66 h 66"/>
                <a:gd name="T14" fmla="*/ 102 w 527"/>
                <a:gd name="T15" fmla="*/ 9 h 66"/>
                <a:gd name="T16" fmla="*/ 69 w 527"/>
                <a:gd name="T17" fmla="*/ 9 h 66"/>
                <a:gd name="T18" fmla="*/ 69 w 527"/>
                <a:gd name="T19" fmla="*/ 57 h 66"/>
                <a:gd name="T20" fmla="*/ 121 w 527"/>
                <a:gd name="T21" fmla="*/ 9 h 66"/>
                <a:gd name="T22" fmla="*/ 154 w 527"/>
                <a:gd name="T23" fmla="*/ 66 h 66"/>
                <a:gd name="T24" fmla="*/ 154 w 527"/>
                <a:gd name="T25" fmla="*/ 0 h 66"/>
                <a:gd name="T26" fmla="*/ 154 w 527"/>
                <a:gd name="T27" fmla="*/ 9 h 66"/>
                <a:gd name="T28" fmla="*/ 130 w 527"/>
                <a:gd name="T29" fmla="*/ 9 h 66"/>
                <a:gd name="T30" fmla="*/ 186 w 527"/>
                <a:gd name="T31" fmla="*/ 0 h 66"/>
                <a:gd name="T32" fmla="*/ 199 w 527"/>
                <a:gd name="T33" fmla="*/ 9 h 66"/>
                <a:gd name="T34" fmla="*/ 182 w 527"/>
                <a:gd name="T35" fmla="*/ 62 h 66"/>
                <a:gd name="T36" fmla="*/ 224 w 527"/>
                <a:gd name="T37" fmla="*/ 62 h 66"/>
                <a:gd name="T38" fmla="*/ 215 w 527"/>
                <a:gd name="T39" fmla="*/ 40 h 66"/>
                <a:gd name="T40" fmla="*/ 251 w 527"/>
                <a:gd name="T41" fmla="*/ 0 h 66"/>
                <a:gd name="T42" fmla="*/ 251 w 527"/>
                <a:gd name="T43" fmla="*/ 66 h 66"/>
                <a:gd name="T44" fmla="*/ 284 w 527"/>
                <a:gd name="T45" fmla="*/ 9 h 66"/>
                <a:gd name="T46" fmla="*/ 251 w 527"/>
                <a:gd name="T47" fmla="*/ 9 h 66"/>
                <a:gd name="T48" fmla="*/ 251 w 527"/>
                <a:gd name="T49" fmla="*/ 57 h 66"/>
                <a:gd name="T50" fmla="*/ 328 w 527"/>
                <a:gd name="T51" fmla="*/ 0 h 66"/>
                <a:gd name="T52" fmla="*/ 307 w 527"/>
                <a:gd name="T53" fmla="*/ 9 h 66"/>
                <a:gd name="T54" fmla="*/ 307 w 527"/>
                <a:gd name="T55" fmla="*/ 57 h 66"/>
                <a:gd name="T56" fmla="*/ 340 w 527"/>
                <a:gd name="T57" fmla="*/ 66 h 66"/>
                <a:gd name="T58" fmla="*/ 340 w 527"/>
                <a:gd name="T59" fmla="*/ 36 h 66"/>
                <a:gd name="T60" fmla="*/ 328 w 527"/>
                <a:gd name="T61" fmla="*/ 57 h 66"/>
                <a:gd name="T62" fmla="*/ 364 w 527"/>
                <a:gd name="T63" fmla="*/ 57 h 66"/>
                <a:gd name="T64" fmla="*/ 405 w 527"/>
                <a:gd name="T65" fmla="*/ 57 h 66"/>
                <a:gd name="T66" fmla="*/ 372 w 527"/>
                <a:gd name="T67" fmla="*/ 0 h 66"/>
                <a:gd name="T68" fmla="*/ 396 w 527"/>
                <a:gd name="T69" fmla="*/ 57 h 66"/>
                <a:gd name="T70" fmla="*/ 449 w 527"/>
                <a:gd name="T71" fmla="*/ 57 h 66"/>
                <a:gd name="T72" fmla="*/ 424 w 527"/>
                <a:gd name="T73" fmla="*/ 5 h 66"/>
                <a:gd name="T74" fmla="*/ 441 w 527"/>
                <a:gd name="T75" fmla="*/ 57 h 66"/>
                <a:gd name="T76" fmla="*/ 429 w 527"/>
                <a:gd name="T77" fmla="*/ 66 h 66"/>
                <a:gd name="T78" fmla="*/ 466 w 527"/>
                <a:gd name="T79" fmla="*/ 40 h 66"/>
                <a:gd name="T80" fmla="*/ 457 w 527"/>
                <a:gd name="T81" fmla="*/ 57 h 66"/>
                <a:gd name="T82" fmla="*/ 510 w 527"/>
                <a:gd name="T83" fmla="*/ 0 h 66"/>
                <a:gd name="T84" fmla="*/ 489 w 527"/>
                <a:gd name="T85" fmla="*/ 9 h 66"/>
                <a:gd name="T86" fmla="*/ 489 w 527"/>
                <a:gd name="T87" fmla="*/ 57 h 66"/>
                <a:gd name="T88" fmla="*/ 522 w 527"/>
                <a:gd name="T89" fmla="*/ 66 h 66"/>
                <a:gd name="T90" fmla="*/ 522 w 527"/>
                <a:gd name="T91" fmla="*/ 36 h 66"/>
                <a:gd name="T92" fmla="*/ 510 w 527"/>
                <a:gd name="T93"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7" h="66">
                  <a:moveTo>
                    <a:pt x="25" y="57"/>
                  </a:moveTo>
                  <a:cubicBezTo>
                    <a:pt x="25" y="0"/>
                    <a:pt x="25" y="0"/>
                    <a:pt x="25" y="0"/>
                  </a:cubicBezTo>
                  <a:cubicBezTo>
                    <a:pt x="4" y="0"/>
                    <a:pt x="4" y="0"/>
                    <a:pt x="4" y="0"/>
                  </a:cubicBezTo>
                  <a:cubicBezTo>
                    <a:pt x="2" y="0"/>
                    <a:pt x="0" y="2"/>
                    <a:pt x="0" y="5"/>
                  </a:cubicBezTo>
                  <a:cubicBezTo>
                    <a:pt x="0" y="8"/>
                    <a:pt x="2" y="9"/>
                    <a:pt x="4" y="9"/>
                  </a:cubicBezTo>
                  <a:cubicBezTo>
                    <a:pt x="17" y="9"/>
                    <a:pt x="17" y="9"/>
                    <a:pt x="17" y="9"/>
                  </a:cubicBezTo>
                  <a:cubicBezTo>
                    <a:pt x="17" y="57"/>
                    <a:pt x="17" y="57"/>
                    <a:pt x="17" y="57"/>
                  </a:cubicBezTo>
                  <a:cubicBezTo>
                    <a:pt x="4" y="57"/>
                    <a:pt x="4" y="57"/>
                    <a:pt x="4" y="57"/>
                  </a:cubicBezTo>
                  <a:cubicBezTo>
                    <a:pt x="2" y="57"/>
                    <a:pt x="0" y="58"/>
                    <a:pt x="0" y="62"/>
                  </a:cubicBezTo>
                  <a:cubicBezTo>
                    <a:pt x="0" y="64"/>
                    <a:pt x="2" y="66"/>
                    <a:pt x="4" y="66"/>
                  </a:cubicBezTo>
                  <a:cubicBezTo>
                    <a:pt x="38" y="66"/>
                    <a:pt x="38" y="66"/>
                    <a:pt x="38" y="66"/>
                  </a:cubicBezTo>
                  <a:cubicBezTo>
                    <a:pt x="40" y="66"/>
                    <a:pt x="41" y="64"/>
                    <a:pt x="41" y="62"/>
                  </a:cubicBezTo>
                  <a:cubicBezTo>
                    <a:pt x="41" y="40"/>
                    <a:pt x="41" y="40"/>
                    <a:pt x="41" y="40"/>
                  </a:cubicBezTo>
                  <a:cubicBezTo>
                    <a:pt x="41" y="38"/>
                    <a:pt x="41" y="36"/>
                    <a:pt x="38" y="36"/>
                  </a:cubicBezTo>
                  <a:cubicBezTo>
                    <a:pt x="34" y="36"/>
                    <a:pt x="34" y="38"/>
                    <a:pt x="34" y="40"/>
                  </a:cubicBezTo>
                  <a:cubicBezTo>
                    <a:pt x="34" y="57"/>
                    <a:pt x="34" y="57"/>
                    <a:pt x="34" y="57"/>
                  </a:cubicBezTo>
                  <a:lnTo>
                    <a:pt x="25" y="57"/>
                  </a:lnTo>
                  <a:close/>
                  <a:moveTo>
                    <a:pt x="69" y="0"/>
                  </a:moveTo>
                  <a:cubicBezTo>
                    <a:pt x="65" y="0"/>
                    <a:pt x="60" y="5"/>
                    <a:pt x="60" y="9"/>
                  </a:cubicBezTo>
                  <a:cubicBezTo>
                    <a:pt x="60" y="57"/>
                    <a:pt x="60" y="57"/>
                    <a:pt x="60" y="57"/>
                  </a:cubicBezTo>
                  <a:cubicBezTo>
                    <a:pt x="60" y="62"/>
                    <a:pt x="64" y="66"/>
                    <a:pt x="69" y="66"/>
                  </a:cubicBezTo>
                  <a:cubicBezTo>
                    <a:pt x="93" y="66"/>
                    <a:pt x="93" y="66"/>
                    <a:pt x="93" y="66"/>
                  </a:cubicBezTo>
                  <a:cubicBezTo>
                    <a:pt x="99" y="66"/>
                    <a:pt x="102" y="62"/>
                    <a:pt x="102" y="57"/>
                  </a:cubicBezTo>
                  <a:cubicBezTo>
                    <a:pt x="102" y="9"/>
                    <a:pt x="102" y="9"/>
                    <a:pt x="102" y="9"/>
                  </a:cubicBezTo>
                  <a:cubicBezTo>
                    <a:pt x="102" y="5"/>
                    <a:pt x="99" y="0"/>
                    <a:pt x="93" y="0"/>
                  </a:cubicBezTo>
                  <a:lnTo>
                    <a:pt x="69" y="0"/>
                  </a:lnTo>
                  <a:close/>
                  <a:moveTo>
                    <a:pt x="69" y="9"/>
                  </a:moveTo>
                  <a:cubicBezTo>
                    <a:pt x="93" y="9"/>
                    <a:pt x="93" y="9"/>
                    <a:pt x="93" y="9"/>
                  </a:cubicBezTo>
                  <a:cubicBezTo>
                    <a:pt x="93" y="57"/>
                    <a:pt x="93" y="57"/>
                    <a:pt x="93" y="57"/>
                  </a:cubicBezTo>
                  <a:cubicBezTo>
                    <a:pt x="69" y="57"/>
                    <a:pt x="69" y="57"/>
                    <a:pt x="69" y="57"/>
                  </a:cubicBezTo>
                  <a:lnTo>
                    <a:pt x="69" y="9"/>
                  </a:lnTo>
                  <a:close/>
                  <a:moveTo>
                    <a:pt x="130" y="0"/>
                  </a:moveTo>
                  <a:cubicBezTo>
                    <a:pt x="125" y="0"/>
                    <a:pt x="121" y="5"/>
                    <a:pt x="121" y="9"/>
                  </a:cubicBezTo>
                  <a:cubicBezTo>
                    <a:pt x="121" y="57"/>
                    <a:pt x="121" y="57"/>
                    <a:pt x="121" y="57"/>
                  </a:cubicBezTo>
                  <a:cubicBezTo>
                    <a:pt x="121" y="62"/>
                    <a:pt x="125" y="66"/>
                    <a:pt x="130" y="66"/>
                  </a:cubicBezTo>
                  <a:cubicBezTo>
                    <a:pt x="154" y="66"/>
                    <a:pt x="154" y="66"/>
                    <a:pt x="154" y="66"/>
                  </a:cubicBezTo>
                  <a:cubicBezTo>
                    <a:pt x="159" y="66"/>
                    <a:pt x="163" y="62"/>
                    <a:pt x="163" y="57"/>
                  </a:cubicBezTo>
                  <a:cubicBezTo>
                    <a:pt x="163" y="9"/>
                    <a:pt x="163" y="9"/>
                    <a:pt x="163" y="9"/>
                  </a:cubicBezTo>
                  <a:cubicBezTo>
                    <a:pt x="163" y="5"/>
                    <a:pt x="159" y="0"/>
                    <a:pt x="154" y="0"/>
                  </a:cubicBezTo>
                  <a:lnTo>
                    <a:pt x="130" y="0"/>
                  </a:lnTo>
                  <a:close/>
                  <a:moveTo>
                    <a:pt x="130" y="9"/>
                  </a:moveTo>
                  <a:cubicBezTo>
                    <a:pt x="154" y="9"/>
                    <a:pt x="154" y="9"/>
                    <a:pt x="154" y="9"/>
                  </a:cubicBezTo>
                  <a:cubicBezTo>
                    <a:pt x="154" y="57"/>
                    <a:pt x="154" y="57"/>
                    <a:pt x="154" y="57"/>
                  </a:cubicBezTo>
                  <a:cubicBezTo>
                    <a:pt x="130" y="57"/>
                    <a:pt x="130" y="57"/>
                    <a:pt x="130" y="57"/>
                  </a:cubicBezTo>
                  <a:lnTo>
                    <a:pt x="130" y="9"/>
                  </a:lnTo>
                  <a:close/>
                  <a:moveTo>
                    <a:pt x="207" y="57"/>
                  </a:moveTo>
                  <a:cubicBezTo>
                    <a:pt x="207" y="0"/>
                    <a:pt x="207" y="0"/>
                    <a:pt x="207" y="0"/>
                  </a:cubicBezTo>
                  <a:cubicBezTo>
                    <a:pt x="186" y="0"/>
                    <a:pt x="186" y="0"/>
                    <a:pt x="186" y="0"/>
                  </a:cubicBezTo>
                  <a:cubicBezTo>
                    <a:pt x="184" y="0"/>
                    <a:pt x="182" y="2"/>
                    <a:pt x="182" y="5"/>
                  </a:cubicBezTo>
                  <a:cubicBezTo>
                    <a:pt x="182" y="8"/>
                    <a:pt x="184" y="9"/>
                    <a:pt x="186" y="9"/>
                  </a:cubicBezTo>
                  <a:cubicBezTo>
                    <a:pt x="199" y="9"/>
                    <a:pt x="199" y="9"/>
                    <a:pt x="199" y="9"/>
                  </a:cubicBezTo>
                  <a:cubicBezTo>
                    <a:pt x="199" y="57"/>
                    <a:pt x="199" y="57"/>
                    <a:pt x="199" y="57"/>
                  </a:cubicBezTo>
                  <a:cubicBezTo>
                    <a:pt x="186" y="57"/>
                    <a:pt x="186" y="57"/>
                    <a:pt x="186" y="57"/>
                  </a:cubicBezTo>
                  <a:cubicBezTo>
                    <a:pt x="184" y="57"/>
                    <a:pt x="182" y="58"/>
                    <a:pt x="182" y="62"/>
                  </a:cubicBezTo>
                  <a:cubicBezTo>
                    <a:pt x="182" y="64"/>
                    <a:pt x="184" y="66"/>
                    <a:pt x="186" y="66"/>
                  </a:cubicBezTo>
                  <a:cubicBezTo>
                    <a:pt x="219" y="66"/>
                    <a:pt x="219" y="66"/>
                    <a:pt x="219" y="66"/>
                  </a:cubicBezTo>
                  <a:cubicBezTo>
                    <a:pt x="221" y="66"/>
                    <a:pt x="224" y="64"/>
                    <a:pt x="224" y="62"/>
                  </a:cubicBezTo>
                  <a:cubicBezTo>
                    <a:pt x="224" y="40"/>
                    <a:pt x="224" y="40"/>
                    <a:pt x="224" y="40"/>
                  </a:cubicBezTo>
                  <a:cubicBezTo>
                    <a:pt x="224" y="38"/>
                    <a:pt x="222" y="36"/>
                    <a:pt x="219" y="36"/>
                  </a:cubicBezTo>
                  <a:cubicBezTo>
                    <a:pt x="216" y="36"/>
                    <a:pt x="215" y="38"/>
                    <a:pt x="215" y="40"/>
                  </a:cubicBezTo>
                  <a:cubicBezTo>
                    <a:pt x="215" y="57"/>
                    <a:pt x="215" y="57"/>
                    <a:pt x="215" y="57"/>
                  </a:cubicBezTo>
                  <a:lnTo>
                    <a:pt x="207" y="57"/>
                  </a:lnTo>
                  <a:close/>
                  <a:moveTo>
                    <a:pt x="251" y="0"/>
                  </a:moveTo>
                  <a:cubicBezTo>
                    <a:pt x="246" y="0"/>
                    <a:pt x="243" y="5"/>
                    <a:pt x="243" y="9"/>
                  </a:cubicBezTo>
                  <a:cubicBezTo>
                    <a:pt x="243" y="57"/>
                    <a:pt x="243" y="57"/>
                    <a:pt x="243" y="57"/>
                  </a:cubicBezTo>
                  <a:cubicBezTo>
                    <a:pt x="243" y="62"/>
                    <a:pt x="246" y="66"/>
                    <a:pt x="251" y="66"/>
                  </a:cubicBezTo>
                  <a:cubicBezTo>
                    <a:pt x="276" y="66"/>
                    <a:pt x="276" y="66"/>
                    <a:pt x="276" y="66"/>
                  </a:cubicBezTo>
                  <a:cubicBezTo>
                    <a:pt x="280" y="66"/>
                    <a:pt x="284" y="62"/>
                    <a:pt x="284" y="57"/>
                  </a:cubicBezTo>
                  <a:cubicBezTo>
                    <a:pt x="284" y="9"/>
                    <a:pt x="284" y="9"/>
                    <a:pt x="284" y="9"/>
                  </a:cubicBezTo>
                  <a:cubicBezTo>
                    <a:pt x="284" y="5"/>
                    <a:pt x="280" y="0"/>
                    <a:pt x="276" y="0"/>
                  </a:cubicBezTo>
                  <a:lnTo>
                    <a:pt x="251" y="0"/>
                  </a:lnTo>
                  <a:close/>
                  <a:moveTo>
                    <a:pt x="251" y="9"/>
                  </a:moveTo>
                  <a:cubicBezTo>
                    <a:pt x="276" y="9"/>
                    <a:pt x="276" y="9"/>
                    <a:pt x="276" y="9"/>
                  </a:cubicBezTo>
                  <a:cubicBezTo>
                    <a:pt x="276" y="57"/>
                    <a:pt x="276" y="57"/>
                    <a:pt x="276" y="57"/>
                  </a:cubicBezTo>
                  <a:cubicBezTo>
                    <a:pt x="251" y="57"/>
                    <a:pt x="251" y="57"/>
                    <a:pt x="251" y="57"/>
                  </a:cubicBezTo>
                  <a:lnTo>
                    <a:pt x="251" y="9"/>
                  </a:lnTo>
                  <a:close/>
                  <a:moveTo>
                    <a:pt x="328" y="57"/>
                  </a:moveTo>
                  <a:cubicBezTo>
                    <a:pt x="328" y="0"/>
                    <a:pt x="328" y="0"/>
                    <a:pt x="328" y="0"/>
                  </a:cubicBezTo>
                  <a:cubicBezTo>
                    <a:pt x="307" y="0"/>
                    <a:pt x="307" y="0"/>
                    <a:pt x="307" y="0"/>
                  </a:cubicBezTo>
                  <a:cubicBezTo>
                    <a:pt x="305" y="0"/>
                    <a:pt x="303" y="2"/>
                    <a:pt x="303" y="5"/>
                  </a:cubicBezTo>
                  <a:cubicBezTo>
                    <a:pt x="303" y="8"/>
                    <a:pt x="305" y="9"/>
                    <a:pt x="307" y="9"/>
                  </a:cubicBezTo>
                  <a:cubicBezTo>
                    <a:pt x="320" y="9"/>
                    <a:pt x="320" y="9"/>
                    <a:pt x="320" y="9"/>
                  </a:cubicBezTo>
                  <a:cubicBezTo>
                    <a:pt x="320" y="57"/>
                    <a:pt x="320" y="57"/>
                    <a:pt x="320" y="57"/>
                  </a:cubicBezTo>
                  <a:cubicBezTo>
                    <a:pt x="307" y="57"/>
                    <a:pt x="307" y="57"/>
                    <a:pt x="307" y="57"/>
                  </a:cubicBezTo>
                  <a:cubicBezTo>
                    <a:pt x="305" y="57"/>
                    <a:pt x="303" y="58"/>
                    <a:pt x="303" y="62"/>
                  </a:cubicBezTo>
                  <a:cubicBezTo>
                    <a:pt x="303" y="64"/>
                    <a:pt x="305" y="66"/>
                    <a:pt x="307" y="66"/>
                  </a:cubicBezTo>
                  <a:cubicBezTo>
                    <a:pt x="340" y="66"/>
                    <a:pt x="340" y="66"/>
                    <a:pt x="340" y="66"/>
                  </a:cubicBezTo>
                  <a:cubicBezTo>
                    <a:pt x="343" y="66"/>
                    <a:pt x="344" y="64"/>
                    <a:pt x="344" y="62"/>
                  </a:cubicBezTo>
                  <a:cubicBezTo>
                    <a:pt x="344" y="40"/>
                    <a:pt x="344" y="40"/>
                    <a:pt x="344" y="40"/>
                  </a:cubicBezTo>
                  <a:cubicBezTo>
                    <a:pt x="344" y="38"/>
                    <a:pt x="344" y="36"/>
                    <a:pt x="340" y="36"/>
                  </a:cubicBezTo>
                  <a:cubicBezTo>
                    <a:pt x="337" y="36"/>
                    <a:pt x="337" y="38"/>
                    <a:pt x="337" y="40"/>
                  </a:cubicBezTo>
                  <a:cubicBezTo>
                    <a:pt x="337" y="57"/>
                    <a:pt x="337" y="57"/>
                    <a:pt x="337" y="57"/>
                  </a:cubicBezTo>
                  <a:lnTo>
                    <a:pt x="328" y="57"/>
                  </a:lnTo>
                  <a:close/>
                  <a:moveTo>
                    <a:pt x="372" y="0"/>
                  </a:moveTo>
                  <a:cubicBezTo>
                    <a:pt x="368" y="0"/>
                    <a:pt x="364" y="5"/>
                    <a:pt x="364" y="9"/>
                  </a:cubicBezTo>
                  <a:cubicBezTo>
                    <a:pt x="364" y="57"/>
                    <a:pt x="364" y="57"/>
                    <a:pt x="364" y="57"/>
                  </a:cubicBezTo>
                  <a:cubicBezTo>
                    <a:pt x="364" y="62"/>
                    <a:pt x="367" y="66"/>
                    <a:pt x="372" y="66"/>
                  </a:cubicBezTo>
                  <a:cubicBezTo>
                    <a:pt x="396" y="66"/>
                    <a:pt x="396" y="66"/>
                    <a:pt x="396" y="66"/>
                  </a:cubicBezTo>
                  <a:cubicBezTo>
                    <a:pt x="402" y="66"/>
                    <a:pt x="405" y="62"/>
                    <a:pt x="405" y="57"/>
                  </a:cubicBezTo>
                  <a:cubicBezTo>
                    <a:pt x="405" y="9"/>
                    <a:pt x="405" y="9"/>
                    <a:pt x="405" y="9"/>
                  </a:cubicBezTo>
                  <a:cubicBezTo>
                    <a:pt x="405" y="5"/>
                    <a:pt x="402" y="0"/>
                    <a:pt x="396" y="0"/>
                  </a:cubicBezTo>
                  <a:lnTo>
                    <a:pt x="372" y="0"/>
                  </a:lnTo>
                  <a:close/>
                  <a:moveTo>
                    <a:pt x="372" y="9"/>
                  </a:moveTo>
                  <a:cubicBezTo>
                    <a:pt x="396" y="9"/>
                    <a:pt x="396" y="9"/>
                    <a:pt x="396" y="9"/>
                  </a:cubicBezTo>
                  <a:cubicBezTo>
                    <a:pt x="396" y="57"/>
                    <a:pt x="396" y="57"/>
                    <a:pt x="396" y="57"/>
                  </a:cubicBezTo>
                  <a:cubicBezTo>
                    <a:pt x="372" y="57"/>
                    <a:pt x="372" y="57"/>
                    <a:pt x="372" y="57"/>
                  </a:cubicBezTo>
                  <a:lnTo>
                    <a:pt x="372" y="9"/>
                  </a:lnTo>
                  <a:close/>
                  <a:moveTo>
                    <a:pt x="449" y="57"/>
                  </a:moveTo>
                  <a:cubicBezTo>
                    <a:pt x="449" y="0"/>
                    <a:pt x="449" y="0"/>
                    <a:pt x="449" y="0"/>
                  </a:cubicBezTo>
                  <a:cubicBezTo>
                    <a:pt x="429" y="0"/>
                    <a:pt x="429" y="0"/>
                    <a:pt x="429" y="0"/>
                  </a:cubicBezTo>
                  <a:cubicBezTo>
                    <a:pt x="426" y="0"/>
                    <a:pt x="424" y="2"/>
                    <a:pt x="424" y="5"/>
                  </a:cubicBezTo>
                  <a:cubicBezTo>
                    <a:pt x="424" y="8"/>
                    <a:pt x="426" y="9"/>
                    <a:pt x="429" y="9"/>
                  </a:cubicBezTo>
                  <a:cubicBezTo>
                    <a:pt x="441" y="9"/>
                    <a:pt x="441" y="9"/>
                    <a:pt x="441" y="9"/>
                  </a:cubicBezTo>
                  <a:cubicBezTo>
                    <a:pt x="441" y="57"/>
                    <a:pt x="441" y="57"/>
                    <a:pt x="441" y="57"/>
                  </a:cubicBezTo>
                  <a:cubicBezTo>
                    <a:pt x="429" y="57"/>
                    <a:pt x="429" y="57"/>
                    <a:pt x="429" y="57"/>
                  </a:cubicBezTo>
                  <a:cubicBezTo>
                    <a:pt x="426" y="57"/>
                    <a:pt x="424" y="58"/>
                    <a:pt x="424" y="62"/>
                  </a:cubicBezTo>
                  <a:cubicBezTo>
                    <a:pt x="424" y="64"/>
                    <a:pt x="426" y="66"/>
                    <a:pt x="429" y="66"/>
                  </a:cubicBezTo>
                  <a:cubicBezTo>
                    <a:pt x="462" y="66"/>
                    <a:pt x="462" y="66"/>
                    <a:pt x="462" y="66"/>
                  </a:cubicBezTo>
                  <a:cubicBezTo>
                    <a:pt x="464" y="66"/>
                    <a:pt x="466" y="64"/>
                    <a:pt x="466" y="62"/>
                  </a:cubicBezTo>
                  <a:cubicBezTo>
                    <a:pt x="466" y="40"/>
                    <a:pt x="466" y="40"/>
                    <a:pt x="466" y="40"/>
                  </a:cubicBezTo>
                  <a:cubicBezTo>
                    <a:pt x="466" y="38"/>
                    <a:pt x="465" y="36"/>
                    <a:pt x="462" y="36"/>
                  </a:cubicBezTo>
                  <a:cubicBezTo>
                    <a:pt x="458" y="36"/>
                    <a:pt x="457" y="38"/>
                    <a:pt x="457" y="40"/>
                  </a:cubicBezTo>
                  <a:cubicBezTo>
                    <a:pt x="457" y="57"/>
                    <a:pt x="457" y="57"/>
                    <a:pt x="457" y="57"/>
                  </a:cubicBezTo>
                  <a:lnTo>
                    <a:pt x="449" y="57"/>
                  </a:lnTo>
                  <a:close/>
                  <a:moveTo>
                    <a:pt x="510" y="57"/>
                  </a:moveTo>
                  <a:cubicBezTo>
                    <a:pt x="510" y="0"/>
                    <a:pt x="510" y="0"/>
                    <a:pt x="510" y="0"/>
                  </a:cubicBezTo>
                  <a:cubicBezTo>
                    <a:pt x="489" y="0"/>
                    <a:pt x="489" y="0"/>
                    <a:pt x="489" y="0"/>
                  </a:cubicBezTo>
                  <a:cubicBezTo>
                    <a:pt x="487" y="0"/>
                    <a:pt x="485" y="2"/>
                    <a:pt x="485" y="5"/>
                  </a:cubicBezTo>
                  <a:cubicBezTo>
                    <a:pt x="485" y="8"/>
                    <a:pt x="487" y="9"/>
                    <a:pt x="489" y="9"/>
                  </a:cubicBezTo>
                  <a:cubicBezTo>
                    <a:pt x="502" y="9"/>
                    <a:pt x="502" y="9"/>
                    <a:pt x="502" y="9"/>
                  </a:cubicBezTo>
                  <a:cubicBezTo>
                    <a:pt x="502" y="57"/>
                    <a:pt x="502" y="57"/>
                    <a:pt x="502" y="57"/>
                  </a:cubicBezTo>
                  <a:cubicBezTo>
                    <a:pt x="489" y="57"/>
                    <a:pt x="489" y="57"/>
                    <a:pt x="489" y="57"/>
                  </a:cubicBezTo>
                  <a:cubicBezTo>
                    <a:pt x="487" y="57"/>
                    <a:pt x="485" y="58"/>
                    <a:pt x="485" y="62"/>
                  </a:cubicBezTo>
                  <a:cubicBezTo>
                    <a:pt x="485" y="64"/>
                    <a:pt x="487" y="66"/>
                    <a:pt x="489" y="66"/>
                  </a:cubicBezTo>
                  <a:cubicBezTo>
                    <a:pt x="522" y="66"/>
                    <a:pt x="522" y="66"/>
                    <a:pt x="522" y="66"/>
                  </a:cubicBezTo>
                  <a:cubicBezTo>
                    <a:pt x="524" y="66"/>
                    <a:pt x="527" y="64"/>
                    <a:pt x="527" y="62"/>
                  </a:cubicBezTo>
                  <a:cubicBezTo>
                    <a:pt x="527" y="40"/>
                    <a:pt x="527" y="40"/>
                    <a:pt x="527" y="40"/>
                  </a:cubicBezTo>
                  <a:cubicBezTo>
                    <a:pt x="527" y="38"/>
                    <a:pt x="525" y="36"/>
                    <a:pt x="522" y="36"/>
                  </a:cubicBezTo>
                  <a:cubicBezTo>
                    <a:pt x="519" y="36"/>
                    <a:pt x="518" y="38"/>
                    <a:pt x="518" y="40"/>
                  </a:cubicBezTo>
                  <a:cubicBezTo>
                    <a:pt x="518" y="57"/>
                    <a:pt x="518" y="57"/>
                    <a:pt x="518" y="57"/>
                  </a:cubicBezTo>
                  <a:lnTo>
                    <a:pt x="51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80"/>
            <p:cNvSpPr>
              <a:spLocks/>
            </p:cNvSpPr>
            <p:nvPr/>
          </p:nvSpPr>
          <p:spPr bwMode="gray">
            <a:xfrm>
              <a:off x="9873565" y="6065739"/>
              <a:ext cx="463047" cy="314980"/>
            </a:xfrm>
            <a:custGeom>
              <a:avLst/>
              <a:gdLst>
                <a:gd name="T0" fmla="*/ 172 w 172"/>
                <a:gd name="T1" fmla="*/ 117 h 117"/>
                <a:gd name="T2" fmla="*/ 172 w 172"/>
                <a:gd name="T3" fmla="*/ 0 h 117"/>
                <a:gd name="T4" fmla="*/ 86 w 172"/>
                <a:gd name="T5" fmla="*/ 0 h 117"/>
                <a:gd name="T6" fmla="*/ 0 w 172"/>
                <a:gd name="T7" fmla="*/ 0 h 117"/>
                <a:gd name="T8" fmla="*/ 0 w 172"/>
                <a:gd name="T9" fmla="*/ 117 h 117"/>
                <a:gd name="T10" fmla="*/ 86 w 172"/>
                <a:gd name="T11" fmla="*/ 117 h 117"/>
                <a:gd name="T12" fmla="*/ 172 w 172"/>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72" h="117">
                  <a:moveTo>
                    <a:pt x="172" y="117"/>
                  </a:moveTo>
                  <a:lnTo>
                    <a:pt x="172" y="0"/>
                  </a:lnTo>
                  <a:lnTo>
                    <a:pt x="86" y="0"/>
                  </a:lnTo>
                  <a:lnTo>
                    <a:pt x="0" y="0"/>
                  </a:lnTo>
                  <a:lnTo>
                    <a:pt x="0" y="117"/>
                  </a:lnTo>
                  <a:lnTo>
                    <a:pt x="86" y="117"/>
                  </a:lnTo>
                  <a:lnTo>
                    <a:pt x="172" y="117"/>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tangle 81"/>
            <p:cNvSpPr>
              <a:spLocks noChangeArrowheads="1"/>
            </p:cNvSpPr>
            <p:nvPr/>
          </p:nvSpPr>
          <p:spPr bwMode="gray">
            <a:xfrm>
              <a:off x="9897795" y="6079198"/>
              <a:ext cx="414588" cy="250369"/>
            </a:xfrm>
            <a:prstGeom prst="rect">
              <a:avLst/>
            </a:pr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82"/>
            <p:cNvSpPr>
              <a:spLocks noEditPoints="1"/>
            </p:cNvSpPr>
            <p:nvPr/>
          </p:nvSpPr>
          <p:spPr bwMode="gray">
            <a:xfrm>
              <a:off x="9970482" y="6165347"/>
              <a:ext cx="271906" cy="78073"/>
            </a:xfrm>
            <a:custGeom>
              <a:avLst/>
              <a:gdLst>
                <a:gd name="T0" fmla="*/ 19 w 174"/>
                <a:gd name="T1" fmla="*/ 44 h 50"/>
                <a:gd name="T2" fmla="*/ 19 w 174"/>
                <a:gd name="T3" fmla="*/ 0 h 50"/>
                <a:gd name="T4" fmla="*/ 3 w 174"/>
                <a:gd name="T5" fmla="*/ 0 h 50"/>
                <a:gd name="T6" fmla="*/ 0 w 174"/>
                <a:gd name="T7" fmla="*/ 2 h 50"/>
                <a:gd name="T8" fmla="*/ 3 w 174"/>
                <a:gd name="T9" fmla="*/ 6 h 50"/>
                <a:gd name="T10" fmla="*/ 13 w 174"/>
                <a:gd name="T11" fmla="*/ 6 h 50"/>
                <a:gd name="T12" fmla="*/ 13 w 174"/>
                <a:gd name="T13" fmla="*/ 44 h 50"/>
                <a:gd name="T14" fmla="*/ 3 w 174"/>
                <a:gd name="T15" fmla="*/ 44 h 50"/>
                <a:gd name="T16" fmla="*/ 0 w 174"/>
                <a:gd name="T17" fmla="*/ 47 h 50"/>
                <a:gd name="T18" fmla="*/ 3 w 174"/>
                <a:gd name="T19" fmla="*/ 50 h 50"/>
                <a:gd name="T20" fmla="*/ 29 w 174"/>
                <a:gd name="T21" fmla="*/ 50 h 50"/>
                <a:gd name="T22" fmla="*/ 32 w 174"/>
                <a:gd name="T23" fmla="*/ 47 h 50"/>
                <a:gd name="T24" fmla="*/ 32 w 174"/>
                <a:gd name="T25" fmla="*/ 31 h 50"/>
                <a:gd name="T26" fmla="*/ 29 w 174"/>
                <a:gd name="T27" fmla="*/ 28 h 50"/>
                <a:gd name="T28" fmla="*/ 26 w 174"/>
                <a:gd name="T29" fmla="*/ 31 h 50"/>
                <a:gd name="T30" fmla="*/ 26 w 174"/>
                <a:gd name="T31" fmla="*/ 44 h 50"/>
                <a:gd name="T32" fmla="*/ 19 w 174"/>
                <a:gd name="T33" fmla="*/ 44 h 50"/>
                <a:gd name="T34" fmla="*/ 53 w 174"/>
                <a:gd name="T35" fmla="*/ 0 h 50"/>
                <a:gd name="T36" fmla="*/ 47 w 174"/>
                <a:gd name="T37" fmla="*/ 6 h 50"/>
                <a:gd name="T38" fmla="*/ 47 w 174"/>
                <a:gd name="T39" fmla="*/ 44 h 50"/>
                <a:gd name="T40" fmla="*/ 53 w 174"/>
                <a:gd name="T41" fmla="*/ 50 h 50"/>
                <a:gd name="T42" fmla="*/ 72 w 174"/>
                <a:gd name="T43" fmla="*/ 50 h 50"/>
                <a:gd name="T44" fmla="*/ 79 w 174"/>
                <a:gd name="T45" fmla="*/ 44 h 50"/>
                <a:gd name="T46" fmla="*/ 79 w 174"/>
                <a:gd name="T47" fmla="*/ 6 h 50"/>
                <a:gd name="T48" fmla="*/ 72 w 174"/>
                <a:gd name="T49" fmla="*/ 0 h 50"/>
                <a:gd name="T50" fmla="*/ 53 w 174"/>
                <a:gd name="T51" fmla="*/ 0 h 50"/>
                <a:gd name="T52" fmla="*/ 53 w 174"/>
                <a:gd name="T53" fmla="*/ 6 h 50"/>
                <a:gd name="T54" fmla="*/ 72 w 174"/>
                <a:gd name="T55" fmla="*/ 6 h 50"/>
                <a:gd name="T56" fmla="*/ 72 w 174"/>
                <a:gd name="T57" fmla="*/ 44 h 50"/>
                <a:gd name="T58" fmla="*/ 53 w 174"/>
                <a:gd name="T59" fmla="*/ 44 h 50"/>
                <a:gd name="T60" fmla="*/ 53 w 174"/>
                <a:gd name="T61" fmla="*/ 6 h 50"/>
                <a:gd name="T62" fmla="*/ 113 w 174"/>
                <a:gd name="T63" fmla="*/ 44 h 50"/>
                <a:gd name="T64" fmla="*/ 113 w 174"/>
                <a:gd name="T65" fmla="*/ 0 h 50"/>
                <a:gd name="T66" fmla="*/ 98 w 174"/>
                <a:gd name="T67" fmla="*/ 0 h 50"/>
                <a:gd name="T68" fmla="*/ 94 w 174"/>
                <a:gd name="T69" fmla="*/ 2 h 50"/>
                <a:gd name="T70" fmla="*/ 98 w 174"/>
                <a:gd name="T71" fmla="*/ 6 h 50"/>
                <a:gd name="T72" fmla="*/ 107 w 174"/>
                <a:gd name="T73" fmla="*/ 6 h 50"/>
                <a:gd name="T74" fmla="*/ 107 w 174"/>
                <a:gd name="T75" fmla="*/ 44 h 50"/>
                <a:gd name="T76" fmla="*/ 98 w 174"/>
                <a:gd name="T77" fmla="*/ 44 h 50"/>
                <a:gd name="T78" fmla="*/ 94 w 174"/>
                <a:gd name="T79" fmla="*/ 47 h 50"/>
                <a:gd name="T80" fmla="*/ 98 w 174"/>
                <a:gd name="T81" fmla="*/ 50 h 50"/>
                <a:gd name="T82" fmla="*/ 123 w 174"/>
                <a:gd name="T83" fmla="*/ 50 h 50"/>
                <a:gd name="T84" fmla="*/ 126 w 174"/>
                <a:gd name="T85" fmla="*/ 47 h 50"/>
                <a:gd name="T86" fmla="*/ 126 w 174"/>
                <a:gd name="T87" fmla="*/ 31 h 50"/>
                <a:gd name="T88" fmla="*/ 123 w 174"/>
                <a:gd name="T89" fmla="*/ 28 h 50"/>
                <a:gd name="T90" fmla="*/ 120 w 174"/>
                <a:gd name="T91" fmla="*/ 31 h 50"/>
                <a:gd name="T92" fmla="*/ 120 w 174"/>
                <a:gd name="T93" fmla="*/ 44 h 50"/>
                <a:gd name="T94" fmla="*/ 113 w 174"/>
                <a:gd name="T95" fmla="*/ 44 h 50"/>
                <a:gd name="T96" fmla="*/ 148 w 174"/>
                <a:gd name="T97" fmla="*/ 0 h 50"/>
                <a:gd name="T98" fmla="*/ 141 w 174"/>
                <a:gd name="T99" fmla="*/ 6 h 50"/>
                <a:gd name="T100" fmla="*/ 141 w 174"/>
                <a:gd name="T101" fmla="*/ 44 h 50"/>
                <a:gd name="T102" fmla="*/ 148 w 174"/>
                <a:gd name="T103" fmla="*/ 50 h 50"/>
                <a:gd name="T104" fmla="*/ 167 w 174"/>
                <a:gd name="T105" fmla="*/ 50 h 50"/>
                <a:gd name="T106" fmla="*/ 174 w 174"/>
                <a:gd name="T107" fmla="*/ 44 h 50"/>
                <a:gd name="T108" fmla="*/ 174 w 174"/>
                <a:gd name="T109" fmla="*/ 6 h 50"/>
                <a:gd name="T110" fmla="*/ 167 w 174"/>
                <a:gd name="T111" fmla="*/ 0 h 50"/>
                <a:gd name="T112" fmla="*/ 148 w 174"/>
                <a:gd name="T113" fmla="*/ 0 h 50"/>
                <a:gd name="T114" fmla="*/ 148 w 174"/>
                <a:gd name="T115" fmla="*/ 6 h 50"/>
                <a:gd name="T116" fmla="*/ 167 w 174"/>
                <a:gd name="T117" fmla="*/ 6 h 50"/>
                <a:gd name="T118" fmla="*/ 167 w 174"/>
                <a:gd name="T119" fmla="*/ 44 h 50"/>
                <a:gd name="T120" fmla="*/ 148 w 174"/>
                <a:gd name="T121" fmla="*/ 44 h 50"/>
                <a:gd name="T122" fmla="*/ 148 w 174"/>
                <a:gd name="T123"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4" h="50">
                  <a:moveTo>
                    <a:pt x="19" y="44"/>
                  </a:moveTo>
                  <a:cubicBezTo>
                    <a:pt x="19" y="0"/>
                    <a:pt x="19" y="0"/>
                    <a:pt x="19" y="0"/>
                  </a:cubicBezTo>
                  <a:cubicBezTo>
                    <a:pt x="3" y="0"/>
                    <a:pt x="3" y="0"/>
                    <a:pt x="3" y="0"/>
                  </a:cubicBezTo>
                  <a:cubicBezTo>
                    <a:pt x="1" y="0"/>
                    <a:pt x="0" y="1"/>
                    <a:pt x="0" y="2"/>
                  </a:cubicBezTo>
                  <a:cubicBezTo>
                    <a:pt x="0" y="5"/>
                    <a:pt x="1" y="6"/>
                    <a:pt x="3" y="6"/>
                  </a:cubicBezTo>
                  <a:cubicBezTo>
                    <a:pt x="13" y="6"/>
                    <a:pt x="13" y="6"/>
                    <a:pt x="13" y="6"/>
                  </a:cubicBezTo>
                  <a:cubicBezTo>
                    <a:pt x="13" y="44"/>
                    <a:pt x="13" y="44"/>
                    <a:pt x="13" y="44"/>
                  </a:cubicBezTo>
                  <a:cubicBezTo>
                    <a:pt x="3" y="44"/>
                    <a:pt x="3" y="44"/>
                    <a:pt x="3" y="44"/>
                  </a:cubicBezTo>
                  <a:cubicBezTo>
                    <a:pt x="1" y="44"/>
                    <a:pt x="0" y="45"/>
                    <a:pt x="0" y="47"/>
                  </a:cubicBezTo>
                  <a:cubicBezTo>
                    <a:pt x="0" y="49"/>
                    <a:pt x="1" y="50"/>
                    <a:pt x="3" y="50"/>
                  </a:cubicBezTo>
                  <a:cubicBezTo>
                    <a:pt x="29" y="50"/>
                    <a:pt x="29" y="50"/>
                    <a:pt x="29" y="50"/>
                  </a:cubicBezTo>
                  <a:cubicBezTo>
                    <a:pt x="31" y="50"/>
                    <a:pt x="32" y="49"/>
                    <a:pt x="32" y="47"/>
                  </a:cubicBezTo>
                  <a:cubicBezTo>
                    <a:pt x="32" y="31"/>
                    <a:pt x="32" y="31"/>
                    <a:pt x="32" y="31"/>
                  </a:cubicBezTo>
                  <a:cubicBezTo>
                    <a:pt x="32" y="28"/>
                    <a:pt x="31" y="28"/>
                    <a:pt x="29" y="28"/>
                  </a:cubicBezTo>
                  <a:cubicBezTo>
                    <a:pt x="26" y="28"/>
                    <a:pt x="26" y="28"/>
                    <a:pt x="26" y="31"/>
                  </a:cubicBezTo>
                  <a:cubicBezTo>
                    <a:pt x="26" y="44"/>
                    <a:pt x="26" y="44"/>
                    <a:pt x="26" y="44"/>
                  </a:cubicBezTo>
                  <a:lnTo>
                    <a:pt x="19" y="44"/>
                  </a:lnTo>
                  <a:close/>
                  <a:moveTo>
                    <a:pt x="53" y="0"/>
                  </a:moveTo>
                  <a:cubicBezTo>
                    <a:pt x="50" y="0"/>
                    <a:pt x="47" y="2"/>
                    <a:pt x="47" y="6"/>
                  </a:cubicBezTo>
                  <a:cubicBezTo>
                    <a:pt x="47" y="44"/>
                    <a:pt x="47" y="44"/>
                    <a:pt x="47" y="44"/>
                  </a:cubicBezTo>
                  <a:cubicBezTo>
                    <a:pt x="47" y="47"/>
                    <a:pt x="50" y="50"/>
                    <a:pt x="53" y="50"/>
                  </a:cubicBezTo>
                  <a:cubicBezTo>
                    <a:pt x="72" y="50"/>
                    <a:pt x="72" y="50"/>
                    <a:pt x="72" y="50"/>
                  </a:cubicBezTo>
                  <a:cubicBezTo>
                    <a:pt x="77" y="50"/>
                    <a:pt x="79" y="47"/>
                    <a:pt x="79" y="44"/>
                  </a:cubicBezTo>
                  <a:cubicBezTo>
                    <a:pt x="79" y="6"/>
                    <a:pt x="79" y="6"/>
                    <a:pt x="79" y="6"/>
                  </a:cubicBezTo>
                  <a:cubicBezTo>
                    <a:pt x="79" y="2"/>
                    <a:pt x="76" y="0"/>
                    <a:pt x="72" y="0"/>
                  </a:cubicBezTo>
                  <a:lnTo>
                    <a:pt x="53" y="0"/>
                  </a:lnTo>
                  <a:close/>
                  <a:moveTo>
                    <a:pt x="53" y="6"/>
                  </a:moveTo>
                  <a:cubicBezTo>
                    <a:pt x="72" y="6"/>
                    <a:pt x="72" y="6"/>
                    <a:pt x="72" y="6"/>
                  </a:cubicBezTo>
                  <a:cubicBezTo>
                    <a:pt x="72" y="44"/>
                    <a:pt x="72" y="44"/>
                    <a:pt x="72" y="44"/>
                  </a:cubicBezTo>
                  <a:cubicBezTo>
                    <a:pt x="53" y="44"/>
                    <a:pt x="53" y="44"/>
                    <a:pt x="53" y="44"/>
                  </a:cubicBezTo>
                  <a:lnTo>
                    <a:pt x="53" y="6"/>
                  </a:lnTo>
                  <a:close/>
                  <a:moveTo>
                    <a:pt x="113" y="44"/>
                  </a:moveTo>
                  <a:cubicBezTo>
                    <a:pt x="113" y="0"/>
                    <a:pt x="113" y="0"/>
                    <a:pt x="113" y="0"/>
                  </a:cubicBezTo>
                  <a:cubicBezTo>
                    <a:pt x="98" y="0"/>
                    <a:pt x="98" y="0"/>
                    <a:pt x="98" y="0"/>
                  </a:cubicBezTo>
                  <a:cubicBezTo>
                    <a:pt x="96" y="0"/>
                    <a:pt x="94" y="1"/>
                    <a:pt x="94" y="2"/>
                  </a:cubicBezTo>
                  <a:cubicBezTo>
                    <a:pt x="94" y="5"/>
                    <a:pt x="96" y="6"/>
                    <a:pt x="98" y="6"/>
                  </a:cubicBezTo>
                  <a:cubicBezTo>
                    <a:pt x="107" y="6"/>
                    <a:pt x="107" y="6"/>
                    <a:pt x="107" y="6"/>
                  </a:cubicBezTo>
                  <a:cubicBezTo>
                    <a:pt x="107" y="44"/>
                    <a:pt x="107" y="44"/>
                    <a:pt x="107" y="44"/>
                  </a:cubicBezTo>
                  <a:cubicBezTo>
                    <a:pt x="98" y="44"/>
                    <a:pt x="98" y="44"/>
                    <a:pt x="98" y="44"/>
                  </a:cubicBezTo>
                  <a:cubicBezTo>
                    <a:pt x="96" y="44"/>
                    <a:pt x="94" y="45"/>
                    <a:pt x="94" y="47"/>
                  </a:cubicBezTo>
                  <a:cubicBezTo>
                    <a:pt x="94" y="49"/>
                    <a:pt x="96" y="50"/>
                    <a:pt x="98" y="50"/>
                  </a:cubicBezTo>
                  <a:cubicBezTo>
                    <a:pt x="123" y="50"/>
                    <a:pt x="123" y="50"/>
                    <a:pt x="123" y="50"/>
                  </a:cubicBezTo>
                  <a:cubicBezTo>
                    <a:pt x="125" y="50"/>
                    <a:pt x="126" y="49"/>
                    <a:pt x="126" y="47"/>
                  </a:cubicBezTo>
                  <a:cubicBezTo>
                    <a:pt x="126" y="31"/>
                    <a:pt x="126" y="31"/>
                    <a:pt x="126" y="31"/>
                  </a:cubicBezTo>
                  <a:cubicBezTo>
                    <a:pt x="126" y="28"/>
                    <a:pt x="125" y="28"/>
                    <a:pt x="123" y="28"/>
                  </a:cubicBezTo>
                  <a:cubicBezTo>
                    <a:pt x="121" y="28"/>
                    <a:pt x="120" y="28"/>
                    <a:pt x="120" y="31"/>
                  </a:cubicBezTo>
                  <a:cubicBezTo>
                    <a:pt x="120" y="44"/>
                    <a:pt x="120" y="44"/>
                    <a:pt x="120" y="44"/>
                  </a:cubicBezTo>
                  <a:lnTo>
                    <a:pt x="113" y="44"/>
                  </a:lnTo>
                  <a:close/>
                  <a:moveTo>
                    <a:pt x="148" y="0"/>
                  </a:moveTo>
                  <a:cubicBezTo>
                    <a:pt x="144" y="0"/>
                    <a:pt x="141" y="2"/>
                    <a:pt x="141" y="6"/>
                  </a:cubicBezTo>
                  <a:cubicBezTo>
                    <a:pt x="141" y="44"/>
                    <a:pt x="141" y="44"/>
                    <a:pt x="141" y="44"/>
                  </a:cubicBezTo>
                  <a:cubicBezTo>
                    <a:pt x="141" y="47"/>
                    <a:pt x="144" y="50"/>
                    <a:pt x="148" y="50"/>
                  </a:cubicBezTo>
                  <a:cubicBezTo>
                    <a:pt x="167" y="50"/>
                    <a:pt x="167" y="50"/>
                    <a:pt x="167" y="50"/>
                  </a:cubicBezTo>
                  <a:cubicBezTo>
                    <a:pt x="171" y="50"/>
                    <a:pt x="174" y="47"/>
                    <a:pt x="174" y="44"/>
                  </a:cubicBezTo>
                  <a:cubicBezTo>
                    <a:pt x="174" y="6"/>
                    <a:pt x="174" y="6"/>
                    <a:pt x="174" y="6"/>
                  </a:cubicBezTo>
                  <a:cubicBezTo>
                    <a:pt x="174" y="2"/>
                    <a:pt x="171" y="0"/>
                    <a:pt x="167" y="0"/>
                  </a:cubicBezTo>
                  <a:lnTo>
                    <a:pt x="148" y="0"/>
                  </a:lnTo>
                  <a:close/>
                  <a:moveTo>
                    <a:pt x="148" y="6"/>
                  </a:moveTo>
                  <a:cubicBezTo>
                    <a:pt x="167" y="6"/>
                    <a:pt x="167" y="6"/>
                    <a:pt x="167" y="6"/>
                  </a:cubicBezTo>
                  <a:cubicBezTo>
                    <a:pt x="167" y="44"/>
                    <a:pt x="167" y="44"/>
                    <a:pt x="167" y="44"/>
                  </a:cubicBezTo>
                  <a:cubicBezTo>
                    <a:pt x="148" y="44"/>
                    <a:pt x="148" y="44"/>
                    <a:pt x="148" y="44"/>
                  </a:cubicBezTo>
                  <a:lnTo>
                    <a:pt x="14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83"/>
            <p:cNvSpPr>
              <a:spLocks/>
            </p:cNvSpPr>
            <p:nvPr/>
          </p:nvSpPr>
          <p:spPr bwMode="gray">
            <a:xfrm>
              <a:off x="6624162" y="5271559"/>
              <a:ext cx="1523747" cy="56536"/>
            </a:xfrm>
            <a:custGeom>
              <a:avLst/>
              <a:gdLst>
                <a:gd name="T0" fmla="*/ 0 w 973"/>
                <a:gd name="T1" fmla="*/ 0 h 35"/>
                <a:gd name="T2" fmla="*/ 75 w 973"/>
                <a:gd name="T3" fmla="*/ 35 h 35"/>
                <a:gd name="T4" fmla="*/ 897 w 973"/>
                <a:gd name="T5" fmla="*/ 35 h 35"/>
                <a:gd name="T6" fmla="*/ 973 w 973"/>
                <a:gd name="T7" fmla="*/ 0 h 35"/>
                <a:gd name="T8" fmla="*/ 0 w 973"/>
                <a:gd name="T9" fmla="*/ 0 h 35"/>
              </a:gdLst>
              <a:ahLst/>
              <a:cxnLst>
                <a:cxn ang="0">
                  <a:pos x="T0" y="T1"/>
                </a:cxn>
                <a:cxn ang="0">
                  <a:pos x="T2" y="T3"/>
                </a:cxn>
                <a:cxn ang="0">
                  <a:pos x="T4" y="T5"/>
                </a:cxn>
                <a:cxn ang="0">
                  <a:pos x="T6" y="T7"/>
                </a:cxn>
                <a:cxn ang="0">
                  <a:pos x="T8" y="T9"/>
                </a:cxn>
              </a:cxnLst>
              <a:rect l="0" t="0" r="r" b="b"/>
              <a:pathLst>
                <a:path w="973" h="35">
                  <a:moveTo>
                    <a:pt x="0" y="0"/>
                  </a:moveTo>
                  <a:cubicBezTo>
                    <a:pt x="0" y="3"/>
                    <a:pt x="2" y="35"/>
                    <a:pt x="75" y="35"/>
                  </a:cubicBezTo>
                  <a:cubicBezTo>
                    <a:pt x="897" y="35"/>
                    <a:pt x="897" y="35"/>
                    <a:pt x="897" y="35"/>
                  </a:cubicBezTo>
                  <a:cubicBezTo>
                    <a:pt x="897" y="35"/>
                    <a:pt x="973" y="35"/>
                    <a:pt x="973" y="0"/>
                  </a:cubicBez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84"/>
            <p:cNvSpPr>
              <a:spLocks/>
            </p:cNvSpPr>
            <p:nvPr/>
          </p:nvSpPr>
          <p:spPr bwMode="gray">
            <a:xfrm>
              <a:off x="6831455" y="4434306"/>
              <a:ext cx="1111852" cy="802255"/>
            </a:xfrm>
            <a:custGeom>
              <a:avLst/>
              <a:gdLst>
                <a:gd name="T0" fmla="*/ 60 w 710"/>
                <a:gd name="T1" fmla="*/ 0 h 515"/>
                <a:gd name="T2" fmla="*/ 0 w 710"/>
                <a:gd name="T3" fmla="*/ 60 h 515"/>
                <a:gd name="T4" fmla="*/ 0 w 710"/>
                <a:gd name="T5" fmla="*/ 515 h 515"/>
                <a:gd name="T6" fmla="*/ 60 w 710"/>
                <a:gd name="T7" fmla="*/ 513 h 515"/>
                <a:gd name="T8" fmla="*/ 648 w 710"/>
                <a:gd name="T9" fmla="*/ 513 h 515"/>
                <a:gd name="T10" fmla="*/ 710 w 710"/>
                <a:gd name="T11" fmla="*/ 515 h 515"/>
                <a:gd name="T12" fmla="*/ 710 w 710"/>
                <a:gd name="T13" fmla="*/ 60 h 515"/>
                <a:gd name="T14" fmla="*/ 648 w 710"/>
                <a:gd name="T15" fmla="*/ 0 h 515"/>
                <a:gd name="T16" fmla="*/ 92 w 710"/>
                <a:gd name="T17" fmla="*/ 0 h 515"/>
                <a:gd name="T18" fmla="*/ 60 w 710"/>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0" h="515">
                  <a:moveTo>
                    <a:pt x="60" y="0"/>
                  </a:moveTo>
                  <a:cubicBezTo>
                    <a:pt x="60" y="0"/>
                    <a:pt x="0" y="0"/>
                    <a:pt x="0" y="60"/>
                  </a:cubicBezTo>
                  <a:cubicBezTo>
                    <a:pt x="0" y="515"/>
                    <a:pt x="0" y="515"/>
                    <a:pt x="0" y="515"/>
                  </a:cubicBezTo>
                  <a:cubicBezTo>
                    <a:pt x="60" y="513"/>
                    <a:pt x="60" y="513"/>
                    <a:pt x="60" y="513"/>
                  </a:cubicBezTo>
                  <a:cubicBezTo>
                    <a:pt x="648" y="513"/>
                    <a:pt x="648" y="513"/>
                    <a:pt x="648" y="513"/>
                  </a:cubicBezTo>
                  <a:cubicBezTo>
                    <a:pt x="710" y="515"/>
                    <a:pt x="710" y="515"/>
                    <a:pt x="710" y="515"/>
                  </a:cubicBezTo>
                  <a:cubicBezTo>
                    <a:pt x="710" y="60"/>
                    <a:pt x="710" y="60"/>
                    <a:pt x="710" y="60"/>
                  </a:cubicBezTo>
                  <a:cubicBezTo>
                    <a:pt x="710" y="60"/>
                    <a:pt x="710" y="0"/>
                    <a:pt x="648" y="0"/>
                  </a:cubicBezTo>
                  <a:cubicBezTo>
                    <a:pt x="92" y="0"/>
                    <a:pt x="92" y="0"/>
                    <a:pt x="92" y="0"/>
                  </a:cubicBezTo>
                  <a:lnTo>
                    <a:pt x="6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85"/>
            <p:cNvSpPr>
              <a:spLocks/>
            </p:cNvSpPr>
            <p:nvPr/>
          </p:nvSpPr>
          <p:spPr bwMode="gray">
            <a:xfrm>
              <a:off x="6879914" y="4469303"/>
              <a:ext cx="1012242" cy="726876"/>
            </a:xfrm>
            <a:custGeom>
              <a:avLst/>
              <a:gdLst>
                <a:gd name="T0" fmla="*/ 55 w 646"/>
                <a:gd name="T1" fmla="*/ 0 h 466"/>
                <a:gd name="T2" fmla="*/ 0 w 646"/>
                <a:gd name="T3" fmla="*/ 55 h 466"/>
                <a:gd name="T4" fmla="*/ 0 w 646"/>
                <a:gd name="T5" fmla="*/ 411 h 466"/>
                <a:gd name="T6" fmla="*/ 55 w 646"/>
                <a:gd name="T7" fmla="*/ 466 h 466"/>
                <a:gd name="T8" fmla="*/ 590 w 646"/>
                <a:gd name="T9" fmla="*/ 466 h 466"/>
                <a:gd name="T10" fmla="*/ 646 w 646"/>
                <a:gd name="T11" fmla="*/ 411 h 466"/>
                <a:gd name="T12" fmla="*/ 646 w 646"/>
                <a:gd name="T13" fmla="*/ 55 h 466"/>
                <a:gd name="T14" fmla="*/ 590 w 646"/>
                <a:gd name="T15" fmla="*/ 0 h 466"/>
                <a:gd name="T16" fmla="*/ 220 w 646"/>
                <a:gd name="T17" fmla="*/ 0 h 466"/>
                <a:gd name="T18" fmla="*/ 55 w 646"/>
                <a:gd name="T1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66">
                  <a:moveTo>
                    <a:pt x="55" y="0"/>
                  </a:moveTo>
                  <a:cubicBezTo>
                    <a:pt x="55" y="0"/>
                    <a:pt x="0" y="0"/>
                    <a:pt x="0" y="55"/>
                  </a:cubicBezTo>
                  <a:cubicBezTo>
                    <a:pt x="0" y="411"/>
                    <a:pt x="0" y="411"/>
                    <a:pt x="0" y="411"/>
                  </a:cubicBezTo>
                  <a:cubicBezTo>
                    <a:pt x="0" y="411"/>
                    <a:pt x="0" y="466"/>
                    <a:pt x="55" y="466"/>
                  </a:cubicBezTo>
                  <a:cubicBezTo>
                    <a:pt x="590" y="466"/>
                    <a:pt x="590" y="466"/>
                    <a:pt x="590" y="466"/>
                  </a:cubicBezTo>
                  <a:cubicBezTo>
                    <a:pt x="590" y="466"/>
                    <a:pt x="646" y="466"/>
                    <a:pt x="646" y="411"/>
                  </a:cubicBezTo>
                  <a:cubicBezTo>
                    <a:pt x="646" y="55"/>
                    <a:pt x="646" y="55"/>
                    <a:pt x="646" y="55"/>
                  </a:cubicBezTo>
                  <a:cubicBezTo>
                    <a:pt x="646" y="55"/>
                    <a:pt x="646" y="0"/>
                    <a:pt x="590" y="0"/>
                  </a:cubicBezTo>
                  <a:cubicBezTo>
                    <a:pt x="220" y="0"/>
                    <a:pt x="220" y="0"/>
                    <a:pt x="220" y="0"/>
                  </a:cubicBezTo>
                  <a:lnTo>
                    <a:pt x="5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86"/>
            <p:cNvSpPr>
              <a:spLocks/>
            </p:cNvSpPr>
            <p:nvPr/>
          </p:nvSpPr>
          <p:spPr bwMode="gray">
            <a:xfrm>
              <a:off x="6624162" y="5233869"/>
              <a:ext cx="1523747" cy="37690"/>
            </a:xfrm>
            <a:custGeom>
              <a:avLst/>
              <a:gdLst>
                <a:gd name="T0" fmla="*/ 76 w 566"/>
                <a:gd name="T1" fmla="*/ 0 h 14"/>
                <a:gd name="T2" fmla="*/ 0 w 566"/>
                <a:gd name="T3" fmla="*/ 14 h 14"/>
                <a:gd name="T4" fmla="*/ 566 w 566"/>
                <a:gd name="T5" fmla="*/ 14 h 14"/>
                <a:gd name="T6" fmla="*/ 490 w 566"/>
                <a:gd name="T7" fmla="*/ 0 h 14"/>
                <a:gd name="T8" fmla="*/ 76 w 566"/>
                <a:gd name="T9" fmla="*/ 0 h 14"/>
              </a:gdLst>
              <a:ahLst/>
              <a:cxnLst>
                <a:cxn ang="0">
                  <a:pos x="T0" y="T1"/>
                </a:cxn>
                <a:cxn ang="0">
                  <a:pos x="T2" y="T3"/>
                </a:cxn>
                <a:cxn ang="0">
                  <a:pos x="T4" y="T5"/>
                </a:cxn>
                <a:cxn ang="0">
                  <a:pos x="T6" y="T7"/>
                </a:cxn>
                <a:cxn ang="0">
                  <a:pos x="T8" y="T9"/>
                </a:cxn>
              </a:cxnLst>
              <a:rect l="0" t="0" r="r" b="b"/>
              <a:pathLst>
                <a:path w="566" h="14">
                  <a:moveTo>
                    <a:pt x="76" y="0"/>
                  </a:moveTo>
                  <a:lnTo>
                    <a:pt x="0" y="14"/>
                  </a:lnTo>
                  <a:lnTo>
                    <a:pt x="566" y="14"/>
                  </a:lnTo>
                  <a:lnTo>
                    <a:pt x="490" y="0"/>
                  </a:lnTo>
                  <a:lnTo>
                    <a:pt x="76"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87"/>
            <p:cNvSpPr>
              <a:spLocks noEditPoints="1"/>
            </p:cNvSpPr>
            <p:nvPr/>
          </p:nvSpPr>
          <p:spPr bwMode="gray">
            <a:xfrm>
              <a:off x="6974139" y="4940427"/>
              <a:ext cx="823793" cy="99610"/>
            </a:xfrm>
            <a:custGeom>
              <a:avLst/>
              <a:gdLst>
                <a:gd name="T0" fmla="*/ 4 w 526"/>
                <a:gd name="T1" fmla="*/ 0 h 65"/>
                <a:gd name="T2" fmla="*/ 16 w 526"/>
                <a:gd name="T3" fmla="*/ 8 h 65"/>
                <a:gd name="T4" fmla="*/ 0 w 526"/>
                <a:gd name="T5" fmla="*/ 61 h 65"/>
                <a:gd name="T6" fmla="*/ 41 w 526"/>
                <a:gd name="T7" fmla="*/ 61 h 65"/>
                <a:gd name="T8" fmla="*/ 33 w 526"/>
                <a:gd name="T9" fmla="*/ 39 h 65"/>
                <a:gd name="T10" fmla="*/ 68 w 526"/>
                <a:gd name="T11" fmla="*/ 0 h 65"/>
                <a:gd name="T12" fmla="*/ 68 w 526"/>
                <a:gd name="T13" fmla="*/ 65 h 65"/>
                <a:gd name="T14" fmla="*/ 101 w 526"/>
                <a:gd name="T15" fmla="*/ 8 h 65"/>
                <a:gd name="T16" fmla="*/ 68 w 526"/>
                <a:gd name="T17" fmla="*/ 8 h 65"/>
                <a:gd name="T18" fmla="*/ 68 w 526"/>
                <a:gd name="T19" fmla="*/ 57 h 65"/>
                <a:gd name="T20" fmla="*/ 145 w 526"/>
                <a:gd name="T21" fmla="*/ 0 h 65"/>
                <a:gd name="T22" fmla="*/ 125 w 526"/>
                <a:gd name="T23" fmla="*/ 8 h 65"/>
                <a:gd name="T24" fmla="*/ 125 w 526"/>
                <a:gd name="T25" fmla="*/ 57 h 65"/>
                <a:gd name="T26" fmla="*/ 158 w 526"/>
                <a:gd name="T27" fmla="*/ 65 h 65"/>
                <a:gd name="T28" fmla="*/ 158 w 526"/>
                <a:gd name="T29" fmla="*/ 36 h 65"/>
                <a:gd name="T30" fmla="*/ 145 w 526"/>
                <a:gd name="T31" fmla="*/ 57 h 65"/>
                <a:gd name="T32" fmla="*/ 181 w 526"/>
                <a:gd name="T33" fmla="*/ 57 h 65"/>
                <a:gd name="T34" fmla="*/ 223 w 526"/>
                <a:gd name="T35" fmla="*/ 57 h 65"/>
                <a:gd name="T36" fmla="*/ 190 w 526"/>
                <a:gd name="T37" fmla="*/ 0 h 65"/>
                <a:gd name="T38" fmla="*/ 214 w 526"/>
                <a:gd name="T39" fmla="*/ 57 h 65"/>
                <a:gd name="T40" fmla="*/ 267 w 526"/>
                <a:gd name="T41" fmla="*/ 57 h 65"/>
                <a:gd name="T42" fmla="*/ 242 w 526"/>
                <a:gd name="T43" fmla="*/ 4 h 65"/>
                <a:gd name="T44" fmla="*/ 258 w 526"/>
                <a:gd name="T45" fmla="*/ 57 h 65"/>
                <a:gd name="T46" fmla="*/ 246 w 526"/>
                <a:gd name="T47" fmla="*/ 65 h 65"/>
                <a:gd name="T48" fmla="*/ 283 w 526"/>
                <a:gd name="T49" fmla="*/ 39 h 65"/>
                <a:gd name="T50" fmla="*/ 275 w 526"/>
                <a:gd name="T51" fmla="*/ 57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39 h 65"/>
                <a:gd name="T72" fmla="*/ 432 w 526"/>
                <a:gd name="T73" fmla="*/ 0 h 65"/>
                <a:gd name="T74" fmla="*/ 432 w 526"/>
                <a:gd name="T75" fmla="*/ 65 h 65"/>
                <a:gd name="T76" fmla="*/ 465 w 526"/>
                <a:gd name="T77" fmla="*/ 8 h 65"/>
                <a:gd name="T78" fmla="*/ 432 w 526"/>
                <a:gd name="T79" fmla="*/ 8 h 65"/>
                <a:gd name="T80" fmla="*/ 432 w 526"/>
                <a:gd name="T81" fmla="*/ 57 h 65"/>
                <a:gd name="T82" fmla="*/ 484 w 526"/>
                <a:gd name="T83" fmla="*/ 8 h 65"/>
                <a:gd name="T84" fmla="*/ 517 w 526"/>
                <a:gd name="T85" fmla="*/ 65 h 65"/>
                <a:gd name="T86" fmla="*/ 517 w 526"/>
                <a:gd name="T87" fmla="*/ 0 h 65"/>
                <a:gd name="T88" fmla="*/ 517 w 526"/>
                <a:gd name="T89" fmla="*/ 8 h 65"/>
                <a:gd name="T90" fmla="*/ 493 w 526"/>
                <a:gd name="T9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25" y="57"/>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7"/>
                    <a:pt x="16" y="57"/>
                    <a:pt x="16" y="57"/>
                  </a:cubicBezTo>
                  <a:cubicBezTo>
                    <a:pt x="4" y="57"/>
                    <a:pt x="4" y="57"/>
                    <a:pt x="4" y="57"/>
                  </a:cubicBezTo>
                  <a:cubicBezTo>
                    <a:pt x="1" y="57"/>
                    <a:pt x="0" y="58"/>
                    <a:pt x="0" y="61"/>
                  </a:cubicBezTo>
                  <a:cubicBezTo>
                    <a:pt x="0" y="64"/>
                    <a:pt x="1" y="65"/>
                    <a:pt x="4" y="65"/>
                  </a:cubicBezTo>
                  <a:cubicBezTo>
                    <a:pt x="37" y="65"/>
                    <a:pt x="37" y="65"/>
                    <a:pt x="37" y="65"/>
                  </a:cubicBezTo>
                  <a:cubicBezTo>
                    <a:pt x="39" y="65"/>
                    <a:pt x="41" y="64"/>
                    <a:pt x="41" y="61"/>
                  </a:cubicBezTo>
                  <a:cubicBezTo>
                    <a:pt x="41" y="39"/>
                    <a:pt x="41" y="39"/>
                    <a:pt x="41" y="39"/>
                  </a:cubicBezTo>
                  <a:cubicBezTo>
                    <a:pt x="41" y="38"/>
                    <a:pt x="40" y="36"/>
                    <a:pt x="37" y="36"/>
                  </a:cubicBezTo>
                  <a:cubicBezTo>
                    <a:pt x="33" y="36"/>
                    <a:pt x="33" y="38"/>
                    <a:pt x="33" y="39"/>
                  </a:cubicBezTo>
                  <a:cubicBezTo>
                    <a:pt x="33" y="57"/>
                    <a:pt x="33" y="57"/>
                    <a:pt x="33" y="57"/>
                  </a:cubicBezTo>
                  <a:lnTo>
                    <a:pt x="25" y="57"/>
                  </a:lnTo>
                  <a:close/>
                  <a:moveTo>
                    <a:pt x="68" y="0"/>
                  </a:moveTo>
                  <a:cubicBezTo>
                    <a:pt x="64" y="0"/>
                    <a:pt x="60" y="4"/>
                    <a:pt x="60" y="8"/>
                  </a:cubicBezTo>
                  <a:cubicBezTo>
                    <a:pt x="60" y="57"/>
                    <a:pt x="60" y="57"/>
                    <a:pt x="60" y="57"/>
                  </a:cubicBezTo>
                  <a:cubicBezTo>
                    <a:pt x="60" y="61"/>
                    <a:pt x="64" y="65"/>
                    <a:pt x="68" y="65"/>
                  </a:cubicBezTo>
                  <a:cubicBezTo>
                    <a:pt x="93" y="65"/>
                    <a:pt x="93" y="65"/>
                    <a:pt x="93" y="65"/>
                  </a:cubicBezTo>
                  <a:cubicBezTo>
                    <a:pt x="98" y="65"/>
                    <a:pt x="101" y="61"/>
                    <a:pt x="101" y="57"/>
                  </a:cubicBezTo>
                  <a:cubicBezTo>
                    <a:pt x="101" y="8"/>
                    <a:pt x="101" y="8"/>
                    <a:pt x="101" y="8"/>
                  </a:cubicBezTo>
                  <a:cubicBezTo>
                    <a:pt x="101" y="4"/>
                    <a:pt x="98" y="0"/>
                    <a:pt x="93" y="0"/>
                  </a:cubicBezTo>
                  <a:lnTo>
                    <a:pt x="68" y="0"/>
                  </a:lnTo>
                  <a:close/>
                  <a:moveTo>
                    <a:pt x="68" y="8"/>
                  </a:moveTo>
                  <a:cubicBezTo>
                    <a:pt x="93" y="8"/>
                    <a:pt x="93" y="8"/>
                    <a:pt x="93" y="8"/>
                  </a:cubicBezTo>
                  <a:cubicBezTo>
                    <a:pt x="93" y="57"/>
                    <a:pt x="93" y="57"/>
                    <a:pt x="93" y="57"/>
                  </a:cubicBezTo>
                  <a:cubicBezTo>
                    <a:pt x="68" y="57"/>
                    <a:pt x="68" y="57"/>
                    <a:pt x="68" y="57"/>
                  </a:cubicBezTo>
                  <a:lnTo>
                    <a:pt x="68" y="8"/>
                  </a:lnTo>
                  <a:close/>
                  <a:moveTo>
                    <a:pt x="145" y="57"/>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39"/>
                    <a:pt x="162" y="39"/>
                    <a:pt x="162" y="39"/>
                  </a:cubicBezTo>
                  <a:cubicBezTo>
                    <a:pt x="162" y="38"/>
                    <a:pt x="161" y="36"/>
                    <a:pt x="158" y="36"/>
                  </a:cubicBezTo>
                  <a:cubicBezTo>
                    <a:pt x="155" y="36"/>
                    <a:pt x="154" y="38"/>
                    <a:pt x="154" y="39"/>
                  </a:cubicBezTo>
                  <a:cubicBezTo>
                    <a:pt x="154" y="57"/>
                    <a:pt x="154" y="57"/>
                    <a:pt x="154" y="57"/>
                  </a:cubicBezTo>
                  <a:lnTo>
                    <a:pt x="145" y="57"/>
                  </a:lnTo>
                  <a:close/>
                  <a:moveTo>
                    <a:pt x="190" y="0"/>
                  </a:moveTo>
                  <a:cubicBezTo>
                    <a:pt x="184" y="0"/>
                    <a:pt x="181" y="4"/>
                    <a:pt x="181" y="8"/>
                  </a:cubicBezTo>
                  <a:cubicBezTo>
                    <a:pt x="181" y="57"/>
                    <a:pt x="181" y="57"/>
                    <a:pt x="181" y="57"/>
                  </a:cubicBezTo>
                  <a:cubicBezTo>
                    <a:pt x="181" y="61"/>
                    <a:pt x="184" y="65"/>
                    <a:pt x="190" y="65"/>
                  </a:cubicBezTo>
                  <a:cubicBezTo>
                    <a:pt x="214" y="65"/>
                    <a:pt x="214" y="65"/>
                    <a:pt x="214" y="65"/>
                  </a:cubicBezTo>
                  <a:cubicBezTo>
                    <a:pt x="219" y="65"/>
                    <a:pt x="223" y="61"/>
                    <a:pt x="223" y="57"/>
                  </a:cubicBezTo>
                  <a:cubicBezTo>
                    <a:pt x="223" y="8"/>
                    <a:pt x="223" y="8"/>
                    <a:pt x="223" y="8"/>
                  </a:cubicBezTo>
                  <a:cubicBezTo>
                    <a:pt x="223" y="4"/>
                    <a:pt x="219" y="0"/>
                    <a:pt x="214" y="0"/>
                  </a:cubicBezTo>
                  <a:lnTo>
                    <a:pt x="190" y="0"/>
                  </a:lnTo>
                  <a:close/>
                  <a:moveTo>
                    <a:pt x="190" y="8"/>
                  </a:moveTo>
                  <a:cubicBezTo>
                    <a:pt x="214" y="8"/>
                    <a:pt x="214" y="8"/>
                    <a:pt x="214" y="8"/>
                  </a:cubicBezTo>
                  <a:cubicBezTo>
                    <a:pt x="214" y="57"/>
                    <a:pt x="214" y="57"/>
                    <a:pt x="214" y="57"/>
                  </a:cubicBezTo>
                  <a:cubicBezTo>
                    <a:pt x="190" y="57"/>
                    <a:pt x="190" y="57"/>
                    <a:pt x="190" y="57"/>
                  </a:cubicBezTo>
                  <a:lnTo>
                    <a:pt x="190" y="8"/>
                  </a:lnTo>
                  <a:close/>
                  <a:moveTo>
                    <a:pt x="267" y="57"/>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39"/>
                    <a:pt x="283" y="39"/>
                    <a:pt x="283" y="39"/>
                  </a:cubicBezTo>
                  <a:cubicBezTo>
                    <a:pt x="283" y="38"/>
                    <a:pt x="283" y="36"/>
                    <a:pt x="279" y="36"/>
                  </a:cubicBezTo>
                  <a:cubicBezTo>
                    <a:pt x="276" y="36"/>
                    <a:pt x="275" y="38"/>
                    <a:pt x="275" y="39"/>
                  </a:cubicBezTo>
                  <a:cubicBezTo>
                    <a:pt x="275" y="57"/>
                    <a:pt x="275" y="57"/>
                    <a:pt x="275" y="57"/>
                  </a:cubicBezTo>
                  <a:lnTo>
                    <a:pt x="267" y="57"/>
                  </a:lnTo>
                  <a:close/>
                  <a:moveTo>
                    <a:pt x="310" y="0"/>
                  </a:moveTo>
                  <a:cubicBezTo>
                    <a:pt x="306" y="0"/>
                    <a:pt x="303" y="4"/>
                    <a:pt x="303" y="8"/>
                  </a:cubicBezTo>
                  <a:cubicBezTo>
                    <a:pt x="303" y="57"/>
                    <a:pt x="303" y="57"/>
                    <a:pt x="303" y="57"/>
                  </a:cubicBezTo>
                  <a:cubicBezTo>
                    <a:pt x="303" y="61"/>
                    <a:pt x="306" y="65"/>
                    <a:pt x="310" y="65"/>
                  </a:cubicBezTo>
                  <a:cubicBezTo>
                    <a:pt x="336" y="65"/>
                    <a:pt x="336" y="65"/>
                    <a:pt x="336" y="65"/>
                  </a:cubicBezTo>
                  <a:cubicBezTo>
                    <a:pt x="340" y="65"/>
                    <a:pt x="344" y="61"/>
                    <a:pt x="344" y="57"/>
                  </a:cubicBezTo>
                  <a:cubicBezTo>
                    <a:pt x="344" y="8"/>
                    <a:pt x="344" y="8"/>
                    <a:pt x="344" y="8"/>
                  </a:cubicBezTo>
                  <a:cubicBezTo>
                    <a:pt x="344" y="4"/>
                    <a:pt x="340" y="0"/>
                    <a:pt x="336" y="0"/>
                  </a:cubicBezTo>
                  <a:lnTo>
                    <a:pt x="310" y="0"/>
                  </a:lnTo>
                  <a:close/>
                  <a:moveTo>
                    <a:pt x="310" y="8"/>
                  </a:moveTo>
                  <a:cubicBezTo>
                    <a:pt x="336" y="8"/>
                    <a:pt x="336" y="8"/>
                    <a:pt x="336" y="8"/>
                  </a:cubicBezTo>
                  <a:cubicBezTo>
                    <a:pt x="336" y="57"/>
                    <a:pt x="336" y="57"/>
                    <a:pt x="336" y="57"/>
                  </a:cubicBezTo>
                  <a:cubicBezTo>
                    <a:pt x="310" y="57"/>
                    <a:pt x="310" y="57"/>
                    <a:pt x="310" y="57"/>
                  </a:cubicBezTo>
                  <a:lnTo>
                    <a:pt x="310" y="8"/>
                  </a:lnTo>
                  <a:close/>
                  <a:moveTo>
                    <a:pt x="388" y="57"/>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39"/>
                    <a:pt x="404" y="39"/>
                    <a:pt x="404" y="39"/>
                  </a:cubicBezTo>
                  <a:cubicBezTo>
                    <a:pt x="404" y="38"/>
                    <a:pt x="403" y="36"/>
                    <a:pt x="401" y="36"/>
                  </a:cubicBezTo>
                  <a:cubicBezTo>
                    <a:pt x="397" y="36"/>
                    <a:pt x="396" y="38"/>
                    <a:pt x="396" y="39"/>
                  </a:cubicBezTo>
                  <a:cubicBezTo>
                    <a:pt x="396" y="57"/>
                    <a:pt x="396" y="57"/>
                    <a:pt x="396" y="57"/>
                  </a:cubicBezTo>
                  <a:lnTo>
                    <a:pt x="388" y="57"/>
                  </a:lnTo>
                  <a:close/>
                  <a:moveTo>
                    <a:pt x="432" y="0"/>
                  </a:moveTo>
                  <a:cubicBezTo>
                    <a:pt x="428" y="0"/>
                    <a:pt x="423" y="4"/>
                    <a:pt x="423" y="8"/>
                  </a:cubicBezTo>
                  <a:cubicBezTo>
                    <a:pt x="423" y="57"/>
                    <a:pt x="423" y="57"/>
                    <a:pt x="423" y="57"/>
                  </a:cubicBezTo>
                  <a:cubicBezTo>
                    <a:pt x="423" y="61"/>
                    <a:pt x="427" y="65"/>
                    <a:pt x="432" y="65"/>
                  </a:cubicBezTo>
                  <a:cubicBezTo>
                    <a:pt x="457" y="65"/>
                    <a:pt x="457" y="65"/>
                    <a:pt x="457" y="65"/>
                  </a:cubicBezTo>
                  <a:cubicBezTo>
                    <a:pt x="461" y="65"/>
                    <a:pt x="465" y="61"/>
                    <a:pt x="465" y="57"/>
                  </a:cubicBezTo>
                  <a:cubicBezTo>
                    <a:pt x="465" y="8"/>
                    <a:pt x="465" y="8"/>
                    <a:pt x="465" y="8"/>
                  </a:cubicBezTo>
                  <a:cubicBezTo>
                    <a:pt x="465" y="4"/>
                    <a:pt x="461" y="0"/>
                    <a:pt x="457" y="0"/>
                  </a:cubicBezTo>
                  <a:lnTo>
                    <a:pt x="432" y="0"/>
                  </a:lnTo>
                  <a:close/>
                  <a:moveTo>
                    <a:pt x="432" y="8"/>
                  </a:moveTo>
                  <a:cubicBezTo>
                    <a:pt x="457" y="8"/>
                    <a:pt x="457" y="8"/>
                    <a:pt x="457" y="8"/>
                  </a:cubicBezTo>
                  <a:cubicBezTo>
                    <a:pt x="457" y="57"/>
                    <a:pt x="457" y="57"/>
                    <a:pt x="457" y="57"/>
                  </a:cubicBezTo>
                  <a:cubicBezTo>
                    <a:pt x="432" y="57"/>
                    <a:pt x="432" y="57"/>
                    <a:pt x="432" y="57"/>
                  </a:cubicBezTo>
                  <a:lnTo>
                    <a:pt x="432" y="8"/>
                  </a:lnTo>
                  <a:close/>
                  <a:moveTo>
                    <a:pt x="493" y="0"/>
                  </a:moveTo>
                  <a:cubicBezTo>
                    <a:pt x="488" y="0"/>
                    <a:pt x="484" y="4"/>
                    <a:pt x="484" y="8"/>
                  </a:cubicBezTo>
                  <a:cubicBezTo>
                    <a:pt x="484" y="57"/>
                    <a:pt x="484" y="57"/>
                    <a:pt x="484" y="57"/>
                  </a:cubicBezTo>
                  <a:cubicBezTo>
                    <a:pt x="484" y="61"/>
                    <a:pt x="488" y="65"/>
                    <a:pt x="493" y="65"/>
                  </a:cubicBezTo>
                  <a:cubicBezTo>
                    <a:pt x="517" y="65"/>
                    <a:pt x="517" y="65"/>
                    <a:pt x="517" y="65"/>
                  </a:cubicBezTo>
                  <a:cubicBezTo>
                    <a:pt x="522" y="65"/>
                    <a:pt x="526" y="61"/>
                    <a:pt x="526" y="57"/>
                  </a:cubicBezTo>
                  <a:cubicBezTo>
                    <a:pt x="526" y="8"/>
                    <a:pt x="526" y="8"/>
                    <a:pt x="526" y="8"/>
                  </a:cubicBezTo>
                  <a:cubicBezTo>
                    <a:pt x="526" y="4"/>
                    <a:pt x="522" y="0"/>
                    <a:pt x="517" y="0"/>
                  </a:cubicBezTo>
                  <a:lnTo>
                    <a:pt x="493" y="0"/>
                  </a:lnTo>
                  <a:close/>
                  <a:moveTo>
                    <a:pt x="493" y="8"/>
                  </a:moveTo>
                  <a:cubicBezTo>
                    <a:pt x="517" y="8"/>
                    <a:pt x="517" y="8"/>
                    <a:pt x="517" y="8"/>
                  </a:cubicBezTo>
                  <a:cubicBezTo>
                    <a:pt x="517" y="57"/>
                    <a:pt x="517" y="57"/>
                    <a:pt x="517" y="57"/>
                  </a:cubicBezTo>
                  <a:cubicBezTo>
                    <a:pt x="493" y="57"/>
                    <a:pt x="493" y="57"/>
                    <a:pt x="493" y="57"/>
                  </a:cubicBezTo>
                  <a:lnTo>
                    <a:pt x="493"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88"/>
            <p:cNvSpPr>
              <a:spLocks noEditPoints="1"/>
            </p:cNvSpPr>
            <p:nvPr/>
          </p:nvSpPr>
          <p:spPr bwMode="gray">
            <a:xfrm>
              <a:off x="6974139" y="4781591"/>
              <a:ext cx="823793" cy="102301"/>
            </a:xfrm>
            <a:custGeom>
              <a:avLst/>
              <a:gdLst>
                <a:gd name="T0" fmla="*/ 0 w 526"/>
                <a:gd name="T1" fmla="*/ 57 h 65"/>
                <a:gd name="T2" fmla="*/ 41 w 526"/>
                <a:gd name="T3" fmla="*/ 57 h 65"/>
                <a:gd name="T4" fmla="*/ 7 w 526"/>
                <a:gd name="T5" fmla="*/ 0 h 65"/>
                <a:gd name="T6" fmla="*/ 33 w 526"/>
                <a:gd name="T7" fmla="*/ 57 h 65"/>
                <a:gd name="T8" fmla="*/ 68 w 526"/>
                <a:gd name="T9" fmla="*/ 0 h 65"/>
                <a:gd name="T10" fmla="*/ 68 w 526"/>
                <a:gd name="T11" fmla="*/ 65 h 65"/>
                <a:gd name="T12" fmla="*/ 101 w 526"/>
                <a:gd name="T13" fmla="*/ 9 h 65"/>
                <a:gd name="T14" fmla="*/ 68 w 526"/>
                <a:gd name="T15" fmla="*/ 9 h 65"/>
                <a:gd name="T16" fmla="*/ 68 w 526"/>
                <a:gd name="T17" fmla="*/ 57 h 65"/>
                <a:gd name="T18" fmla="*/ 145 w 526"/>
                <a:gd name="T19" fmla="*/ 0 h 65"/>
                <a:gd name="T20" fmla="*/ 125 w 526"/>
                <a:gd name="T21" fmla="*/ 9 h 65"/>
                <a:gd name="T22" fmla="*/ 125 w 526"/>
                <a:gd name="T23" fmla="*/ 57 h 65"/>
                <a:gd name="T24" fmla="*/ 158 w 526"/>
                <a:gd name="T25" fmla="*/ 65 h 65"/>
                <a:gd name="T26" fmla="*/ 158 w 526"/>
                <a:gd name="T27" fmla="*/ 36 h 65"/>
                <a:gd name="T28" fmla="*/ 145 w 526"/>
                <a:gd name="T29" fmla="*/ 57 h 65"/>
                <a:gd name="T30" fmla="*/ 181 w 526"/>
                <a:gd name="T31" fmla="*/ 57 h 65"/>
                <a:gd name="T32" fmla="*/ 223 w 526"/>
                <a:gd name="T33" fmla="*/ 57 h 65"/>
                <a:gd name="T34" fmla="*/ 190 w 526"/>
                <a:gd name="T35" fmla="*/ 0 h 65"/>
                <a:gd name="T36" fmla="*/ 214 w 526"/>
                <a:gd name="T37" fmla="*/ 57 h 65"/>
                <a:gd name="T38" fmla="*/ 267 w 526"/>
                <a:gd name="T39" fmla="*/ 57 h 65"/>
                <a:gd name="T40" fmla="*/ 242 w 526"/>
                <a:gd name="T41" fmla="*/ 5 h 65"/>
                <a:gd name="T42" fmla="*/ 258 w 526"/>
                <a:gd name="T43" fmla="*/ 57 h 65"/>
                <a:gd name="T44" fmla="*/ 246 w 526"/>
                <a:gd name="T45" fmla="*/ 65 h 65"/>
                <a:gd name="T46" fmla="*/ 283 w 526"/>
                <a:gd name="T47" fmla="*/ 40 h 65"/>
                <a:gd name="T48" fmla="*/ 275 w 526"/>
                <a:gd name="T49" fmla="*/ 57 h 65"/>
                <a:gd name="T50" fmla="*/ 303 w 526"/>
                <a:gd name="T51" fmla="*/ 9 h 65"/>
                <a:gd name="T52" fmla="*/ 336 w 526"/>
                <a:gd name="T53" fmla="*/ 65 h 65"/>
                <a:gd name="T54" fmla="*/ 336 w 526"/>
                <a:gd name="T55" fmla="*/ 0 h 65"/>
                <a:gd name="T56" fmla="*/ 336 w 526"/>
                <a:gd name="T57" fmla="*/ 9 h 65"/>
                <a:gd name="T58" fmla="*/ 310 w 526"/>
                <a:gd name="T59" fmla="*/ 9 h 65"/>
                <a:gd name="T60" fmla="*/ 367 w 526"/>
                <a:gd name="T61" fmla="*/ 0 h 65"/>
                <a:gd name="T62" fmla="*/ 380 w 526"/>
                <a:gd name="T63" fmla="*/ 9 h 65"/>
                <a:gd name="T64" fmla="*/ 363 w 526"/>
                <a:gd name="T65" fmla="*/ 61 h 65"/>
                <a:gd name="T66" fmla="*/ 404 w 526"/>
                <a:gd name="T67" fmla="*/ 61 h 65"/>
                <a:gd name="T68" fmla="*/ 396 w 526"/>
                <a:gd name="T69" fmla="*/ 40 h 65"/>
                <a:gd name="T70" fmla="*/ 432 w 526"/>
                <a:gd name="T71" fmla="*/ 0 h 65"/>
                <a:gd name="T72" fmla="*/ 432 w 526"/>
                <a:gd name="T73" fmla="*/ 65 h 65"/>
                <a:gd name="T74" fmla="*/ 465 w 526"/>
                <a:gd name="T75" fmla="*/ 9 h 65"/>
                <a:gd name="T76" fmla="*/ 432 w 526"/>
                <a:gd name="T77" fmla="*/ 9 h 65"/>
                <a:gd name="T78" fmla="*/ 432 w 526"/>
                <a:gd name="T79" fmla="*/ 57 h 65"/>
                <a:gd name="T80" fmla="*/ 509 w 526"/>
                <a:gd name="T81" fmla="*/ 0 h 65"/>
                <a:gd name="T82" fmla="*/ 488 w 526"/>
                <a:gd name="T83" fmla="*/ 9 h 65"/>
                <a:gd name="T84" fmla="*/ 488 w 526"/>
                <a:gd name="T85" fmla="*/ 57 h 65"/>
                <a:gd name="T86" fmla="*/ 521 w 526"/>
                <a:gd name="T87" fmla="*/ 65 h 65"/>
                <a:gd name="T88" fmla="*/ 521 w 526"/>
                <a:gd name="T89" fmla="*/ 36 h 65"/>
                <a:gd name="T90" fmla="*/ 509 w 526"/>
                <a:gd name="T91" fmla="*/ 5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6" h="65">
                  <a:moveTo>
                    <a:pt x="7" y="0"/>
                  </a:moveTo>
                  <a:cubicBezTo>
                    <a:pt x="3" y="0"/>
                    <a:pt x="0" y="4"/>
                    <a:pt x="0" y="9"/>
                  </a:cubicBezTo>
                  <a:cubicBezTo>
                    <a:pt x="0" y="57"/>
                    <a:pt x="0" y="57"/>
                    <a:pt x="0" y="57"/>
                  </a:cubicBezTo>
                  <a:cubicBezTo>
                    <a:pt x="0" y="62"/>
                    <a:pt x="3" y="65"/>
                    <a:pt x="7" y="65"/>
                  </a:cubicBezTo>
                  <a:cubicBezTo>
                    <a:pt x="33" y="65"/>
                    <a:pt x="33" y="65"/>
                    <a:pt x="33" y="65"/>
                  </a:cubicBezTo>
                  <a:cubicBezTo>
                    <a:pt x="37" y="65"/>
                    <a:pt x="41" y="62"/>
                    <a:pt x="41" y="57"/>
                  </a:cubicBezTo>
                  <a:cubicBezTo>
                    <a:pt x="41" y="9"/>
                    <a:pt x="41" y="9"/>
                    <a:pt x="41" y="9"/>
                  </a:cubicBezTo>
                  <a:cubicBezTo>
                    <a:pt x="41" y="4"/>
                    <a:pt x="37" y="0"/>
                    <a:pt x="33" y="0"/>
                  </a:cubicBezTo>
                  <a:lnTo>
                    <a:pt x="7" y="0"/>
                  </a:lnTo>
                  <a:close/>
                  <a:moveTo>
                    <a:pt x="7" y="9"/>
                  </a:moveTo>
                  <a:cubicBezTo>
                    <a:pt x="33" y="9"/>
                    <a:pt x="33" y="9"/>
                    <a:pt x="33" y="9"/>
                  </a:cubicBezTo>
                  <a:cubicBezTo>
                    <a:pt x="33" y="57"/>
                    <a:pt x="33" y="57"/>
                    <a:pt x="33" y="57"/>
                  </a:cubicBezTo>
                  <a:cubicBezTo>
                    <a:pt x="7" y="57"/>
                    <a:pt x="7" y="57"/>
                    <a:pt x="7" y="57"/>
                  </a:cubicBezTo>
                  <a:lnTo>
                    <a:pt x="7" y="9"/>
                  </a:lnTo>
                  <a:close/>
                  <a:moveTo>
                    <a:pt x="68" y="0"/>
                  </a:moveTo>
                  <a:cubicBezTo>
                    <a:pt x="64" y="0"/>
                    <a:pt x="60" y="4"/>
                    <a:pt x="60" y="9"/>
                  </a:cubicBezTo>
                  <a:cubicBezTo>
                    <a:pt x="60" y="57"/>
                    <a:pt x="60" y="57"/>
                    <a:pt x="60" y="57"/>
                  </a:cubicBezTo>
                  <a:cubicBezTo>
                    <a:pt x="60" y="62"/>
                    <a:pt x="64" y="65"/>
                    <a:pt x="68" y="65"/>
                  </a:cubicBezTo>
                  <a:cubicBezTo>
                    <a:pt x="93" y="65"/>
                    <a:pt x="93" y="65"/>
                    <a:pt x="93" y="65"/>
                  </a:cubicBezTo>
                  <a:cubicBezTo>
                    <a:pt x="98" y="65"/>
                    <a:pt x="101" y="62"/>
                    <a:pt x="101" y="57"/>
                  </a:cubicBezTo>
                  <a:cubicBezTo>
                    <a:pt x="101" y="9"/>
                    <a:pt x="101" y="9"/>
                    <a:pt x="101" y="9"/>
                  </a:cubicBezTo>
                  <a:cubicBezTo>
                    <a:pt x="101" y="4"/>
                    <a:pt x="98" y="0"/>
                    <a:pt x="93" y="0"/>
                  </a:cubicBezTo>
                  <a:lnTo>
                    <a:pt x="68" y="0"/>
                  </a:lnTo>
                  <a:close/>
                  <a:moveTo>
                    <a:pt x="68" y="9"/>
                  </a:moveTo>
                  <a:cubicBezTo>
                    <a:pt x="93" y="9"/>
                    <a:pt x="93" y="9"/>
                    <a:pt x="93" y="9"/>
                  </a:cubicBezTo>
                  <a:cubicBezTo>
                    <a:pt x="93" y="57"/>
                    <a:pt x="93" y="57"/>
                    <a:pt x="93" y="57"/>
                  </a:cubicBezTo>
                  <a:cubicBezTo>
                    <a:pt x="68" y="57"/>
                    <a:pt x="68" y="57"/>
                    <a:pt x="68" y="57"/>
                  </a:cubicBezTo>
                  <a:lnTo>
                    <a:pt x="68" y="9"/>
                  </a:lnTo>
                  <a:close/>
                  <a:moveTo>
                    <a:pt x="145" y="57"/>
                  </a:moveTo>
                  <a:cubicBezTo>
                    <a:pt x="145" y="0"/>
                    <a:pt x="145" y="0"/>
                    <a:pt x="145" y="0"/>
                  </a:cubicBezTo>
                  <a:cubicBezTo>
                    <a:pt x="125" y="0"/>
                    <a:pt x="125" y="0"/>
                    <a:pt x="125" y="0"/>
                  </a:cubicBezTo>
                  <a:cubicBezTo>
                    <a:pt x="123" y="0"/>
                    <a:pt x="120" y="1"/>
                    <a:pt x="120" y="5"/>
                  </a:cubicBezTo>
                  <a:cubicBezTo>
                    <a:pt x="120" y="7"/>
                    <a:pt x="123" y="9"/>
                    <a:pt x="125" y="9"/>
                  </a:cubicBezTo>
                  <a:cubicBezTo>
                    <a:pt x="137" y="9"/>
                    <a:pt x="137" y="9"/>
                    <a:pt x="137" y="9"/>
                  </a:cubicBezTo>
                  <a:cubicBezTo>
                    <a:pt x="137" y="57"/>
                    <a:pt x="137" y="57"/>
                    <a:pt x="137" y="57"/>
                  </a:cubicBezTo>
                  <a:cubicBezTo>
                    <a:pt x="125" y="57"/>
                    <a:pt x="125" y="57"/>
                    <a:pt x="125" y="57"/>
                  </a:cubicBezTo>
                  <a:cubicBezTo>
                    <a:pt x="123" y="57"/>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8"/>
                    <a:pt x="161" y="36"/>
                    <a:pt x="158" y="36"/>
                  </a:cubicBezTo>
                  <a:cubicBezTo>
                    <a:pt x="155" y="36"/>
                    <a:pt x="154" y="38"/>
                    <a:pt x="154" y="40"/>
                  </a:cubicBezTo>
                  <a:cubicBezTo>
                    <a:pt x="154" y="57"/>
                    <a:pt x="154" y="57"/>
                    <a:pt x="154" y="57"/>
                  </a:cubicBezTo>
                  <a:lnTo>
                    <a:pt x="145" y="57"/>
                  </a:lnTo>
                  <a:close/>
                  <a:moveTo>
                    <a:pt x="190" y="0"/>
                  </a:moveTo>
                  <a:cubicBezTo>
                    <a:pt x="184" y="0"/>
                    <a:pt x="181" y="4"/>
                    <a:pt x="181" y="9"/>
                  </a:cubicBezTo>
                  <a:cubicBezTo>
                    <a:pt x="181" y="57"/>
                    <a:pt x="181" y="57"/>
                    <a:pt x="181" y="57"/>
                  </a:cubicBezTo>
                  <a:cubicBezTo>
                    <a:pt x="181" y="62"/>
                    <a:pt x="184" y="65"/>
                    <a:pt x="190" y="65"/>
                  </a:cubicBezTo>
                  <a:cubicBezTo>
                    <a:pt x="214" y="65"/>
                    <a:pt x="214" y="65"/>
                    <a:pt x="214" y="65"/>
                  </a:cubicBezTo>
                  <a:cubicBezTo>
                    <a:pt x="219" y="65"/>
                    <a:pt x="223" y="62"/>
                    <a:pt x="223" y="57"/>
                  </a:cubicBezTo>
                  <a:cubicBezTo>
                    <a:pt x="223" y="9"/>
                    <a:pt x="223" y="9"/>
                    <a:pt x="223" y="9"/>
                  </a:cubicBezTo>
                  <a:cubicBezTo>
                    <a:pt x="223" y="4"/>
                    <a:pt x="219" y="0"/>
                    <a:pt x="214" y="0"/>
                  </a:cubicBezTo>
                  <a:lnTo>
                    <a:pt x="190" y="0"/>
                  </a:lnTo>
                  <a:close/>
                  <a:moveTo>
                    <a:pt x="190" y="9"/>
                  </a:moveTo>
                  <a:cubicBezTo>
                    <a:pt x="214" y="9"/>
                    <a:pt x="214" y="9"/>
                    <a:pt x="214" y="9"/>
                  </a:cubicBezTo>
                  <a:cubicBezTo>
                    <a:pt x="214" y="57"/>
                    <a:pt x="214" y="57"/>
                    <a:pt x="214" y="57"/>
                  </a:cubicBezTo>
                  <a:cubicBezTo>
                    <a:pt x="190" y="57"/>
                    <a:pt x="190" y="57"/>
                    <a:pt x="190" y="57"/>
                  </a:cubicBezTo>
                  <a:lnTo>
                    <a:pt x="190" y="9"/>
                  </a:lnTo>
                  <a:close/>
                  <a:moveTo>
                    <a:pt x="267" y="57"/>
                  </a:moveTo>
                  <a:cubicBezTo>
                    <a:pt x="267" y="0"/>
                    <a:pt x="267" y="0"/>
                    <a:pt x="267" y="0"/>
                  </a:cubicBezTo>
                  <a:cubicBezTo>
                    <a:pt x="246" y="0"/>
                    <a:pt x="246" y="0"/>
                    <a:pt x="246" y="0"/>
                  </a:cubicBezTo>
                  <a:cubicBezTo>
                    <a:pt x="244" y="0"/>
                    <a:pt x="242" y="1"/>
                    <a:pt x="242" y="5"/>
                  </a:cubicBezTo>
                  <a:cubicBezTo>
                    <a:pt x="242" y="7"/>
                    <a:pt x="244" y="9"/>
                    <a:pt x="246" y="9"/>
                  </a:cubicBezTo>
                  <a:cubicBezTo>
                    <a:pt x="258" y="9"/>
                    <a:pt x="258" y="9"/>
                    <a:pt x="258" y="9"/>
                  </a:cubicBezTo>
                  <a:cubicBezTo>
                    <a:pt x="258" y="57"/>
                    <a:pt x="258" y="57"/>
                    <a:pt x="258" y="57"/>
                  </a:cubicBezTo>
                  <a:cubicBezTo>
                    <a:pt x="246" y="57"/>
                    <a:pt x="246" y="57"/>
                    <a:pt x="246" y="57"/>
                  </a:cubicBezTo>
                  <a:cubicBezTo>
                    <a:pt x="244" y="57"/>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8"/>
                    <a:pt x="283" y="36"/>
                    <a:pt x="279" y="36"/>
                  </a:cubicBezTo>
                  <a:cubicBezTo>
                    <a:pt x="276" y="36"/>
                    <a:pt x="275" y="38"/>
                    <a:pt x="275" y="40"/>
                  </a:cubicBezTo>
                  <a:cubicBezTo>
                    <a:pt x="275" y="57"/>
                    <a:pt x="275" y="57"/>
                    <a:pt x="275" y="57"/>
                  </a:cubicBezTo>
                  <a:lnTo>
                    <a:pt x="267" y="57"/>
                  </a:lnTo>
                  <a:close/>
                  <a:moveTo>
                    <a:pt x="310" y="0"/>
                  </a:moveTo>
                  <a:cubicBezTo>
                    <a:pt x="306" y="0"/>
                    <a:pt x="303" y="4"/>
                    <a:pt x="303" y="9"/>
                  </a:cubicBezTo>
                  <a:cubicBezTo>
                    <a:pt x="303" y="57"/>
                    <a:pt x="303" y="57"/>
                    <a:pt x="303" y="57"/>
                  </a:cubicBezTo>
                  <a:cubicBezTo>
                    <a:pt x="303" y="62"/>
                    <a:pt x="306" y="65"/>
                    <a:pt x="310" y="65"/>
                  </a:cubicBezTo>
                  <a:cubicBezTo>
                    <a:pt x="336" y="65"/>
                    <a:pt x="336" y="65"/>
                    <a:pt x="336" y="65"/>
                  </a:cubicBezTo>
                  <a:cubicBezTo>
                    <a:pt x="340" y="65"/>
                    <a:pt x="344" y="62"/>
                    <a:pt x="344" y="57"/>
                  </a:cubicBezTo>
                  <a:cubicBezTo>
                    <a:pt x="344" y="9"/>
                    <a:pt x="344" y="9"/>
                    <a:pt x="344" y="9"/>
                  </a:cubicBezTo>
                  <a:cubicBezTo>
                    <a:pt x="344" y="4"/>
                    <a:pt x="340" y="0"/>
                    <a:pt x="336" y="0"/>
                  </a:cubicBezTo>
                  <a:lnTo>
                    <a:pt x="310" y="0"/>
                  </a:lnTo>
                  <a:close/>
                  <a:moveTo>
                    <a:pt x="310" y="9"/>
                  </a:moveTo>
                  <a:cubicBezTo>
                    <a:pt x="336" y="9"/>
                    <a:pt x="336" y="9"/>
                    <a:pt x="336" y="9"/>
                  </a:cubicBezTo>
                  <a:cubicBezTo>
                    <a:pt x="336" y="57"/>
                    <a:pt x="336" y="57"/>
                    <a:pt x="336" y="57"/>
                  </a:cubicBezTo>
                  <a:cubicBezTo>
                    <a:pt x="310" y="57"/>
                    <a:pt x="310" y="57"/>
                    <a:pt x="310" y="57"/>
                  </a:cubicBezTo>
                  <a:lnTo>
                    <a:pt x="310" y="9"/>
                  </a:lnTo>
                  <a:close/>
                  <a:moveTo>
                    <a:pt x="388" y="57"/>
                  </a:moveTo>
                  <a:cubicBezTo>
                    <a:pt x="388" y="0"/>
                    <a:pt x="388" y="0"/>
                    <a:pt x="388" y="0"/>
                  </a:cubicBezTo>
                  <a:cubicBezTo>
                    <a:pt x="367" y="0"/>
                    <a:pt x="367" y="0"/>
                    <a:pt x="367" y="0"/>
                  </a:cubicBezTo>
                  <a:cubicBezTo>
                    <a:pt x="365" y="0"/>
                    <a:pt x="363" y="1"/>
                    <a:pt x="363" y="5"/>
                  </a:cubicBezTo>
                  <a:cubicBezTo>
                    <a:pt x="363" y="7"/>
                    <a:pt x="365" y="9"/>
                    <a:pt x="367" y="9"/>
                  </a:cubicBezTo>
                  <a:cubicBezTo>
                    <a:pt x="380" y="9"/>
                    <a:pt x="380" y="9"/>
                    <a:pt x="380" y="9"/>
                  </a:cubicBezTo>
                  <a:cubicBezTo>
                    <a:pt x="380" y="57"/>
                    <a:pt x="380" y="57"/>
                    <a:pt x="380" y="57"/>
                  </a:cubicBezTo>
                  <a:cubicBezTo>
                    <a:pt x="367" y="57"/>
                    <a:pt x="367" y="57"/>
                    <a:pt x="367" y="57"/>
                  </a:cubicBezTo>
                  <a:cubicBezTo>
                    <a:pt x="365" y="57"/>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8"/>
                    <a:pt x="403" y="36"/>
                    <a:pt x="401" y="36"/>
                  </a:cubicBezTo>
                  <a:cubicBezTo>
                    <a:pt x="397" y="36"/>
                    <a:pt x="396" y="38"/>
                    <a:pt x="396" y="40"/>
                  </a:cubicBezTo>
                  <a:cubicBezTo>
                    <a:pt x="396" y="57"/>
                    <a:pt x="396" y="57"/>
                    <a:pt x="396" y="57"/>
                  </a:cubicBezTo>
                  <a:lnTo>
                    <a:pt x="388" y="57"/>
                  </a:lnTo>
                  <a:close/>
                  <a:moveTo>
                    <a:pt x="432" y="0"/>
                  </a:moveTo>
                  <a:cubicBezTo>
                    <a:pt x="428" y="0"/>
                    <a:pt x="423" y="4"/>
                    <a:pt x="423" y="9"/>
                  </a:cubicBezTo>
                  <a:cubicBezTo>
                    <a:pt x="423" y="57"/>
                    <a:pt x="423" y="57"/>
                    <a:pt x="423" y="57"/>
                  </a:cubicBezTo>
                  <a:cubicBezTo>
                    <a:pt x="423" y="62"/>
                    <a:pt x="427" y="65"/>
                    <a:pt x="432" y="65"/>
                  </a:cubicBezTo>
                  <a:cubicBezTo>
                    <a:pt x="457" y="65"/>
                    <a:pt x="457" y="65"/>
                    <a:pt x="457" y="65"/>
                  </a:cubicBezTo>
                  <a:cubicBezTo>
                    <a:pt x="461" y="65"/>
                    <a:pt x="465" y="62"/>
                    <a:pt x="465" y="57"/>
                  </a:cubicBezTo>
                  <a:cubicBezTo>
                    <a:pt x="465" y="9"/>
                    <a:pt x="465" y="9"/>
                    <a:pt x="465" y="9"/>
                  </a:cubicBezTo>
                  <a:cubicBezTo>
                    <a:pt x="465" y="4"/>
                    <a:pt x="461" y="0"/>
                    <a:pt x="457" y="0"/>
                  </a:cubicBezTo>
                  <a:lnTo>
                    <a:pt x="432" y="0"/>
                  </a:lnTo>
                  <a:close/>
                  <a:moveTo>
                    <a:pt x="432" y="9"/>
                  </a:moveTo>
                  <a:cubicBezTo>
                    <a:pt x="457" y="9"/>
                    <a:pt x="457" y="9"/>
                    <a:pt x="457" y="9"/>
                  </a:cubicBezTo>
                  <a:cubicBezTo>
                    <a:pt x="457" y="57"/>
                    <a:pt x="457" y="57"/>
                    <a:pt x="457" y="57"/>
                  </a:cubicBezTo>
                  <a:cubicBezTo>
                    <a:pt x="432" y="57"/>
                    <a:pt x="432" y="57"/>
                    <a:pt x="432" y="57"/>
                  </a:cubicBezTo>
                  <a:lnTo>
                    <a:pt x="432" y="9"/>
                  </a:lnTo>
                  <a:close/>
                  <a:moveTo>
                    <a:pt x="509" y="57"/>
                  </a:moveTo>
                  <a:cubicBezTo>
                    <a:pt x="509" y="0"/>
                    <a:pt x="509" y="0"/>
                    <a:pt x="509" y="0"/>
                  </a:cubicBezTo>
                  <a:cubicBezTo>
                    <a:pt x="488" y="0"/>
                    <a:pt x="488" y="0"/>
                    <a:pt x="488" y="0"/>
                  </a:cubicBezTo>
                  <a:cubicBezTo>
                    <a:pt x="486" y="0"/>
                    <a:pt x="484" y="1"/>
                    <a:pt x="484" y="5"/>
                  </a:cubicBezTo>
                  <a:cubicBezTo>
                    <a:pt x="484" y="7"/>
                    <a:pt x="486" y="9"/>
                    <a:pt x="488" y="9"/>
                  </a:cubicBezTo>
                  <a:cubicBezTo>
                    <a:pt x="500" y="9"/>
                    <a:pt x="500" y="9"/>
                    <a:pt x="500" y="9"/>
                  </a:cubicBezTo>
                  <a:cubicBezTo>
                    <a:pt x="500" y="57"/>
                    <a:pt x="500" y="57"/>
                    <a:pt x="500" y="57"/>
                  </a:cubicBezTo>
                  <a:cubicBezTo>
                    <a:pt x="488" y="57"/>
                    <a:pt x="488" y="57"/>
                    <a:pt x="488" y="57"/>
                  </a:cubicBezTo>
                  <a:cubicBezTo>
                    <a:pt x="486" y="57"/>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8"/>
                    <a:pt x="525" y="36"/>
                    <a:pt x="521" y="36"/>
                  </a:cubicBezTo>
                  <a:cubicBezTo>
                    <a:pt x="519" y="36"/>
                    <a:pt x="517" y="38"/>
                    <a:pt x="517" y="40"/>
                  </a:cubicBezTo>
                  <a:cubicBezTo>
                    <a:pt x="517" y="57"/>
                    <a:pt x="517" y="57"/>
                    <a:pt x="517" y="57"/>
                  </a:cubicBezTo>
                  <a:lnTo>
                    <a:pt x="50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89"/>
            <p:cNvSpPr>
              <a:spLocks noEditPoints="1"/>
            </p:cNvSpPr>
            <p:nvPr/>
          </p:nvSpPr>
          <p:spPr bwMode="gray">
            <a:xfrm>
              <a:off x="6974139" y="4625447"/>
              <a:ext cx="823793" cy="102301"/>
            </a:xfrm>
            <a:custGeom>
              <a:avLst/>
              <a:gdLst>
                <a:gd name="T0" fmla="*/ 4 w 526"/>
                <a:gd name="T1" fmla="*/ 0 h 65"/>
                <a:gd name="T2" fmla="*/ 16 w 526"/>
                <a:gd name="T3" fmla="*/ 8 h 65"/>
                <a:gd name="T4" fmla="*/ 0 w 526"/>
                <a:gd name="T5" fmla="*/ 61 h 65"/>
                <a:gd name="T6" fmla="*/ 41 w 526"/>
                <a:gd name="T7" fmla="*/ 61 h 65"/>
                <a:gd name="T8" fmla="*/ 33 w 526"/>
                <a:gd name="T9" fmla="*/ 40 h 65"/>
                <a:gd name="T10" fmla="*/ 68 w 526"/>
                <a:gd name="T11" fmla="*/ 0 h 65"/>
                <a:gd name="T12" fmla="*/ 68 w 526"/>
                <a:gd name="T13" fmla="*/ 65 h 65"/>
                <a:gd name="T14" fmla="*/ 101 w 526"/>
                <a:gd name="T15" fmla="*/ 8 h 65"/>
                <a:gd name="T16" fmla="*/ 68 w 526"/>
                <a:gd name="T17" fmla="*/ 8 h 65"/>
                <a:gd name="T18" fmla="*/ 68 w 526"/>
                <a:gd name="T19" fmla="*/ 56 h 65"/>
                <a:gd name="T20" fmla="*/ 145 w 526"/>
                <a:gd name="T21" fmla="*/ 0 h 65"/>
                <a:gd name="T22" fmla="*/ 125 w 526"/>
                <a:gd name="T23" fmla="*/ 8 h 65"/>
                <a:gd name="T24" fmla="*/ 125 w 526"/>
                <a:gd name="T25" fmla="*/ 56 h 65"/>
                <a:gd name="T26" fmla="*/ 158 w 526"/>
                <a:gd name="T27" fmla="*/ 65 h 65"/>
                <a:gd name="T28" fmla="*/ 158 w 526"/>
                <a:gd name="T29" fmla="*/ 36 h 65"/>
                <a:gd name="T30" fmla="*/ 145 w 526"/>
                <a:gd name="T31" fmla="*/ 56 h 65"/>
                <a:gd name="T32" fmla="*/ 181 w 526"/>
                <a:gd name="T33" fmla="*/ 56 h 65"/>
                <a:gd name="T34" fmla="*/ 223 w 526"/>
                <a:gd name="T35" fmla="*/ 56 h 65"/>
                <a:gd name="T36" fmla="*/ 190 w 526"/>
                <a:gd name="T37" fmla="*/ 0 h 65"/>
                <a:gd name="T38" fmla="*/ 214 w 526"/>
                <a:gd name="T39" fmla="*/ 56 h 65"/>
                <a:gd name="T40" fmla="*/ 267 w 526"/>
                <a:gd name="T41" fmla="*/ 56 h 65"/>
                <a:gd name="T42" fmla="*/ 242 w 526"/>
                <a:gd name="T43" fmla="*/ 4 h 65"/>
                <a:gd name="T44" fmla="*/ 258 w 526"/>
                <a:gd name="T45" fmla="*/ 56 h 65"/>
                <a:gd name="T46" fmla="*/ 246 w 526"/>
                <a:gd name="T47" fmla="*/ 65 h 65"/>
                <a:gd name="T48" fmla="*/ 283 w 526"/>
                <a:gd name="T49" fmla="*/ 40 h 65"/>
                <a:gd name="T50" fmla="*/ 275 w 526"/>
                <a:gd name="T51" fmla="*/ 56 h 65"/>
                <a:gd name="T52" fmla="*/ 303 w 526"/>
                <a:gd name="T53" fmla="*/ 8 h 65"/>
                <a:gd name="T54" fmla="*/ 336 w 526"/>
                <a:gd name="T55" fmla="*/ 65 h 65"/>
                <a:gd name="T56" fmla="*/ 336 w 526"/>
                <a:gd name="T57" fmla="*/ 0 h 65"/>
                <a:gd name="T58" fmla="*/ 336 w 526"/>
                <a:gd name="T59" fmla="*/ 8 h 65"/>
                <a:gd name="T60" fmla="*/ 310 w 526"/>
                <a:gd name="T61" fmla="*/ 8 h 65"/>
                <a:gd name="T62" fmla="*/ 367 w 526"/>
                <a:gd name="T63" fmla="*/ 0 h 65"/>
                <a:gd name="T64" fmla="*/ 380 w 526"/>
                <a:gd name="T65" fmla="*/ 8 h 65"/>
                <a:gd name="T66" fmla="*/ 363 w 526"/>
                <a:gd name="T67" fmla="*/ 61 h 65"/>
                <a:gd name="T68" fmla="*/ 404 w 526"/>
                <a:gd name="T69" fmla="*/ 61 h 65"/>
                <a:gd name="T70" fmla="*/ 396 w 526"/>
                <a:gd name="T71" fmla="*/ 40 h 65"/>
                <a:gd name="T72" fmla="*/ 432 w 526"/>
                <a:gd name="T73" fmla="*/ 0 h 65"/>
                <a:gd name="T74" fmla="*/ 432 w 526"/>
                <a:gd name="T75" fmla="*/ 65 h 65"/>
                <a:gd name="T76" fmla="*/ 465 w 526"/>
                <a:gd name="T77" fmla="*/ 8 h 65"/>
                <a:gd name="T78" fmla="*/ 432 w 526"/>
                <a:gd name="T79" fmla="*/ 8 h 65"/>
                <a:gd name="T80" fmla="*/ 432 w 526"/>
                <a:gd name="T81" fmla="*/ 56 h 65"/>
                <a:gd name="T82" fmla="*/ 509 w 526"/>
                <a:gd name="T83" fmla="*/ 0 h 65"/>
                <a:gd name="T84" fmla="*/ 488 w 526"/>
                <a:gd name="T85" fmla="*/ 8 h 65"/>
                <a:gd name="T86" fmla="*/ 488 w 526"/>
                <a:gd name="T87" fmla="*/ 56 h 65"/>
                <a:gd name="T88" fmla="*/ 521 w 526"/>
                <a:gd name="T89" fmla="*/ 65 h 65"/>
                <a:gd name="T90" fmla="*/ 521 w 526"/>
                <a:gd name="T91" fmla="*/ 36 h 65"/>
                <a:gd name="T92" fmla="*/ 509 w 526"/>
                <a:gd name="T93"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6" h="65">
                  <a:moveTo>
                    <a:pt x="25" y="56"/>
                  </a:move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ubicBezTo>
                    <a:pt x="41" y="40"/>
                    <a:pt x="41" y="40"/>
                    <a:pt x="41" y="40"/>
                  </a:cubicBezTo>
                  <a:cubicBezTo>
                    <a:pt x="41" y="37"/>
                    <a:pt x="40" y="36"/>
                    <a:pt x="37" y="36"/>
                  </a:cubicBezTo>
                  <a:cubicBezTo>
                    <a:pt x="33" y="36"/>
                    <a:pt x="33" y="37"/>
                    <a:pt x="33" y="40"/>
                  </a:cubicBezTo>
                  <a:cubicBezTo>
                    <a:pt x="33" y="56"/>
                    <a:pt x="33" y="56"/>
                    <a:pt x="33" y="56"/>
                  </a:cubicBezTo>
                  <a:lnTo>
                    <a:pt x="25" y="56"/>
                  </a:lnTo>
                  <a:close/>
                  <a:moveTo>
                    <a:pt x="68" y="0"/>
                  </a:move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ubicBezTo>
                    <a:pt x="101" y="8"/>
                    <a:pt x="101" y="8"/>
                    <a:pt x="101" y="8"/>
                  </a:cubicBezTo>
                  <a:cubicBezTo>
                    <a:pt x="101" y="4"/>
                    <a:pt x="98" y="0"/>
                    <a:pt x="93" y="0"/>
                  </a:cubicBezTo>
                  <a:lnTo>
                    <a:pt x="68" y="0"/>
                  </a:lnTo>
                  <a:close/>
                  <a:moveTo>
                    <a:pt x="68" y="8"/>
                  </a:moveTo>
                  <a:cubicBezTo>
                    <a:pt x="93" y="8"/>
                    <a:pt x="93" y="8"/>
                    <a:pt x="93" y="8"/>
                  </a:cubicBezTo>
                  <a:cubicBezTo>
                    <a:pt x="93" y="56"/>
                    <a:pt x="93" y="56"/>
                    <a:pt x="93" y="56"/>
                  </a:cubicBezTo>
                  <a:cubicBezTo>
                    <a:pt x="68" y="56"/>
                    <a:pt x="68" y="56"/>
                    <a:pt x="68" y="56"/>
                  </a:cubicBezTo>
                  <a:lnTo>
                    <a:pt x="68" y="8"/>
                  </a:lnTo>
                  <a:close/>
                  <a:moveTo>
                    <a:pt x="145" y="56"/>
                  </a:move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ubicBezTo>
                    <a:pt x="162" y="40"/>
                    <a:pt x="162" y="40"/>
                    <a:pt x="162" y="40"/>
                  </a:cubicBezTo>
                  <a:cubicBezTo>
                    <a:pt x="162" y="37"/>
                    <a:pt x="161" y="36"/>
                    <a:pt x="158" y="36"/>
                  </a:cubicBezTo>
                  <a:cubicBezTo>
                    <a:pt x="155" y="36"/>
                    <a:pt x="154" y="37"/>
                    <a:pt x="154" y="40"/>
                  </a:cubicBezTo>
                  <a:cubicBezTo>
                    <a:pt x="154" y="56"/>
                    <a:pt x="154" y="56"/>
                    <a:pt x="154" y="56"/>
                  </a:cubicBezTo>
                  <a:lnTo>
                    <a:pt x="145" y="56"/>
                  </a:lnTo>
                  <a:close/>
                  <a:moveTo>
                    <a:pt x="190" y="0"/>
                  </a:move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ubicBezTo>
                    <a:pt x="223" y="8"/>
                    <a:pt x="223" y="8"/>
                    <a:pt x="223" y="8"/>
                  </a:cubicBezTo>
                  <a:cubicBezTo>
                    <a:pt x="223" y="4"/>
                    <a:pt x="219" y="0"/>
                    <a:pt x="214" y="0"/>
                  </a:cubicBezTo>
                  <a:lnTo>
                    <a:pt x="190" y="0"/>
                  </a:lnTo>
                  <a:close/>
                  <a:moveTo>
                    <a:pt x="190" y="8"/>
                  </a:moveTo>
                  <a:cubicBezTo>
                    <a:pt x="214" y="8"/>
                    <a:pt x="214" y="8"/>
                    <a:pt x="214" y="8"/>
                  </a:cubicBezTo>
                  <a:cubicBezTo>
                    <a:pt x="214" y="56"/>
                    <a:pt x="214" y="56"/>
                    <a:pt x="214" y="56"/>
                  </a:cubicBezTo>
                  <a:cubicBezTo>
                    <a:pt x="190" y="56"/>
                    <a:pt x="190" y="56"/>
                    <a:pt x="190" y="56"/>
                  </a:cubicBezTo>
                  <a:lnTo>
                    <a:pt x="190" y="8"/>
                  </a:lnTo>
                  <a:close/>
                  <a:moveTo>
                    <a:pt x="267" y="56"/>
                  </a:move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ubicBezTo>
                    <a:pt x="283" y="40"/>
                    <a:pt x="283" y="40"/>
                    <a:pt x="283" y="40"/>
                  </a:cubicBezTo>
                  <a:cubicBezTo>
                    <a:pt x="283" y="37"/>
                    <a:pt x="283" y="36"/>
                    <a:pt x="279" y="36"/>
                  </a:cubicBezTo>
                  <a:cubicBezTo>
                    <a:pt x="276" y="36"/>
                    <a:pt x="275" y="37"/>
                    <a:pt x="275" y="40"/>
                  </a:cubicBezTo>
                  <a:cubicBezTo>
                    <a:pt x="275" y="56"/>
                    <a:pt x="275" y="56"/>
                    <a:pt x="275" y="56"/>
                  </a:cubicBezTo>
                  <a:lnTo>
                    <a:pt x="267" y="56"/>
                  </a:lnTo>
                  <a:close/>
                  <a:moveTo>
                    <a:pt x="310" y="0"/>
                  </a:move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ubicBezTo>
                    <a:pt x="344" y="8"/>
                    <a:pt x="344" y="8"/>
                    <a:pt x="344" y="8"/>
                  </a:cubicBezTo>
                  <a:cubicBezTo>
                    <a:pt x="344" y="4"/>
                    <a:pt x="340" y="0"/>
                    <a:pt x="336" y="0"/>
                  </a:cubicBezTo>
                  <a:lnTo>
                    <a:pt x="310" y="0"/>
                  </a:lnTo>
                  <a:close/>
                  <a:moveTo>
                    <a:pt x="310" y="8"/>
                  </a:moveTo>
                  <a:cubicBezTo>
                    <a:pt x="336" y="8"/>
                    <a:pt x="336" y="8"/>
                    <a:pt x="336" y="8"/>
                  </a:cubicBezTo>
                  <a:cubicBezTo>
                    <a:pt x="336" y="56"/>
                    <a:pt x="336" y="56"/>
                    <a:pt x="336" y="56"/>
                  </a:cubicBezTo>
                  <a:cubicBezTo>
                    <a:pt x="310" y="56"/>
                    <a:pt x="310" y="56"/>
                    <a:pt x="310" y="56"/>
                  </a:cubicBezTo>
                  <a:lnTo>
                    <a:pt x="310" y="8"/>
                  </a:lnTo>
                  <a:close/>
                  <a:moveTo>
                    <a:pt x="388" y="56"/>
                  </a:move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ubicBezTo>
                    <a:pt x="404" y="40"/>
                    <a:pt x="404" y="40"/>
                    <a:pt x="404" y="40"/>
                  </a:cubicBezTo>
                  <a:cubicBezTo>
                    <a:pt x="404" y="37"/>
                    <a:pt x="403" y="36"/>
                    <a:pt x="401" y="36"/>
                  </a:cubicBezTo>
                  <a:cubicBezTo>
                    <a:pt x="397" y="36"/>
                    <a:pt x="396" y="37"/>
                    <a:pt x="396" y="40"/>
                  </a:cubicBezTo>
                  <a:cubicBezTo>
                    <a:pt x="396" y="56"/>
                    <a:pt x="396" y="56"/>
                    <a:pt x="396" y="56"/>
                  </a:cubicBezTo>
                  <a:lnTo>
                    <a:pt x="388" y="56"/>
                  </a:lnTo>
                  <a:close/>
                  <a:moveTo>
                    <a:pt x="432" y="0"/>
                  </a:move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ubicBezTo>
                    <a:pt x="465" y="8"/>
                    <a:pt x="465" y="8"/>
                    <a:pt x="465" y="8"/>
                  </a:cubicBezTo>
                  <a:cubicBezTo>
                    <a:pt x="465" y="4"/>
                    <a:pt x="461" y="0"/>
                    <a:pt x="457" y="0"/>
                  </a:cubicBezTo>
                  <a:lnTo>
                    <a:pt x="432" y="0"/>
                  </a:lnTo>
                  <a:close/>
                  <a:moveTo>
                    <a:pt x="432" y="8"/>
                  </a:moveTo>
                  <a:cubicBezTo>
                    <a:pt x="457" y="8"/>
                    <a:pt x="457" y="8"/>
                    <a:pt x="457" y="8"/>
                  </a:cubicBezTo>
                  <a:cubicBezTo>
                    <a:pt x="457" y="56"/>
                    <a:pt x="457" y="56"/>
                    <a:pt x="457" y="56"/>
                  </a:cubicBezTo>
                  <a:cubicBezTo>
                    <a:pt x="432" y="56"/>
                    <a:pt x="432" y="56"/>
                    <a:pt x="432" y="56"/>
                  </a:cubicBezTo>
                  <a:lnTo>
                    <a:pt x="432" y="8"/>
                  </a:lnTo>
                  <a:close/>
                  <a:moveTo>
                    <a:pt x="509" y="56"/>
                  </a:move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ubicBezTo>
                    <a:pt x="526" y="40"/>
                    <a:pt x="526" y="40"/>
                    <a:pt x="526" y="40"/>
                  </a:cubicBezTo>
                  <a:cubicBezTo>
                    <a:pt x="526" y="37"/>
                    <a:pt x="525" y="36"/>
                    <a:pt x="521" y="36"/>
                  </a:cubicBezTo>
                  <a:cubicBezTo>
                    <a:pt x="519" y="36"/>
                    <a:pt x="517" y="37"/>
                    <a:pt x="517" y="40"/>
                  </a:cubicBezTo>
                  <a:cubicBezTo>
                    <a:pt x="517" y="56"/>
                    <a:pt x="517" y="56"/>
                    <a:pt x="517" y="56"/>
                  </a:cubicBezTo>
                  <a:lnTo>
                    <a:pt x="50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90"/>
            <p:cNvSpPr>
              <a:spLocks noEditPoints="1"/>
            </p:cNvSpPr>
            <p:nvPr/>
          </p:nvSpPr>
          <p:spPr bwMode="gray">
            <a:xfrm>
              <a:off x="6974139" y="4625447"/>
              <a:ext cx="823793" cy="414588"/>
            </a:xfrm>
            <a:custGeom>
              <a:avLst/>
              <a:gdLst>
                <a:gd name="T0" fmla="*/ 493 w 526"/>
                <a:gd name="T1" fmla="*/ 266 h 266"/>
                <a:gd name="T2" fmla="*/ 517 w 526"/>
                <a:gd name="T3" fmla="*/ 258 h 266"/>
                <a:gd name="T4" fmla="*/ 509 w 526"/>
                <a:gd name="T5" fmla="*/ 100 h 266"/>
                <a:gd name="T6" fmla="*/ 484 w 526"/>
                <a:gd name="T7" fmla="*/ 161 h 266"/>
                <a:gd name="T8" fmla="*/ 517 w 526"/>
                <a:gd name="T9" fmla="*/ 40 h 266"/>
                <a:gd name="T10" fmla="*/ 500 w 526"/>
                <a:gd name="T11" fmla="*/ 8 h 266"/>
                <a:gd name="T12" fmla="*/ 465 w 526"/>
                <a:gd name="T13" fmla="*/ 258 h 266"/>
                <a:gd name="T14" fmla="*/ 457 w 526"/>
                <a:gd name="T15" fmla="*/ 266 h 266"/>
                <a:gd name="T16" fmla="*/ 465 w 526"/>
                <a:gd name="T17" fmla="*/ 157 h 266"/>
                <a:gd name="T18" fmla="*/ 457 w 526"/>
                <a:gd name="T19" fmla="*/ 165 h 266"/>
                <a:gd name="T20" fmla="*/ 465 w 526"/>
                <a:gd name="T21" fmla="*/ 56 h 266"/>
                <a:gd name="T22" fmla="*/ 457 w 526"/>
                <a:gd name="T23" fmla="*/ 65 h 266"/>
                <a:gd name="T24" fmla="*/ 404 w 526"/>
                <a:gd name="T25" fmla="*/ 262 h 266"/>
                <a:gd name="T26" fmla="*/ 367 w 526"/>
                <a:gd name="T27" fmla="*/ 201 h 266"/>
                <a:gd name="T28" fmla="*/ 367 w 526"/>
                <a:gd name="T29" fmla="*/ 266 h 266"/>
                <a:gd name="T30" fmla="*/ 396 w 526"/>
                <a:gd name="T31" fmla="*/ 157 h 266"/>
                <a:gd name="T32" fmla="*/ 380 w 526"/>
                <a:gd name="T33" fmla="*/ 157 h 266"/>
                <a:gd name="T34" fmla="*/ 404 w 526"/>
                <a:gd name="T35" fmla="*/ 40 h 266"/>
                <a:gd name="T36" fmla="*/ 363 w 526"/>
                <a:gd name="T37" fmla="*/ 4 h 266"/>
                <a:gd name="T38" fmla="*/ 401 w 526"/>
                <a:gd name="T39" fmla="*/ 65 h 266"/>
                <a:gd name="T40" fmla="*/ 303 w 526"/>
                <a:gd name="T41" fmla="*/ 258 h 266"/>
                <a:gd name="T42" fmla="*/ 336 w 526"/>
                <a:gd name="T43" fmla="*/ 209 h 266"/>
                <a:gd name="T44" fmla="*/ 303 w 526"/>
                <a:gd name="T45" fmla="*/ 157 h 266"/>
                <a:gd name="T46" fmla="*/ 336 w 526"/>
                <a:gd name="T47" fmla="*/ 109 h 266"/>
                <a:gd name="T48" fmla="*/ 303 w 526"/>
                <a:gd name="T49" fmla="*/ 56 h 266"/>
                <a:gd name="T50" fmla="*/ 336 w 526"/>
                <a:gd name="T51" fmla="*/ 8 h 266"/>
                <a:gd name="T52" fmla="*/ 267 w 526"/>
                <a:gd name="T53" fmla="*/ 258 h 266"/>
                <a:gd name="T54" fmla="*/ 246 w 526"/>
                <a:gd name="T55" fmla="*/ 258 h 266"/>
                <a:gd name="T56" fmla="*/ 279 w 526"/>
                <a:gd name="T57" fmla="*/ 136 h 266"/>
                <a:gd name="T58" fmla="*/ 246 w 526"/>
                <a:gd name="T59" fmla="*/ 109 h 266"/>
                <a:gd name="T60" fmla="*/ 283 w 526"/>
                <a:gd name="T61" fmla="*/ 161 h 266"/>
                <a:gd name="T62" fmla="*/ 267 w 526"/>
                <a:gd name="T63" fmla="*/ 0 h 266"/>
                <a:gd name="T64" fmla="*/ 242 w 526"/>
                <a:gd name="T65" fmla="*/ 61 h 266"/>
                <a:gd name="T66" fmla="*/ 190 w 526"/>
                <a:gd name="T67" fmla="*/ 201 h 266"/>
                <a:gd name="T68" fmla="*/ 190 w 526"/>
                <a:gd name="T69" fmla="*/ 258 h 266"/>
                <a:gd name="T70" fmla="*/ 190 w 526"/>
                <a:gd name="T71" fmla="*/ 100 h 266"/>
                <a:gd name="T72" fmla="*/ 190 w 526"/>
                <a:gd name="T73" fmla="*/ 157 h 266"/>
                <a:gd name="T74" fmla="*/ 190 w 526"/>
                <a:gd name="T75" fmla="*/ 0 h 266"/>
                <a:gd name="T76" fmla="*/ 190 w 526"/>
                <a:gd name="T77" fmla="*/ 56 h 266"/>
                <a:gd name="T78" fmla="*/ 154 w 526"/>
                <a:gd name="T79" fmla="*/ 240 h 266"/>
                <a:gd name="T80" fmla="*/ 137 w 526"/>
                <a:gd name="T81" fmla="*/ 209 h 266"/>
                <a:gd name="T82" fmla="*/ 162 w 526"/>
                <a:gd name="T83" fmla="*/ 161 h 266"/>
                <a:gd name="T84" fmla="*/ 125 w 526"/>
                <a:gd name="T85" fmla="*/ 100 h 266"/>
                <a:gd name="T86" fmla="*/ 125 w 526"/>
                <a:gd name="T87" fmla="*/ 165 h 266"/>
                <a:gd name="T88" fmla="*/ 154 w 526"/>
                <a:gd name="T89" fmla="*/ 56 h 266"/>
                <a:gd name="T90" fmla="*/ 137 w 526"/>
                <a:gd name="T91" fmla="*/ 56 h 266"/>
                <a:gd name="T92" fmla="*/ 101 w 526"/>
                <a:gd name="T93" fmla="*/ 209 h 266"/>
                <a:gd name="T94" fmla="*/ 101 w 526"/>
                <a:gd name="T95" fmla="*/ 258 h 266"/>
                <a:gd name="T96" fmla="*/ 101 w 526"/>
                <a:gd name="T97" fmla="*/ 109 h 266"/>
                <a:gd name="T98" fmla="*/ 101 w 526"/>
                <a:gd name="T99" fmla="*/ 157 h 266"/>
                <a:gd name="T100" fmla="*/ 101 w 526"/>
                <a:gd name="T101" fmla="*/ 8 h 266"/>
                <a:gd name="T102" fmla="*/ 101 w 526"/>
                <a:gd name="T103" fmla="*/ 56 h 266"/>
                <a:gd name="T104" fmla="*/ 41 w 526"/>
                <a:gd name="T105" fmla="*/ 240 h 266"/>
                <a:gd name="T106" fmla="*/ 0 w 526"/>
                <a:gd name="T107" fmla="*/ 205 h 266"/>
                <a:gd name="T108" fmla="*/ 37 w 526"/>
                <a:gd name="T109" fmla="*/ 266 h 266"/>
                <a:gd name="T110" fmla="*/ 0 w 526"/>
                <a:gd name="T111" fmla="*/ 157 h 266"/>
                <a:gd name="T112" fmla="*/ 33 w 526"/>
                <a:gd name="T113" fmla="*/ 109 h 266"/>
                <a:gd name="T114" fmla="*/ 25 w 526"/>
                <a:gd name="T115" fmla="*/ 56 h 266"/>
                <a:gd name="T116" fmla="*/ 4 w 526"/>
                <a:gd name="T117" fmla="*/ 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266">
                  <a:moveTo>
                    <a:pt x="526" y="258"/>
                  </a:moveTo>
                  <a:cubicBezTo>
                    <a:pt x="526" y="209"/>
                    <a:pt x="526" y="209"/>
                    <a:pt x="526" y="209"/>
                  </a:cubicBezTo>
                  <a:cubicBezTo>
                    <a:pt x="526" y="205"/>
                    <a:pt x="522" y="201"/>
                    <a:pt x="517" y="201"/>
                  </a:cubicBezTo>
                  <a:cubicBezTo>
                    <a:pt x="493" y="201"/>
                    <a:pt x="493" y="201"/>
                    <a:pt x="493" y="201"/>
                  </a:cubicBezTo>
                  <a:cubicBezTo>
                    <a:pt x="488" y="201"/>
                    <a:pt x="484" y="205"/>
                    <a:pt x="484" y="209"/>
                  </a:cubicBezTo>
                  <a:cubicBezTo>
                    <a:pt x="484" y="258"/>
                    <a:pt x="484" y="258"/>
                    <a:pt x="484" y="258"/>
                  </a:cubicBezTo>
                  <a:cubicBezTo>
                    <a:pt x="484" y="262"/>
                    <a:pt x="488" y="266"/>
                    <a:pt x="493" y="266"/>
                  </a:cubicBezTo>
                  <a:cubicBezTo>
                    <a:pt x="517" y="266"/>
                    <a:pt x="517" y="266"/>
                    <a:pt x="517" y="266"/>
                  </a:cubicBezTo>
                  <a:cubicBezTo>
                    <a:pt x="522" y="266"/>
                    <a:pt x="526" y="262"/>
                    <a:pt x="526" y="258"/>
                  </a:cubicBezTo>
                  <a:close/>
                  <a:moveTo>
                    <a:pt x="517" y="258"/>
                  </a:moveTo>
                  <a:cubicBezTo>
                    <a:pt x="493" y="258"/>
                    <a:pt x="493" y="258"/>
                    <a:pt x="493" y="258"/>
                  </a:cubicBezTo>
                  <a:cubicBezTo>
                    <a:pt x="493" y="209"/>
                    <a:pt x="493" y="209"/>
                    <a:pt x="493" y="209"/>
                  </a:cubicBezTo>
                  <a:cubicBezTo>
                    <a:pt x="517" y="209"/>
                    <a:pt x="517" y="209"/>
                    <a:pt x="517" y="209"/>
                  </a:cubicBezTo>
                  <a:lnTo>
                    <a:pt x="517" y="258"/>
                  </a:lnTo>
                  <a:close/>
                  <a:moveTo>
                    <a:pt x="526" y="161"/>
                  </a:moveTo>
                  <a:cubicBezTo>
                    <a:pt x="526" y="140"/>
                    <a:pt x="526" y="140"/>
                    <a:pt x="526" y="140"/>
                  </a:cubicBezTo>
                  <a:cubicBezTo>
                    <a:pt x="526" y="138"/>
                    <a:pt x="525" y="136"/>
                    <a:pt x="521" y="136"/>
                  </a:cubicBezTo>
                  <a:cubicBezTo>
                    <a:pt x="519" y="136"/>
                    <a:pt x="517" y="138"/>
                    <a:pt x="517" y="140"/>
                  </a:cubicBezTo>
                  <a:cubicBezTo>
                    <a:pt x="517" y="157"/>
                    <a:pt x="517" y="157"/>
                    <a:pt x="517" y="157"/>
                  </a:cubicBezTo>
                  <a:cubicBezTo>
                    <a:pt x="509" y="157"/>
                    <a:pt x="509" y="157"/>
                    <a:pt x="509" y="157"/>
                  </a:cubicBezTo>
                  <a:cubicBezTo>
                    <a:pt x="509" y="100"/>
                    <a:pt x="509" y="100"/>
                    <a:pt x="509" y="100"/>
                  </a:cubicBezTo>
                  <a:cubicBezTo>
                    <a:pt x="488" y="100"/>
                    <a:pt x="488" y="100"/>
                    <a:pt x="488" y="100"/>
                  </a:cubicBezTo>
                  <a:cubicBezTo>
                    <a:pt x="486" y="100"/>
                    <a:pt x="484" y="101"/>
                    <a:pt x="484" y="105"/>
                  </a:cubicBezTo>
                  <a:cubicBezTo>
                    <a:pt x="484" y="107"/>
                    <a:pt x="486" y="109"/>
                    <a:pt x="488" y="109"/>
                  </a:cubicBezTo>
                  <a:cubicBezTo>
                    <a:pt x="500" y="109"/>
                    <a:pt x="500" y="109"/>
                    <a:pt x="500" y="109"/>
                  </a:cubicBezTo>
                  <a:cubicBezTo>
                    <a:pt x="500" y="157"/>
                    <a:pt x="500" y="157"/>
                    <a:pt x="500" y="157"/>
                  </a:cubicBezTo>
                  <a:cubicBezTo>
                    <a:pt x="488" y="157"/>
                    <a:pt x="488" y="157"/>
                    <a:pt x="488" y="157"/>
                  </a:cubicBezTo>
                  <a:cubicBezTo>
                    <a:pt x="486" y="157"/>
                    <a:pt x="484" y="158"/>
                    <a:pt x="484" y="161"/>
                  </a:cubicBezTo>
                  <a:cubicBezTo>
                    <a:pt x="484" y="164"/>
                    <a:pt x="486" y="165"/>
                    <a:pt x="488" y="165"/>
                  </a:cubicBezTo>
                  <a:cubicBezTo>
                    <a:pt x="521" y="165"/>
                    <a:pt x="521" y="165"/>
                    <a:pt x="521" y="165"/>
                  </a:cubicBezTo>
                  <a:cubicBezTo>
                    <a:pt x="524" y="165"/>
                    <a:pt x="526" y="164"/>
                    <a:pt x="526" y="161"/>
                  </a:cubicBezTo>
                  <a:close/>
                  <a:moveTo>
                    <a:pt x="526" y="61"/>
                  </a:moveTo>
                  <a:cubicBezTo>
                    <a:pt x="526" y="40"/>
                    <a:pt x="526" y="40"/>
                    <a:pt x="526" y="40"/>
                  </a:cubicBezTo>
                  <a:cubicBezTo>
                    <a:pt x="526" y="37"/>
                    <a:pt x="525" y="36"/>
                    <a:pt x="521" y="36"/>
                  </a:cubicBezTo>
                  <a:cubicBezTo>
                    <a:pt x="519" y="36"/>
                    <a:pt x="517" y="37"/>
                    <a:pt x="517" y="40"/>
                  </a:cubicBezTo>
                  <a:cubicBezTo>
                    <a:pt x="517" y="56"/>
                    <a:pt x="517" y="56"/>
                    <a:pt x="517" y="56"/>
                  </a:cubicBezTo>
                  <a:cubicBezTo>
                    <a:pt x="509" y="56"/>
                    <a:pt x="509" y="56"/>
                    <a:pt x="509" y="56"/>
                  </a:cubicBezTo>
                  <a:cubicBezTo>
                    <a:pt x="509" y="0"/>
                    <a:pt x="509" y="0"/>
                    <a:pt x="509" y="0"/>
                  </a:cubicBezTo>
                  <a:cubicBezTo>
                    <a:pt x="488" y="0"/>
                    <a:pt x="488" y="0"/>
                    <a:pt x="488" y="0"/>
                  </a:cubicBezTo>
                  <a:cubicBezTo>
                    <a:pt x="486" y="0"/>
                    <a:pt x="484" y="1"/>
                    <a:pt x="484" y="4"/>
                  </a:cubicBezTo>
                  <a:cubicBezTo>
                    <a:pt x="484" y="7"/>
                    <a:pt x="486" y="8"/>
                    <a:pt x="488" y="8"/>
                  </a:cubicBezTo>
                  <a:cubicBezTo>
                    <a:pt x="500" y="8"/>
                    <a:pt x="500" y="8"/>
                    <a:pt x="500" y="8"/>
                  </a:cubicBezTo>
                  <a:cubicBezTo>
                    <a:pt x="500" y="56"/>
                    <a:pt x="500" y="56"/>
                    <a:pt x="500" y="56"/>
                  </a:cubicBezTo>
                  <a:cubicBezTo>
                    <a:pt x="488" y="56"/>
                    <a:pt x="488" y="56"/>
                    <a:pt x="488" y="56"/>
                  </a:cubicBezTo>
                  <a:cubicBezTo>
                    <a:pt x="486" y="56"/>
                    <a:pt x="484" y="58"/>
                    <a:pt x="484" y="61"/>
                  </a:cubicBezTo>
                  <a:cubicBezTo>
                    <a:pt x="484" y="64"/>
                    <a:pt x="486" y="65"/>
                    <a:pt x="488" y="65"/>
                  </a:cubicBezTo>
                  <a:cubicBezTo>
                    <a:pt x="521" y="65"/>
                    <a:pt x="521" y="65"/>
                    <a:pt x="521" y="65"/>
                  </a:cubicBezTo>
                  <a:cubicBezTo>
                    <a:pt x="524" y="65"/>
                    <a:pt x="526" y="64"/>
                    <a:pt x="526" y="61"/>
                  </a:cubicBezTo>
                  <a:close/>
                  <a:moveTo>
                    <a:pt x="465" y="258"/>
                  </a:moveTo>
                  <a:cubicBezTo>
                    <a:pt x="465" y="209"/>
                    <a:pt x="465" y="209"/>
                    <a:pt x="465" y="209"/>
                  </a:cubicBezTo>
                  <a:cubicBezTo>
                    <a:pt x="465" y="205"/>
                    <a:pt x="461" y="201"/>
                    <a:pt x="457" y="201"/>
                  </a:cubicBezTo>
                  <a:cubicBezTo>
                    <a:pt x="432" y="201"/>
                    <a:pt x="432" y="201"/>
                    <a:pt x="432" y="201"/>
                  </a:cubicBezTo>
                  <a:cubicBezTo>
                    <a:pt x="428" y="201"/>
                    <a:pt x="423" y="205"/>
                    <a:pt x="423" y="209"/>
                  </a:cubicBezTo>
                  <a:cubicBezTo>
                    <a:pt x="423" y="258"/>
                    <a:pt x="423" y="258"/>
                    <a:pt x="423" y="258"/>
                  </a:cubicBezTo>
                  <a:cubicBezTo>
                    <a:pt x="423" y="262"/>
                    <a:pt x="427" y="266"/>
                    <a:pt x="432" y="266"/>
                  </a:cubicBezTo>
                  <a:cubicBezTo>
                    <a:pt x="457" y="266"/>
                    <a:pt x="457" y="266"/>
                    <a:pt x="457" y="266"/>
                  </a:cubicBezTo>
                  <a:cubicBezTo>
                    <a:pt x="461" y="266"/>
                    <a:pt x="465" y="262"/>
                    <a:pt x="465" y="258"/>
                  </a:cubicBezTo>
                  <a:close/>
                  <a:moveTo>
                    <a:pt x="457" y="258"/>
                  </a:moveTo>
                  <a:cubicBezTo>
                    <a:pt x="432" y="258"/>
                    <a:pt x="432" y="258"/>
                    <a:pt x="432" y="258"/>
                  </a:cubicBezTo>
                  <a:cubicBezTo>
                    <a:pt x="432" y="209"/>
                    <a:pt x="432" y="209"/>
                    <a:pt x="432" y="209"/>
                  </a:cubicBezTo>
                  <a:cubicBezTo>
                    <a:pt x="457" y="209"/>
                    <a:pt x="457" y="209"/>
                    <a:pt x="457" y="209"/>
                  </a:cubicBezTo>
                  <a:lnTo>
                    <a:pt x="457" y="258"/>
                  </a:lnTo>
                  <a:close/>
                  <a:moveTo>
                    <a:pt x="465" y="157"/>
                  </a:moveTo>
                  <a:cubicBezTo>
                    <a:pt x="465" y="109"/>
                    <a:pt x="465" y="109"/>
                    <a:pt x="465" y="109"/>
                  </a:cubicBezTo>
                  <a:cubicBezTo>
                    <a:pt x="465" y="104"/>
                    <a:pt x="461" y="100"/>
                    <a:pt x="457" y="100"/>
                  </a:cubicBezTo>
                  <a:cubicBezTo>
                    <a:pt x="432" y="100"/>
                    <a:pt x="432" y="100"/>
                    <a:pt x="432" y="100"/>
                  </a:cubicBezTo>
                  <a:cubicBezTo>
                    <a:pt x="428" y="100"/>
                    <a:pt x="423" y="104"/>
                    <a:pt x="423" y="109"/>
                  </a:cubicBezTo>
                  <a:cubicBezTo>
                    <a:pt x="423" y="157"/>
                    <a:pt x="423" y="157"/>
                    <a:pt x="423" y="157"/>
                  </a:cubicBezTo>
                  <a:cubicBezTo>
                    <a:pt x="423" y="162"/>
                    <a:pt x="427" y="165"/>
                    <a:pt x="432" y="165"/>
                  </a:cubicBezTo>
                  <a:cubicBezTo>
                    <a:pt x="457" y="165"/>
                    <a:pt x="457" y="165"/>
                    <a:pt x="457" y="165"/>
                  </a:cubicBezTo>
                  <a:cubicBezTo>
                    <a:pt x="461" y="165"/>
                    <a:pt x="465" y="162"/>
                    <a:pt x="465" y="157"/>
                  </a:cubicBezTo>
                  <a:close/>
                  <a:moveTo>
                    <a:pt x="457" y="157"/>
                  </a:moveTo>
                  <a:cubicBezTo>
                    <a:pt x="432" y="157"/>
                    <a:pt x="432" y="157"/>
                    <a:pt x="432" y="157"/>
                  </a:cubicBezTo>
                  <a:cubicBezTo>
                    <a:pt x="432" y="109"/>
                    <a:pt x="432" y="109"/>
                    <a:pt x="432" y="109"/>
                  </a:cubicBezTo>
                  <a:cubicBezTo>
                    <a:pt x="457" y="109"/>
                    <a:pt x="457" y="109"/>
                    <a:pt x="457" y="109"/>
                  </a:cubicBezTo>
                  <a:lnTo>
                    <a:pt x="457" y="157"/>
                  </a:lnTo>
                  <a:close/>
                  <a:moveTo>
                    <a:pt x="465" y="56"/>
                  </a:moveTo>
                  <a:cubicBezTo>
                    <a:pt x="465" y="8"/>
                    <a:pt x="465" y="8"/>
                    <a:pt x="465" y="8"/>
                  </a:cubicBezTo>
                  <a:cubicBezTo>
                    <a:pt x="465" y="4"/>
                    <a:pt x="461" y="0"/>
                    <a:pt x="457" y="0"/>
                  </a:cubicBezTo>
                  <a:cubicBezTo>
                    <a:pt x="432" y="0"/>
                    <a:pt x="432" y="0"/>
                    <a:pt x="432" y="0"/>
                  </a:cubicBezTo>
                  <a:cubicBezTo>
                    <a:pt x="428" y="0"/>
                    <a:pt x="423" y="4"/>
                    <a:pt x="423" y="8"/>
                  </a:cubicBezTo>
                  <a:cubicBezTo>
                    <a:pt x="423" y="56"/>
                    <a:pt x="423" y="56"/>
                    <a:pt x="423" y="56"/>
                  </a:cubicBezTo>
                  <a:cubicBezTo>
                    <a:pt x="423" y="61"/>
                    <a:pt x="427" y="65"/>
                    <a:pt x="432" y="65"/>
                  </a:cubicBezTo>
                  <a:cubicBezTo>
                    <a:pt x="457" y="65"/>
                    <a:pt x="457" y="65"/>
                    <a:pt x="457" y="65"/>
                  </a:cubicBezTo>
                  <a:cubicBezTo>
                    <a:pt x="461" y="65"/>
                    <a:pt x="465" y="61"/>
                    <a:pt x="465" y="56"/>
                  </a:cubicBezTo>
                  <a:close/>
                  <a:moveTo>
                    <a:pt x="457" y="56"/>
                  </a:moveTo>
                  <a:cubicBezTo>
                    <a:pt x="432" y="56"/>
                    <a:pt x="432" y="56"/>
                    <a:pt x="432" y="56"/>
                  </a:cubicBezTo>
                  <a:cubicBezTo>
                    <a:pt x="432" y="8"/>
                    <a:pt x="432" y="8"/>
                    <a:pt x="432" y="8"/>
                  </a:cubicBezTo>
                  <a:cubicBezTo>
                    <a:pt x="457" y="8"/>
                    <a:pt x="457" y="8"/>
                    <a:pt x="457" y="8"/>
                  </a:cubicBezTo>
                  <a:lnTo>
                    <a:pt x="457" y="56"/>
                  </a:lnTo>
                  <a:close/>
                  <a:moveTo>
                    <a:pt x="404" y="262"/>
                  </a:moveTo>
                  <a:cubicBezTo>
                    <a:pt x="404" y="240"/>
                    <a:pt x="404" y="240"/>
                    <a:pt x="404" y="240"/>
                  </a:cubicBezTo>
                  <a:cubicBezTo>
                    <a:pt x="404" y="239"/>
                    <a:pt x="403" y="237"/>
                    <a:pt x="401" y="237"/>
                  </a:cubicBezTo>
                  <a:cubicBezTo>
                    <a:pt x="397" y="237"/>
                    <a:pt x="396" y="239"/>
                    <a:pt x="396" y="240"/>
                  </a:cubicBezTo>
                  <a:cubicBezTo>
                    <a:pt x="396" y="258"/>
                    <a:pt x="396" y="258"/>
                    <a:pt x="396" y="258"/>
                  </a:cubicBezTo>
                  <a:cubicBezTo>
                    <a:pt x="388" y="258"/>
                    <a:pt x="388" y="258"/>
                    <a:pt x="388" y="258"/>
                  </a:cubicBezTo>
                  <a:cubicBezTo>
                    <a:pt x="388" y="201"/>
                    <a:pt x="388" y="201"/>
                    <a:pt x="388" y="201"/>
                  </a:cubicBezTo>
                  <a:cubicBezTo>
                    <a:pt x="367" y="201"/>
                    <a:pt x="367" y="201"/>
                    <a:pt x="367" y="201"/>
                  </a:cubicBezTo>
                  <a:cubicBezTo>
                    <a:pt x="365" y="201"/>
                    <a:pt x="363" y="202"/>
                    <a:pt x="363" y="205"/>
                  </a:cubicBezTo>
                  <a:cubicBezTo>
                    <a:pt x="363" y="208"/>
                    <a:pt x="365" y="209"/>
                    <a:pt x="367" y="209"/>
                  </a:cubicBezTo>
                  <a:cubicBezTo>
                    <a:pt x="380" y="209"/>
                    <a:pt x="380" y="209"/>
                    <a:pt x="380" y="209"/>
                  </a:cubicBezTo>
                  <a:cubicBezTo>
                    <a:pt x="380" y="258"/>
                    <a:pt x="380" y="258"/>
                    <a:pt x="380" y="258"/>
                  </a:cubicBezTo>
                  <a:cubicBezTo>
                    <a:pt x="367" y="258"/>
                    <a:pt x="367" y="258"/>
                    <a:pt x="367" y="258"/>
                  </a:cubicBezTo>
                  <a:cubicBezTo>
                    <a:pt x="365" y="258"/>
                    <a:pt x="363" y="259"/>
                    <a:pt x="363" y="262"/>
                  </a:cubicBezTo>
                  <a:cubicBezTo>
                    <a:pt x="363" y="265"/>
                    <a:pt x="365" y="266"/>
                    <a:pt x="367" y="266"/>
                  </a:cubicBezTo>
                  <a:cubicBezTo>
                    <a:pt x="401" y="266"/>
                    <a:pt x="401" y="266"/>
                    <a:pt x="401" y="266"/>
                  </a:cubicBezTo>
                  <a:cubicBezTo>
                    <a:pt x="402" y="266"/>
                    <a:pt x="404" y="265"/>
                    <a:pt x="404" y="262"/>
                  </a:cubicBezTo>
                  <a:close/>
                  <a:moveTo>
                    <a:pt x="404" y="161"/>
                  </a:moveTo>
                  <a:cubicBezTo>
                    <a:pt x="404" y="140"/>
                    <a:pt x="404" y="140"/>
                    <a:pt x="404" y="140"/>
                  </a:cubicBezTo>
                  <a:cubicBezTo>
                    <a:pt x="404" y="138"/>
                    <a:pt x="403" y="136"/>
                    <a:pt x="401" y="136"/>
                  </a:cubicBezTo>
                  <a:cubicBezTo>
                    <a:pt x="397" y="136"/>
                    <a:pt x="396" y="138"/>
                    <a:pt x="396" y="140"/>
                  </a:cubicBezTo>
                  <a:cubicBezTo>
                    <a:pt x="396" y="157"/>
                    <a:pt x="396" y="157"/>
                    <a:pt x="396" y="157"/>
                  </a:cubicBezTo>
                  <a:cubicBezTo>
                    <a:pt x="388" y="157"/>
                    <a:pt x="388" y="157"/>
                    <a:pt x="388" y="157"/>
                  </a:cubicBezTo>
                  <a:cubicBezTo>
                    <a:pt x="388" y="100"/>
                    <a:pt x="388" y="100"/>
                    <a:pt x="388" y="100"/>
                  </a:cubicBezTo>
                  <a:cubicBezTo>
                    <a:pt x="367" y="100"/>
                    <a:pt x="367" y="100"/>
                    <a:pt x="367" y="100"/>
                  </a:cubicBezTo>
                  <a:cubicBezTo>
                    <a:pt x="365" y="100"/>
                    <a:pt x="363" y="101"/>
                    <a:pt x="363" y="105"/>
                  </a:cubicBezTo>
                  <a:cubicBezTo>
                    <a:pt x="363" y="107"/>
                    <a:pt x="365" y="109"/>
                    <a:pt x="367" y="109"/>
                  </a:cubicBezTo>
                  <a:cubicBezTo>
                    <a:pt x="380" y="109"/>
                    <a:pt x="380" y="109"/>
                    <a:pt x="380" y="109"/>
                  </a:cubicBezTo>
                  <a:cubicBezTo>
                    <a:pt x="380" y="157"/>
                    <a:pt x="380" y="157"/>
                    <a:pt x="380" y="157"/>
                  </a:cubicBezTo>
                  <a:cubicBezTo>
                    <a:pt x="367" y="157"/>
                    <a:pt x="367" y="157"/>
                    <a:pt x="367" y="157"/>
                  </a:cubicBezTo>
                  <a:cubicBezTo>
                    <a:pt x="365" y="157"/>
                    <a:pt x="363" y="158"/>
                    <a:pt x="363" y="161"/>
                  </a:cubicBezTo>
                  <a:cubicBezTo>
                    <a:pt x="363" y="164"/>
                    <a:pt x="365" y="165"/>
                    <a:pt x="367" y="165"/>
                  </a:cubicBezTo>
                  <a:cubicBezTo>
                    <a:pt x="401" y="165"/>
                    <a:pt x="401" y="165"/>
                    <a:pt x="401" y="165"/>
                  </a:cubicBezTo>
                  <a:cubicBezTo>
                    <a:pt x="402" y="165"/>
                    <a:pt x="404" y="164"/>
                    <a:pt x="404" y="161"/>
                  </a:cubicBezTo>
                  <a:close/>
                  <a:moveTo>
                    <a:pt x="404" y="61"/>
                  </a:moveTo>
                  <a:cubicBezTo>
                    <a:pt x="404" y="40"/>
                    <a:pt x="404" y="40"/>
                    <a:pt x="404" y="40"/>
                  </a:cubicBezTo>
                  <a:cubicBezTo>
                    <a:pt x="404" y="37"/>
                    <a:pt x="403" y="36"/>
                    <a:pt x="401" y="36"/>
                  </a:cubicBezTo>
                  <a:cubicBezTo>
                    <a:pt x="397" y="36"/>
                    <a:pt x="396" y="37"/>
                    <a:pt x="396" y="40"/>
                  </a:cubicBezTo>
                  <a:cubicBezTo>
                    <a:pt x="396" y="56"/>
                    <a:pt x="396" y="56"/>
                    <a:pt x="396" y="56"/>
                  </a:cubicBezTo>
                  <a:cubicBezTo>
                    <a:pt x="388" y="56"/>
                    <a:pt x="388" y="56"/>
                    <a:pt x="388" y="56"/>
                  </a:cubicBezTo>
                  <a:cubicBezTo>
                    <a:pt x="388" y="0"/>
                    <a:pt x="388" y="0"/>
                    <a:pt x="388" y="0"/>
                  </a:cubicBezTo>
                  <a:cubicBezTo>
                    <a:pt x="367" y="0"/>
                    <a:pt x="367" y="0"/>
                    <a:pt x="367" y="0"/>
                  </a:cubicBezTo>
                  <a:cubicBezTo>
                    <a:pt x="365" y="0"/>
                    <a:pt x="363" y="1"/>
                    <a:pt x="363" y="4"/>
                  </a:cubicBezTo>
                  <a:cubicBezTo>
                    <a:pt x="363" y="7"/>
                    <a:pt x="365" y="8"/>
                    <a:pt x="367" y="8"/>
                  </a:cubicBezTo>
                  <a:cubicBezTo>
                    <a:pt x="380" y="8"/>
                    <a:pt x="380" y="8"/>
                    <a:pt x="380" y="8"/>
                  </a:cubicBezTo>
                  <a:cubicBezTo>
                    <a:pt x="380" y="56"/>
                    <a:pt x="380" y="56"/>
                    <a:pt x="380" y="56"/>
                  </a:cubicBezTo>
                  <a:cubicBezTo>
                    <a:pt x="367" y="56"/>
                    <a:pt x="367" y="56"/>
                    <a:pt x="367" y="56"/>
                  </a:cubicBezTo>
                  <a:cubicBezTo>
                    <a:pt x="365" y="56"/>
                    <a:pt x="363" y="58"/>
                    <a:pt x="363" y="61"/>
                  </a:cubicBezTo>
                  <a:cubicBezTo>
                    <a:pt x="363" y="64"/>
                    <a:pt x="365" y="65"/>
                    <a:pt x="367" y="65"/>
                  </a:cubicBezTo>
                  <a:cubicBezTo>
                    <a:pt x="401" y="65"/>
                    <a:pt x="401" y="65"/>
                    <a:pt x="401" y="65"/>
                  </a:cubicBezTo>
                  <a:cubicBezTo>
                    <a:pt x="402" y="65"/>
                    <a:pt x="404" y="64"/>
                    <a:pt x="404" y="61"/>
                  </a:cubicBezTo>
                  <a:close/>
                  <a:moveTo>
                    <a:pt x="344" y="258"/>
                  </a:moveTo>
                  <a:cubicBezTo>
                    <a:pt x="344" y="209"/>
                    <a:pt x="344" y="209"/>
                    <a:pt x="344" y="209"/>
                  </a:cubicBezTo>
                  <a:cubicBezTo>
                    <a:pt x="344" y="205"/>
                    <a:pt x="340" y="201"/>
                    <a:pt x="336" y="201"/>
                  </a:cubicBezTo>
                  <a:cubicBezTo>
                    <a:pt x="310" y="201"/>
                    <a:pt x="310" y="201"/>
                    <a:pt x="310" y="201"/>
                  </a:cubicBezTo>
                  <a:cubicBezTo>
                    <a:pt x="306" y="201"/>
                    <a:pt x="303" y="205"/>
                    <a:pt x="303" y="209"/>
                  </a:cubicBezTo>
                  <a:cubicBezTo>
                    <a:pt x="303" y="258"/>
                    <a:pt x="303" y="258"/>
                    <a:pt x="303" y="258"/>
                  </a:cubicBezTo>
                  <a:cubicBezTo>
                    <a:pt x="303" y="262"/>
                    <a:pt x="306" y="266"/>
                    <a:pt x="310" y="266"/>
                  </a:cubicBezTo>
                  <a:cubicBezTo>
                    <a:pt x="336" y="266"/>
                    <a:pt x="336" y="266"/>
                    <a:pt x="336" y="266"/>
                  </a:cubicBezTo>
                  <a:cubicBezTo>
                    <a:pt x="340" y="266"/>
                    <a:pt x="344" y="262"/>
                    <a:pt x="344" y="258"/>
                  </a:cubicBezTo>
                  <a:close/>
                  <a:moveTo>
                    <a:pt x="336" y="258"/>
                  </a:moveTo>
                  <a:cubicBezTo>
                    <a:pt x="310" y="258"/>
                    <a:pt x="310" y="258"/>
                    <a:pt x="310" y="258"/>
                  </a:cubicBezTo>
                  <a:cubicBezTo>
                    <a:pt x="310" y="209"/>
                    <a:pt x="310" y="209"/>
                    <a:pt x="310" y="209"/>
                  </a:cubicBezTo>
                  <a:cubicBezTo>
                    <a:pt x="336" y="209"/>
                    <a:pt x="336" y="209"/>
                    <a:pt x="336" y="209"/>
                  </a:cubicBezTo>
                  <a:lnTo>
                    <a:pt x="336" y="258"/>
                  </a:lnTo>
                  <a:close/>
                  <a:moveTo>
                    <a:pt x="344" y="157"/>
                  </a:moveTo>
                  <a:cubicBezTo>
                    <a:pt x="344" y="109"/>
                    <a:pt x="344" y="109"/>
                    <a:pt x="344" y="109"/>
                  </a:cubicBezTo>
                  <a:cubicBezTo>
                    <a:pt x="344" y="104"/>
                    <a:pt x="340" y="100"/>
                    <a:pt x="336" y="100"/>
                  </a:cubicBezTo>
                  <a:cubicBezTo>
                    <a:pt x="310" y="100"/>
                    <a:pt x="310" y="100"/>
                    <a:pt x="310" y="100"/>
                  </a:cubicBezTo>
                  <a:cubicBezTo>
                    <a:pt x="306" y="100"/>
                    <a:pt x="303" y="104"/>
                    <a:pt x="303" y="109"/>
                  </a:cubicBezTo>
                  <a:cubicBezTo>
                    <a:pt x="303" y="157"/>
                    <a:pt x="303" y="157"/>
                    <a:pt x="303" y="157"/>
                  </a:cubicBezTo>
                  <a:cubicBezTo>
                    <a:pt x="303" y="162"/>
                    <a:pt x="306" y="165"/>
                    <a:pt x="310" y="165"/>
                  </a:cubicBezTo>
                  <a:cubicBezTo>
                    <a:pt x="336" y="165"/>
                    <a:pt x="336" y="165"/>
                    <a:pt x="336" y="165"/>
                  </a:cubicBezTo>
                  <a:cubicBezTo>
                    <a:pt x="340" y="165"/>
                    <a:pt x="344" y="162"/>
                    <a:pt x="344" y="157"/>
                  </a:cubicBezTo>
                  <a:close/>
                  <a:moveTo>
                    <a:pt x="336" y="157"/>
                  </a:moveTo>
                  <a:cubicBezTo>
                    <a:pt x="310" y="157"/>
                    <a:pt x="310" y="157"/>
                    <a:pt x="310" y="157"/>
                  </a:cubicBezTo>
                  <a:cubicBezTo>
                    <a:pt x="310" y="109"/>
                    <a:pt x="310" y="109"/>
                    <a:pt x="310" y="109"/>
                  </a:cubicBezTo>
                  <a:cubicBezTo>
                    <a:pt x="336" y="109"/>
                    <a:pt x="336" y="109"/>
                    <a:pt x="336" y="109"/>
                  </a:cubicBezTo>
                  <a:lnTo>
                    <a:pt x="336" y="157"/>
                  </a:lnTo>
                  <a:close/>
                  <a:moveTo>
                    <a:pt x="344" y="56"/>
                  </a:moveTo>
                  <a:cubicBezTo>
                    <a:pt x="344" y="8"/>
                    <a:pt x="344" y="8"/>
                    <a:pt x="344" y="8"/>
                  </a:cubicBezTo>
                  <a:cubicBezTo>
                    <a:pt x="344" y="4"/>
                    <a:pt x="340" y="0"/>
                    <a:pt x="336" y="0"/>
                  </a:cubicBezTo>
                  <a:cubicBezTo>
                    <a:pt x="310" y="0"/>
                    <a:pt x="310" y="0"/>
                    <a:pt x="310" y="0"/>
                  </a:cubicBezTo>
                  <a:cubicBezTo>
                    <a:pt x="306" y="0"/>
                    <a:pt x="303" y="4"/>
                    <a:pt x="303" y="8"/>
                  </a:cubicBezTo>
                  <a:cubicBezTo>
                    <a:pt x="303" y="56"/>
                    <a:pt x="303" y="56"/>
                    <a:pt x="303" y="56"/>
                  </a:cubicBezTo>
                  <a:cubicBezTo>
                    <a:pt x="303" y="61"/>
                    <a:pt x="306" y="65"/>
                    <a:pt x="310" y="65"/>
                  </a:cubicBezTo>
                  <a:cubicBezTo>
                    <a:pt x="336" y="65"/>
                    <a:pt x="336" y="65"/>
                    <a:pt x="336" y="65"/>
                  </a:cubicBezTo>
                  <a:cubicBezTo>
                    <a:pt x="340" y="65"/>
                    <a:pt x="344" y="61"/>
                    <a:pt x="344" y="56"/>
                  </a:cubicBezTo>
                  <a:close/>
                  <a:moveTo>
                    <a:pt x="336" y="56"/>
                  </a:moveTo>
                  <a:cubicBezTo>
                    <a:pt x="310" y="56"/>
                    <a:pt x="310" y="56"/>
                    <a:pt x="310" y="56"/>
                  </a:cubicBezTo>
                  <a:cubicBezTo>
                    <a:pt x="310" y="8"/>
                    <a:pt x="310" y="8"/>
                    <a:pt x="310" y="8"/>
                  </a:cubicBezTo>
                  <a:cubicBezTo>
                    <a:pt x="336" y="8"/>
                    <a:pt x="336" y="8"/>
                    <a:pt x="336" y="8"/>
                  </a:cubicBezTo>
                  <a:lnTo>
                    <a:pt x="336" y="56"/>
                  </a:lnTo>
                  <a:close/>
                  <a:moveTo>
                    <a:pt x="283" y="262"/>
                  </a:moveTo>
                  <a:cubicBezTo>
                    <a:pt x="283" y="240"/>
                    <a:pt x="283" y="240"/>
                    <a:pt x="283" y="240"/>
                  </a:cubicBezTo>
                  <a:cubicBezTo>
                    <a:pt x="283" y="239"/>
                    <a:pt x="283" y="237"/>
                    <a:pt x="279" y="237"/>
                  </a:cubicBezTo>
                  <a:cubicBezTo>
                    <a:pt x="276" y="237"/>
                    <a:pt x="275" y="239"/>
                    <a:pt x="275" y="240"/>
                  </a:cubicBezTo>
                  <a:cubicBezTo>
                    <a:pt x="275" y="258"/>
                    <a:pt x="275" y="258"/>
                    <a:pt x="275" y="258"/>
                  </a:cubicBezTo>
                  <a:cubicBezTo>
                    <a:pt x="267" y="258"/>
                    <a:pt x="267" y="258"/>
                    <a:pt x="267" y="258"/>
                  </a:cubicBezTo>
                  <a:cubicBezTo>
                    <a:pt x="267" y="201"/>
                    <a:pt x="267" y="201"/>
                    <a:pt x="267" y="201"/>
                  </a:cubicBezTo>
                  <a:cubicBezTo>
                    <a:pt x="246" y="201"/>
                    <a:pt x="246" y="201"/>
                    <a:pt x="246" y="201"/>
                  </a:cubicBezTo>
                  <a:cubicBezTo>
                    <a:pt x="244" y="201"/>
                    <a:pt x="242" y="202"/>
                    <a:pt x="242" y="205"/>
                  </a:cubicBezTo>
                  <a:cubicBezTo>
                    <a:pt x="242" y="208"/>
                    <a:pt x="244" y="209"/>
                    <a:pt x="246" y="209"/>
                  </a:cubicBezTo>
                  <a:cubicBezTo>
                    <a:pt x="258" y="209"/>
                    <a:pt x="258" y="209"/>
                    <a:pt x="258" y="209"/>
                  </a:cubicBezTo>
                  <a:cubicBezTo>
                    <a:pt x="258" y="258"/>
                    <a:pt x="258" y="258"/>
                    <a:pt x="258" y="258"/>
                  </a:cubicBezTo>
                  <a:cubicBezTo>
                    <a:pt x="246" y="258"/>
                    <a:pt x="246" y="258"/>
                    <a:pt x="246" y="258"/>
                  </a:cubicBezTo>
                  <a:cubicBezTo>
                    <a:pt x="244" y="258"/>
                    <a:pt x="242" y="259"/>
                    <a:pt x="242" y="262"/>
                  </a:cubicBezTo>
                  <a:cubicBezTo>
                    <a:pt x="242" y="265"/>
                    <a:pt x="244" y="266"/>
                    <a:pt x="246" y="266"/>
                  </a:cubicBezTo>
                  <a:cubicBezTo>
                    <a:pt x="279" y="266"/>
                    <a:pt x="279" y="266"/>
                    <a:pt x="279" y="266"/>
                  </a:cubicBezTo>
                  <a:cubicBezTo>
                    <a:pt x="281" y="266"/>
                    <a:pt x="283" y="265"/>
                    <a:pt x="283" y="262"/>
                  </a:cubicBezTo>
                  <a:close/>
                  <a:moveTo>
                    <a:pt x="283" y="161"/>
                  </a:moveTo>
                  <a:cubicBezTo>
                    <a:pt x="283" y="140"/>
                    <a:pt x="283" y="140"/>
                    <a:pt x="283" y="140"/>
                  </a:cubicBezTo>
                  <a:cubicBezTo>
                    <a:pt x="283" y="138"/>
                    <a:pt x="283" y="136"/>
                    <a:pt x="279" y="136"/>
                  </a:cubicBezTo>
                  <a:cubicBezTo>
                    <a:pt x="276" y="136"/>
                    <a:pt x="275" y="138"/>
                    <a:pt x="275" y="140"/>
                  </a:cubicBezTo>
                  <a:cubicBezTo>
                    <a:pt x="275" y="157"/>
                    <a:pt x="275" y="157"/>
                    <a:pt x="275" y="157"/>
                  </a:cubicBezTo>
                  <a:cubicBezTo>
                    <a:pt x="267" y="157"/>
                    <a:pt x="267" y="157"/>
                    <a:pt x="267" y="157"/>
                  </a:cubicBezTo>
                  <a:cubicBezTo>
                    <a:pt x="267" y="100"/>
                    <a:pt x="267" y="100"/>
                    <a:pt x="267" y="100"/>
                  </a:cubicBezTo>
                  <a:cubicBezTo>
                    <a:pt x="246" y="100"/>
                    <a:pt x="246" y="100"/>
                    <a:pt x="246" y="100"/>
                  </a:cubicBezTo>
                  <a:cubicBezTo>
                    <a:pt x="244" y="100"/>
                    <a:pt x="242" y="101"/>
                    <a:pt x="242" y="105"/>
                  </a:cubicBezTo>
                  <a:cubicBezTo>
                    <a:pt x="242" y="107"/>
                    <a:pt x="244" y="109"/>
                    <a:pt x="246" y="109"/>
                  </a:cubicBezTo>
                  <a:cubicBezTo>
                    <a:pt x="258" y="109"/>
                    <a:pt x="258" y="109"/>
                    <a:pt x="258" y="109"/>
                  </a:cubicBezTo>
                  <a:cubicBezTo>
                    <a:pt x="258" y="157"/>
                    <a:pt x="258" y="157"/>
                    <a:pt x="258" y="157"/>
                  </a:cubicBezTo>
                  <a:cubicBezTo>
                    <a:pt x="246" y="157"/>
                    <a:pt x="246" y="157"/>
                    <a:pt x="246" y="157"/>
                  </a:cubicBezTo>
                  <a:cubicBezTo>
                    <a:pt x="244" y="157"/>
                    <a:pt x="242" y="158"/>
                    <a:pt x="242" y="161"/>
                  </a:cubicBezTo>
                  <a:cubicBezTo>
                    <a:pt x="242" y="164"/>
                    <a:pt x="244" y="165"/>
                    <a:pt x="246" y="165"/>
                  </a:cubicBezTo>
                  <a:cubicBezTo>
                    <a:pt x="279" y="165"/>
                    <a:pt x="279" y="165"/>
                    <a:pt x="279" y="165"/>
                  </a:cubicBezTo>
                  <a:cubicBezTo>
                    <a:pt x="281" y="165"/>
                    <a:pt x="283" y="164"/>
                    <a:pt x="283" y="161"/>
                  </a:cubicBezTo>
                  <a:close/>
                  <a:moveTo>
                    <a:pt x="283" y="61"/>
                  </a:moveTo>
                  <a:cubicBezTo>
                    <a:pt x="283" y="40"/>
                    <a:pt x="283" y="40"/>
                    <a:pt x="283" y="40"/>
                  </a:cubicBezTo>
                  <a:cubicBezTo>
                    <a:pt x="283" y="37"/>
                    <a:pt x="283" y="36"/>
                    <a:pt x="279" y="36"/>
                  </a:cubicBezTo>
                  <a:cubicBezTo>
                    <a:pt x="276" y="36"/>
                    <a:pt x="275" y="37"/>
                    <a:pt x="275" y="40"/>
                  </a:cubicBezTo>
                  <a:cubicBezTo>
                    <a:pt x="275" y="56"/>
                    <a:pt x="275" y="56"/>
                    <a:pt x="275" y="56"/>
                  </a:cubicBezTo>
                  <a:cubicBezTo>
                    <a:pt x="267" y="56"/>
                    <a:pt x="267" y="56"/>
                    <a:pt x="267" y="56"/>
                  </a:cubicBezTo>
                  <a:cubicBezTo>
                    <a:pt x="267" y="0"/>
                    <a:pt x="267" y="0"/>
                    <a:pt x="267" y="0"/>
                  </a:cubicBezTo>
                  <a:cubicBezTo>
                    <a:pt x="246" y="0"/>
                    <a:pt x="246" y="0"/>
                    <a:pt x="246" y="0"/>
                  </a:cubicBezTo>
                  <a:cubicBezTo>
                    <a:pt x="244" y="0"/>
                    <a:pt x="242" y="1"/>
                    <a:pt x="242" y="4"/>
                  </a:cubicBezTo>
                  <a:cubicBezTo>
                    <a:pt x="242" y="7"/>
                    <a:pt x="244" y="8"/>
                    <a:pt x="246" y="8"/>
                  </a:cubicBezTo>
                  <a:cubicBezTo>
                    <a:pt x="258" y="8"/>
                    <a:pt x="258" y="8"/>
                    <a:pt x="258" y="8"/>
                  </a:cubicBezTo>
                  <a:cubicBezTo>
                    <a:pt x="258" y="56"/>
                    <a:pt x="258" y="56"/>
                    <a:pt x="258" y="56"/>
                  </a:cubicBezTo>
                  <a:cubicBezTo>
                    <a:pt x="246" y="56"/>
                    <a:pt x="246" y="56"/>
                    <a:pt x="246" y="56"/>
                  </a:cubicBezTo>
                  <a:cubicBezTo>
                    <a:pt x="244" y="56"/>
                    <a:pt x="242" y="58"/>
                    <a:pt x="242" y="61"/>
                  </a:cubicBezTo>
                  <a:cubicBezTo>
                    <a:pt x="242" y="64"/>
                    <a:pt x="244" y="65"/>
                    <a:pt x="246" y="65"/>
                  </a:cubicBezTo>
                  <a:cubicBezTo>
                    <a:pt x="279" y="65"/>
                    <a:pt x="279" y="65"/>
                    <a:pt x="279" y="65"/>
                  </a:cubicBezTo>
                  <a:cubicBezTo>
                    <a:pt x="281" y="65"/>
                    <a:pt x="283" y="64"/>
                    <a:pt x="283" y="61"/>
                  </a:cubicBezTo>
                  <a:close/>
                  <a:moveTo>
                    <a:pt x="223" y="258"/>
                  </a:moveTo>
                  <a:cubicBezTo>
                    <a:pt x="223" y="209"/>
                    <a:pt x="223" y="209"/>
                    <a:pt x="223" y="209"/>
                  </a:cubicBezTo>
                  <a:cubicBezTo>
                    <a:pt x="223" y="205"/>
                    <a:pt x="219" y="201"/>
                    <a:pt x="214" y="201"/>
                  </a:cubicBezTo>
                  <a:cubicBezTo>
                    <a:pt x="190" y="201"/>
                    <a:pt x="190" y="201"/>
                    <a:pt x="190" y="201"/>
                  </a:cubicBezTo>
                  <a:cubicBezTo>
                    <a:pt x="184" y="201"/>
                    <a:pt x="181" y="205"/>
                    <a:pt x="181" y="209"/>
                  </a:cubicBezTo>
                  <a:cubicBezTo>
                    <a:pt x="181" y="258"/>
                    <a:pt x="181" y="258"/>
                    <a:pt x="181" y="258"/>
                  </a:cubicBezTo>
                  <a:cubicBezTo>
                    <a:pt x="181" y="262"/>
                    <a:pt x="184" y="266"/>
                    <a:pt x="190" y="266"/>
                  </a:cubicBezTo>
                  <a:cubicBezTo>
                    <a:pt x="214" y="266"/>
                    <a:pt x="214" y="266"/>
                    <a:pt x="214" y="266"/>
                  </a:cubicBezTo>
                  <a:cubicBezTo>
                    <a:pt x="219" y="266"/>
                    <a:pt x="223" y="262"/>
                    <a:pt x="223" y="258"/>
                  </a:cubicBezTo>
                  <a:close/>
                  <a:moveTo>
                    <a:pt x="214" y="258"/>
                  </a:moveTo>
                  <a:cubicBezTo>
                    <a:pt x="190" y="258"/>
                    <a:pt x="190" y="258"/>
                    <a:pt x="190" y="258"/>
                  </a:cubicBezTo>
                  <a:cubicBezTo>
                    <a:pt x="190" y="209"/>
                    <a:pt x="190" y="209"/>
                    <a:pt x="190" y="209"/>
                  </a:cubicBezTo>
                  <a:cubicBezTo>
                    <a:pt x="214" y="209"/>
                    <a:pt x="214" y="209"/>
                    <a:pt x="214" y="209"/>
                  </a:cubicBezTo>
                  <a:lnTo>
                    <a:pt x="214" y="258"/>
                  </a:lnTo>
                  <a:close/>
                  <a:moveTo>
                    <a:pt x="223" y="157"/>
                  </a:moveTo>
                  <a:cubicBezTo>
                    <a:pt x="223" y="109"/>
                    <a:pt x="223" y="109"/>
                    <a:pt x="223" y="109"/>
                  </a:cubicBezTo>
                  <a:cubicBezTo>
                    <a:pt x="223" y="104"/>
                    <a:pt x="219" y="100"/>
                    <a:pt x="214" y="100"/>
                  </a:cubicBezTo>
                  <a:cubicBezTo>
                    <a:pt x="190" y="100"/>
                    <a:pt x="190" y="100"/>
                    <a:pt x="190" y="100"/>
                  </a:cubicBezTo>
                  <a:cubicBezTo>
                    <a:pt x="184" y="100"/>
                    <a:pt x="181" y="104"/>
                    <a:pt x="181" y="109"/>
                  </a:cubicBezTo>
                  <a:cubicBezTo>
                    <a:pt x="181" y="157"/>
                    <a:pt x="181" y="157"/>
                    <a:pt x="181" y="157"/>
                  </a:cubicBezTo>
                  <a:cubicBezTo>
                    <a:pt x="181" y="162"/>
                    <a:pt x="184" y="165"/>
                    <a:pt x="190" y="165"/>
                  </a:cubicBezTo>
                  <a:cubicBezTo>
                    <a:pt x="214" y="165"/>
                    <a:pt x="214" y="165"/>
                    <a:pt x="214" y="165"/>
                  </a:cubicBezTo>
                  <a:cubicBezTo>
                    <a:pt x="219" y="165"/>
                    <a:pt x="223" y="162"/>
                    <a:pt x="223" y="157"/>
                  </a:cubicBezTo>
                  <a:close/>
                  <a:moveTo>
                    <a:pt x="214" y="157"/>
                  </a:moveTo>
                  <a:cubicBezTo>
                    <a:pt x="190" y="157"/>
                    <a:pt x="190" y="157"/>
                    <a:pt x="190" y="157"/>
                  </a:cubicBezTo>
                  <a:cubicBezTo>
                    <a:pt x="190" y="109"/>
                    <a:pt x="190" y="109"/>
                    <a:pt x="190" y="109"/>
                  </a:cubicBezTo>
                  <a:cubicBezTo>
                    <a:pt x="214" y="109"/>
                    <a:pt x="214" y="109"/>
                    <a:pt x="214" y="109"/>
                  </a:cubicBezTo>
                  <a:lnTo>
                    <a:pt x="214" y="157"/>
                  </a:lnTo>
                  <a:close/>
                  <a:moveTo>
                    <a:pt x="223" y="56"/>
                  </a:moveTo>
                  <a:cubicBezTo>
                    <a:pt x="223" y="8"/>
                    <a:pt x="223" y="8"/>
                    <a:pt x="223" y="8"/>
                  </a:cubicBezTo>
                  <a:cubicBezTo>
                    <a:pt x="223" y="4"/>
                    <a:pt x="219" y="0"/>
                    <a:pt x="214" y="0"/>
                  </a:cubicBezTo>
                  <a:cubicBezTo>
                    <a:pt x="190" y="0"/>
                    <a:pt x="190" y="0"/>
                    <a:pt x="190" y="0"/>
                  </a:cubicBezTo>
                  <a:cubicBezTo>
                    <a:pt x="184" y="0"/>
                    <a:pt x="181" y="4"/>
                    <a:pt x="181" y="8"/>
                  </a:cubicBezTo>
                  <a:cubicBezTo>
                    <a:pt x="181" y="56"/>
                    <a:pt x="181" y="56"/>
                    <a:pt x="181" y="56"/>
                  </a:cubicBezTo>
                  <a:cubicBezTo>
                    <a:pt x="181" y="61"/>
                    <a:pt x="184" y="65"/>
                    <a:pt x="190" y="65"/>
                  </a:cubicBezTo>
                  <a:cubicBezTo>
                    <a:pt x="214" y="65"/>
                    <a:pt x="214" y="65"/>
                    <a:pt x="214" y="65"/>
                  </a:cubicBezTo>
                  <a:cubicBezTo>
                    <a:pt x="219" y="65"/>
                    <a:pt x="223" y="61"/>
                    <a:pt x="223" y="56"/>
                  </a:cubicBezTo>
                  <a:close/>
                  <a:moveTo>
                    <a:pt x="214" y="56"/>
                  </a:moveTo>
                  <a:cubicBezTo>
                    <a:pt x="190" y="56"/>
                    <a:pt x="190" y="56"/>
                    <a:pt x="190" y="56"/>
                  </a:cubicBezTo>
                  <a:cubicBezTo>
                    <a:pt x="190" y="8"/>
                    <a:pt x="190" y="8"/>
                    <a:pt x="190" y="8"/>
                  </a:cubicBezTo>
                  <a:cubicBezTo>
                    <a:pt x="214" y="8"/>
                    <a:pt x="214" y="8"/>
                    <a:pt x="214" y="8"/>
                  </a:cubicBezTo>
                  <a:lnTo>
                    <a:pt x="214" y="56"/>
                  </a:lnTo>
                  <a:close/>
                  <a:moveTo>
                    <a:pt x="162" y="262"/>
                  </a:moveTo>
                  <a:cubicBezTo>
                    <a:pt x="162" y="240"/>
                    <a:pt x="162" y="240"/>
                    <a:pt x="162" y="240"/>
                  </a:cubicBezTo>
                  <a:cubicBezTo>
                    <a:pt x="162" y="239"/>
                    <a:pt x="161" y="237"/>
                    <a:pt x="158" y="237"/>
                  </a:cubicBezTo>
                  <a:cubicBezTo>
                    <a:pt x="155" y="237"/>
                    <a:pt x="154" y="239"/>
                    <a:pt x="154" y="240"/>
                  </a:cubicBezTo>
                  <a:cubicBezTo>
                    <a:pt x="154" y="258"/>
                    <a:pt x="154" y="258"/>
                    <a:pt x="154" y="258"/>
                  </a:cubicBezTo>
                  <a:cubicBezTo>
                    <a:pt x="145" y="258"/>
                    <a:pt x="145" y="258"/>
                    <a:pt x="145" y="258"/>
                  </a:cubicBezTo>
                  <a:cubicBezTo>
                    <a:pt x="145" y="201"/>
                    <a:pt x="145" y="201"/>
                    <a:pt x="145" y="201"/>
                  </a:cubicBezTo>
                  <a:cubicBezTo>
                    <a:pt x="125" y="201"/>
                    <a:pt x="125" y="201"/>
                    <a:pt x="125" y="201"/>
                  </a:cubicBezTo>
                  <a:cubicBezTo>
                    <a:pt x="123" y="201"/>
                    <a:pt x="120" y="202"/>
                    <a:pt x="120" y="205"/>
                  </a:cubicBezTo>
                  <a:cubicBezTo>
                    <a:pt x="120" y="208"/>
                    <a:pt x="123" y="209"/>
                    <a:pt x="125" y="209"/>
                  </a:cubicBezTo>
                  <a:cubicBezTo>
                    <a:pt x="137" y="209"/>
                    <a:pt x="137" y="209"/>
                    <a:pt x="137" y="209"/>
                  </a:cubicBezTo>
                  <a:cubicBezTo>
                    <a:pt x="137" y="258"/>
                    <a:pt x="137" y="258"/>
                    <a:pt x="137" y="258"/>
                  </a:cubicBezTo>
                  <a:cubicBezTo>
                    <a:pt x="125" y="258"/>
                    <a:pt x="125" y="258"/>
                    <a:pt x="125" y="258"/>
                  </a:cubicBezTo>
                  <a:cubicBezTo>
                    <a:pt x="123" y="258"/>
                    <a:pt x="120" y="259"/>
                    <a:pt x="120" y="262"/>
                  </a:cubicBezTo>
                  <a:cubicBezTo>
                    <a:pt x="120" y="265"/>
                    <a:pt x="123" y="266"/>
                    <a:pt x="125" y="266"/>
                  </a:cubicBezTo>
                  <a:cubicBezTo>
                    <a:pt x="158" y="266"/>
                    <a:pt x="158" y="266"/>
                    <a:pt x="158" y="266"/>
                  </a:cubicBezTo>
                  <a:cubicBezTo>
                    <a:pt x="160" y="266"/>
                    <a:pt x="162" y="265"/>
                    <a:pt x="162" y="262"/>
                  </a:cubicBezTo>
                  <a:close/>
                  <a:moveTo>
                    <a:pt x="162" y="161"/>
                  </a:moveTo>
                  <a:cubicBezTo>
                    <a:pt x="162" y="140"/>
                    <a:pt x="162" y="140"/>
                    <a:pt x="162" y="140"/>
                  </a:cubicBezTo>
                  <a:cubicBezTo>
                    <a:pt x="162" y="138"/>
                    <a:pt x="161" y="136"/>
                    <a:pt x="158" y="136"/>
                  </a:cubicBezTo>
                  <a:cubicBezTo>
                    <a:pt x="155" y="136"/>
                    <a:pt x="154" y="138"/>
                    <a:pt x="154" y="140"/>
                  </a:cubicBezTo>
                  <a:cubicBezTo>
                    <a:pt x="154" y="157"/>
                    <a:pt x="154" y="157"/>
                    <a:pt x="154" y="157"/>
                  </a:cubicBezTo>
                  <a:cubicBezTo>
                    <a:pt x="145" y="157"/>
                    <a:pt x="145" y="157"/>
                    <a:pt x="145" y="157"/>
                  </a:cubicBezTo>
                  <a:cubicBezTo>
                    <a:pt x="145" y="100"/>
                    <a:pt x="145" y="100"/>
                    <a:pt x="145" y="100"/>
                  </a:cubicBezTo>
                  <a:cubicBezTo>
                    <a:pt x="125" y="100"/>
                    <a:pt x="125" y="100"/>
                    <a:pt x="125" y="100"/>
                  </a:cubicBezTo>
                  <a:cubicBezTo>
                    <a:pt x="123" y="100"/>
                    <a:pt x="120" y="101"/>
                    <a:pt x="120" y="105"/>
                  </a:cubicBezTo>
                  <a:cubicBezTo>
                    <a:pt x="120" y="107"/>
                    <a:pt x="123" y="109"/>
                    <a:pt x="125" y="109"/>
                  </a:cubicBezTo>
                  <a:cubicBezTo>
                    <a:pt x="137" y="109"/>
                    <a:pt x="137" y="109"/>
                    <a:pt x="137" y="109"/>
                  </a:cubicBezTo>
                  <a:cubicBezTo>
                    <a:pt x="137" y="157"/>
                    <a:pt x="137" y="157"/>
                    <a:pt x="137" y="157"/>
                  </a:cubicBezTo>
                  <a:cubicBezTo>
                    <a:pt x="125" y="157"/>
                    <a:pt x="125" y="157"/>
                    <a:pt x="125" y="157"/>
                  </a:cubicBezTo>
                  <a:cubicBezTo>
                    <a:pt x="123" y="157"/>
                    <a:pt x="120" y="158"/>
                    <a:pt x="120" y="161"/>
                  </a:cubicBezTo>
                  <a:cubicBezTo>
                    <a:pt x="120" y="164"/>
                    <a:pt x="123" y="165"/>
                    <a:pt x="125" y="165"/>
                  </a:cubicBezTo>
                  <a:cubicBezTo>
                    <a:pt x="158" y="165"/>
                    <a:pt x="158" y="165"/>
                    <a:pt x="158" y="165"/>
                  </a:cubicBezTo>
                  <a:cubicBezTo>
                    <a:pt x="160" y="165"/>
                    <a:pt x="162" y="164"/>
                    <a:pt x="162" y="161"/>
                  </a:cubicBezTo>
                  <a:close/>
                  <a:moveTo>
                    <a:pt x="162" y="61"/>
                  </a:moveTo>
                  <a:cubicBezTo>
                    <a:pt x="162" y="40"/>
                    <a:pt x="162" y="40"/>
                    <a:pt x="162" y="40"/>
                  </a:cubicBezTo>
                  <a:cubicBezTo>
                    <a:pt x="162" y="37"/>
                    <a:pt x="161" y="36"/>
                    <a:pt x="158" y="36"/>
                  </a:cubicBezTo>
                  <a:cubicBezTo>
                    <a:pt x="155" y="36"/>
                    <a:pt x="154" y="37"/>
                    <a:pt x="154" y="40"/>
                  </a:cubicBezTo>
                  <a:cubicBezTo>
                    <a:pt x="154" y="56"/>
                    <a:pt x="154" y="56"/>
                    <a:pt x="154" y="56"/>
                  </a:cubicBezTo>
                  <a:cubicBezTo>
                    <a:pt x="145" y="56"/>
                    <a:pt x="145" y="56"/>
                    <a:pt x="145" y="56"/>
                  </a:cubicBezTo>
                  <a:cubicBezTo>
                    <a:pt x="145" y="0"/>
                    <a:pt x="145" y="0"/>
                    <a:pt x="145" y="0"/>
                  </a:cubicBezTo>
                  <a:cubicBezTo>
                    <a:pt x="125" y="0"/>
                    <a:pt x="125" y="0"/>
                    <a:pt x="125" y="0"/>
                  </a:cubicBezTo>
                  <a:cubicBezTo>
                    <a:pt x="123" y="0"/>
                    <a:pt x="120" y="1"/>
                    <a:pt x="120" y="4"/>
                  </a:cubicBezTo>
                  <a:cubicBezTo>
                    <a:pt x="120" y="7"/>
                    <a:pt x="123" y="8"/>
                    <a:pt x="125" y="8"/>
                  </a:cubicBezTo>
                  <a:cubicBezTo>
                    <a:pt x="137" y="8"/>
                    <a:pt x="137" y="8"/>
                    <a:pt x="137" y="8"/>
                  </a:cubicBezTo>
                  <a:cubicBezTo>
                    <a:pt x="137" y="56"/>
                    <a:pt x="137" y="56"/>
                    <a:pt x="137" y="56"/>
                  </a:cubicBezTo>
                  <a:cubicBezTo>
                    <a:pt x="125" y="56"/>
                    <a:pt x="125" y="56"/>
                    <a:pt x="125" y="56"/>
                  </a:cubicBezTo>
                  <a:cubicBezTo>
                    <a:pt x="123" y="56"/>
                    <a:pt x="120" y="58"/>
                    <a:pt x="120" y="61"/>
                  </a:cubicBezTo>
                  <a:cubicBezTo>
                    <a:pt x="120" y="64"/>
                    <a:pt x="123" y="65"/>
                    <a:pt x="125" y="65"/>
                  </a:cubicBezTo>
                  <a:cubicBezTo>
                    <a:pt x="158" y="65"/>
                    <a:pt x="158" y="65"/>
                    <a:pt x="158" y="65"/>
                  </a:cubicBezTo>
                  <a:cubicBezTo>
                    <a:pt x="160" y="65"/>
                    <a:pt x="162" y="64"/>
                    <a:pt x="162" y="61"/>
                  </a:cubicBezTo>
                  <a:close/>
                  <a:moveTo>
                    <a:pt x="101" y="258"/>
                  </a:moveTo>
                  <a:cubicBezTo>
                    <a:pt x="101" y="209"/>
                    <a:pt x="101" y="209"/>
                    <a:pt x="101" y="209"/>
                  </a:cubicBezTo>
                  <a:cubicBezTo>
                    <a:pt x="101" y="205"/>
                    <a:pt x="98" y="201"/>
                    <a:pt x="93" y="201"/>
                  </a:cubicBezTo>
                  <a:cubicBezTo>
                    <a:pt x="68" y="201"/>
                    <a:pt x="68" y="201"/>
                    <a:pt x="68" y="201"/>
                  </a:cubicBezTo>
                  <a:cubicBezTo>
                    <a:pt x="64" y="201"/>
                    <a:pt x="60" y="205"/>
                    <a:pt x="60" y="209"/>
                  </a:cubicBezTo>
                  <a:cubicBezTo>
                    <a:pt x="60" y="258"/>
                    <a:pt x="60" y="258"/>
                    <a:pt x="60" y="258"/>
                  </a:cubicBezTo>
                  <a:cubicBezTo>
                    <a:pt x="60" y="262"/>
                    <a:pt x="64" y="266"/>
                    <a:pt x="68" y="266"/>
                  </a:cubicBezTo>
                  <a:cubicBezTo>
                    <a:pt x="93" y="266"/>
                    <a:pt x="93" y="266"/>
                    <a:pt x="93" y="266"/>
                  </a:cubicBezTo>
                  <a:cubicBezTo>
                    <a:pt x="98" y="266"/>
                    <a:pt x="101" y="262"/>
                    <a:pt x="101" y="258"/>
                  </a:cubicBezTo>
                  <a:close/>
                  <a:moveTo>
                    <a:pt x="93" y="258"/>
                  </a:moveTo>
                  <a:cubicBezTo>
                    <a:pt x="68" y="258"/>
                    <a:pt x="68" y="258"/>
                    <a:pt x="68" y="258"/>
                  </a:cubicBezTo>
                  <a:cubicBezTo>
                    <a:pt x="68" y="209"/>
                    <a:pt x="68" y="209"/>
                    <a:pt x="68" y="209"/>
                  </a:cubicBezTo>
                  <a:cubicBezTo>
                    <a:pt x="93" y="209"/>
                    <a:pt x="93" y="209"/>
                    <a:pt x="93" y="209"/>
                  </a:cubicBezTo>
                  <a:lnTo>
                    <a:pt x="93" y="258"/>
                  </a:lnTo>
                  <a:close/>
                  <a:moveTo>
                    <a:pt x="101" y="157"/>
                  </a:moveTo>
                  <a:cubicBezTo>
                    <a:pt x="101" y="109"/>
                    <a:pt x="101" y="109"/>
                    <a:pt x="101" y="109"/>
                  </a:cubicBezTo>
                  <a:cubicBezTo>
                    <a:pt x="101" y="104"/>
                    <a:pt x="98" y="100"/>
                    <a:pt x="93" y="100"/>
                  </a:cubicBezTo>
                  <a:cubicBezTo>
                    <a:pt x="68" y="100"/>
                    <a:pt x="68" y="100"/>
                    <a:pt x="68" y="100"/>
                  </a:cubicBezTo>
                  <a:cubicBezTo>
                    <a:pt x="64" y="100"/>
                    <a:pt x="60" y="104"/>
                    <a:pt x="60" y="109"/>
                  </a:cubicBezTo>
                  <a:cubicBezTo>
                    <a:pt x="60" y="157"/>
                    <a:pt x="60" y="157"/>
                    <a:pt x="60" y="157"/>
                  </a:cubicBezTo>
                  <a:cubicBezTo>
                    <a:pt x="60" y="162"/>
                    <a:pt x="64" y="165"/>
                    <a:pt x="68" y="165"/>
                  </a:cubicBezTo>
                  <a:cubicBezTo>
                    <a:pt x="93" y="165"/>
                    <a:pt x="93" y="165"/>
                    <a:pt x="93" y="165"/>
                  </a:cubicBezTo>
                  <a:cubicBezTo>
                    <a:pt x="98" y="165"/>
                    <a:pt x="101" y="162"/>
                    <a:pt x="101" y="157"/>
                  </a:cubicBezTo>
                  <a:close/>
                  <a:moveTo>
                    <a:pt x="93" y="157"/>
                  </a:moveTo>
                  <a:cubicBezTo>
                    <a:pt x="68" y="157"/>
                    <a:pt x="68" y="157"/>
                    <a:pt x="68" y="157"/>
                  </a:cubicBezTo>
                  <a:cubicBezTo>
                    <a:pt x="68" y="109"/>
                    <a:pt x="68" y="109"/>
                    <a:pt x="68" y="109"/>
                  </a:cubicBezTo>
                  <a:cubicBezTo>
                    <a:pt x="93" y="109"/>
                    <a:pt x="93" y="109"/>
                    <a:pt x="93" y="109"/>
                  </a:cubicBezTo>
                  <a:lnTo>
                    <a:pt x="93" y="157"/>
                  </a:lnTo>
                  <a:close/>
                  <a:moveTo>
                    <a:pt x="101" y="56"/>
                  </a:moveTo>
                  <a:cubicBezTo>
                    <a:pt x="101" y="8"/>
                    <a:pt x="101" y="8"/>
                    <a:pt x="101" y="8"/>
                  </a:cubicBezTo>
                  <a:cubicBezTo>
                    <a:pt x="101" y="4"/>
                    <a:pt x="98" y="0"/>
                    <a:pt x="93" y="0"/>
                  </a:cubicBezTo>
                  <a:cubicBezTo>
                    <a:pt x="68" y="0"/>
                    <a:pt x="68" y="0"/>
                    <a:pt x="68" y="0"/>
                  </a:cubicBezTo>
                  <a:cubicBezTo>
                    <a:pt x="64" y="0"/>
                    <a:pt x="60" y="4"/>
                    <a:pt x="60" y="8"/>
                  </a:cubicBezTo>
                  <a:cubicBezTo>
                    <a:pt x="60" y="56"/>
                    <a:pt x="60" y="56"/>
                    <a:pt x="60" y="56"/>
                  </a:cubicBezTo>
                  <a:cubicBezTo>
                    <a:pt x="60" y="61"/>
                    <a:pt x="64" y="65"/>
                    <a:pt x="68" y="65"/>
                  </a:cubicBezTo>
                  <a:cubicBezTo>
                    <a:pt x="93" y="65"/>
                    <a:pt x="93" y="65"/>
                    <a:pt x="93" y="65"/>
                  </a:cubicBezTo>
                  <a:cubicBezTo>
                    <a:pt x="98" y="65"/>
                    <a:pt x="101" y="61"/>
                    <a:pt x="101" y="56"/>
                  </a:cubicBezTo>
                  <a:close/>
                  <a:moveTo>
                    <a:pt x="93" y="56"/>
                  </a:moveTo>
                  <a:cubicBezTo>
                    <a:pt x="68" y="56"/>
                    <a:pt x="68" y="56"/>
                    <a:pt x="68" y="56"/>
                  </a:cubicBezTo>
                  <a:cubicBezTo>
                    <a:pt x="68" y="8"/>
                    <a:pt x="68" y="8"/>
                    <a:pt x="68" y="8"/>
                  </a:cubicBezTo>
                  <a:cubicBezTo>
                    <a:pt x="93" y="8"/>
                    <a:pt x="93" y="8"/>
                    <a:pt x="93" y="8"/>
                  </a:cubicBezTo>
                  <a:lnTo>
                    <a:pt x="93" y="56"/>
                  </a:lnTo>
                  <a:close/>
                  <a:moveTo>
                    <a:pt x="41" y="262"/>
                  </a:moveTo>
                  <a:cubicBezTo>
                    <a:pt x="41" y="240"/>
                    <a:pt x="41" y="240"/>
                    <a:pt x="41" y="240"/>
                  </a:cubicBezTo>
                  <a:cubicBezTo>
                    <a:pt x="41" y="239"/>
                    <a:pt x="40" y="237"/>
                    <a:pt x="37" y="237"/>
                  </a:cubicBezTo>
                  <a:cubicBezTo>
                    <a:pt x="33" y="237"/>
                    <a:pt x="33" y="239"/>
                    <a:pt x="33" y="240"/>
                  </a:cubicBezTo>
                  <a:cubicBezTo>
                    <a:pt x="33" y="258"/>
                    <a:pt x="33" y="258"/>
                    <a:pt x="33" y="258"/>
                  </a:cubicBezTo>
                  <a:cubicBezTo>
                    <a:pt x="25" y="258"/>
                    <a:pt x="25" y="258"/>
                    <a:pt x="25" y="258"/>
                  </a:cubicBezTo>
                  <a:cubicBezTo>
                    <a:pt x="25" y="201"/>
                    <a:pt x="25" y="201"/>
                    <a:pt x="25" y="201"/>
                  </a:cubicBezTo>
                  <a:cubicBezTo>
                    <a:pt x="4" y="201"/>
                    <a:pt x="4" y="201"/>
                    <a:pt x="4" y="201"/>
                  </a:cubicBezTo>
                  <a:cubicBezTo>
                    <a:pt x="1" y="201"/>
                    <a:pt x="0" y="202"/>
                    <a:pt x="0" y="205"/>
                  </a:cubicBezTo>
                  <a:cubicBezTo>
                    <a:pt x="0" y="208"/>
                    <a:pt x="1" y="209"/>
                    <a:pt x="4" y="209"/>
                  </a:cubicBezTo>
                  <a:cubicBezTo>
                    <a:pt x="16" y="209"/>
                    <a:pt x="16" y="209"/>
                    <a:pt x="16" y="209"/>
                  </a:cubicBezTo>
                  <a:cubicBezTo>
                    <a:pt x="16" y="258"/>
                    <a:pt x="16" y="258"/>
                    <a:pt x="16" y="258"/>
                  </a:cubicBezTo>
                  <a:cubicBezTo>
                    <a:pt x="4" y="258"/>
                    <a:pt x="4" y="258"/>
                    <a:pt x="4" y="258"/>
                  </a:cubicBezTo>
                  <a:cubicBezTo>
                    <a:pt x="1" y="258"/>
                    <a:pt x="0" y="259"/>
                    <a:pt x="0" y="262"/>
                  </a:cubicBezTo>
                  <a:cubicBezTo>
                    <a:pt x="0" y="265"/>
                    <a:pt x="1" y="266"/>
                    <a:pt x="4" y="266"/>
                  </a:cubicBezTo>
                  <a:cubicBezTo>
                    <a:pt x="37" y="266"/>
                    <a:pt x="37" y="266"/>
                    <a:pt x="37" y="266"/>
                  </a:cubicBezTo>
                  <a:cubicBezTo>
                    <a:pt x="39" y="266"/>
                    <a:pt x="41" y="265"/>
                    <a:pt x="41" y="262"/>
                  </a:cubicBezTo>
                  <a:close/>
                  <a:moveTo>
                    <a:pt x="41" y="157"/>
                  </a:moveTo>
                  <a:cubicBezTo>
                    <a:pt x="41" y="109"/>
                    <a:pt x="41" y="109"/>
                    <a:pt x="41" y="109"/>
                  </a:cubicBezTo>
                  <a:cubicBezTo>
                    <a:pt x="41" y="104"/>
                    <a:pt x="37" y="100"/>
                    <a:pt x="33" y="100"/>
                  </a:cubicBezTo>
                  <a:cubicBezTo>
                    <a:pt x="7" y="100"/>
                    <a:pt x="7" y="100"/>
                    <a:pt x="7" y="100"/>
                  </a:cubicBezTo>
                  <a:cubicBezTo>
                    <a:pt x="3" y="100"/>
                    <a:pt x="0" y="104"/>
                    <a:pt x="0" y="109"/>
                  </a:cubicBezTo>
                  <a:cubicBezTo>
                    <a:pt x="0" y="157"/>
                    <a:pt x="0" y="157"/>
                    <a:pt x="0" y="157"/>
                  </a:cubicBezTo>
                  <a:cubicBezTo>
                    <a:pt x="0" y="162"/>
                    <a:pt x="3" y="165"/>
                    <a:pt x="7" y="165"/>
                  </a:cubicBezTo>
                  <a:cubicBezTo>
                    <a:pt x="33" y="165"/>
                    <a:pt x="33" y="165"/>
                    <a:pt x="33" y="165"/>
                  </a:cubicBezTo>
                  <a:cubicBezTo>
                    <a:pt x="37" y="165"/>
                    <a:pt x="41" y="162"/>
                    <a:pt x="41" y="157"/>
                  </a:cubicBezTo>
                  <a:close/>
                  <a:moveTo>
                    <a:pt x="33" y="157"/>
                  </a:moveTo>
                  <a:cubicBezTo>
                    <a:pt x="7" y="157"/>
                    <a:pt x="7" y="157"/>
                    <a:pt x="7" y="157"/>
                  </a:cubicBezTo>
                  <a:cubicBezTo>
                    <a:pt x="7" y="109"/>
                    <a:pt x="7" y="109"/>
                    <a:pt x="7" y="109"/>
                  </a:cubicBezTo>
                  <a:cubicBezTo>
                    <a:pt x="33" y="109"/>
                    <a:pt x="33" y="109"/>
                    <a:pt x="33" y="109"/>
                  </a:cubicBezTo>
                  <a:lnTo>
                    <a:pt x="33" y="157"/>
                  </a:lnTo>
                  <a:close/>
                  <a:moveTo>
                    <a:pt x="41" y="61"/>
                  </a:moveTo>
                  <a:cubicBezTo>
                    <a:pt x="41" y="40"/>
                    <a:pt x="41" y="40"/>
                    <a:pt x="41" y="40"/>
                  </a:cubicBezTo>
                  <a:cubicBezTo>
                    <a:pt x="41" y="37"/>
                    <a:pt x="40" y="36"/>
                    <a:pt x="37" y="36"/>
                  </a:cubicBezTo>
                  <a:cubicBezTo>
                    <a:pt x="33" y="36"/>
                    <a:pt x="33" y="37"/>
                    <a:pt x="33" y="40"/>
                  </a:cubicBezTo>
                  <a:cubicBezTo>
                    <a:pt x="33" y="56"/>
                    <a:pt x="33" y="56"/>
                    <a:pt x="33" y="56"/>
                  </a:cubicBezTo>
                  <a:cubicBezTo>
                    <a:pt x="25" y="56"/>
                    <a:pt x="25" y="56"/>
                    <a:pt x="25" y="56"/>
                  </a:cubicBezTo>
                  <a:cubicBezTo>
                    <a:pt x="25" y="0"/>
                    <a:pt x="25" y="0"/>
                    <a:pt x="25" y="0"/>
                  </a:cubicBezTo>
                  <a:cubicBezTo>
                    <a:pt x="4" y="0"/>
                    <a:pt x="4" y="0"/>
                    <a:pt x="4" y="0"/>
                  </a:cubicBezTo>
                  <a:cubicBezTo>
                    <a:pt x="1" y="0"/>
                    <a:pt x="0" y="1"/>
                    <a:pt x="0" y="4"/>
                  </a:cubicBezTo>
                  <a:cubicBezTo>
                    <a:pt x="0" y="7"/>
                    <a:pt x="1" y="8"/>
                    <a:pt x="4" y="8"/>
                  </a:cubicBezTo>
                  <a:cubicBezTo>
                    <a:pt x="16" y="8"/>
                    <a:pt x="16" y="8"/>
                    <a:pt x="16" y="8"/>
                  </a:cubicBezTo>
                  <a:cubicBezTo>
                    <a:pt x="16" y="56"/>
                    <a:pt x="16" y="56"/>
                    <a:pt x="16" y="56"/>
                  </a:cubicBezTo>
                  <a:cubicBezTo>
                    <a:pt x="4" y="56"/>
                    <a:pt x="4" y="56"/>
                    <a:pt x="4" y="56"/>
                  </a:cubicBezTo>
                  <a:cubicBezTo>
                    <a:pt x="1" y="56"/>
                    <a:pt x="0" y="58"/>
                    <a:pt x="0" y="61"/>
                  </a:cubicBezTo>
                  <a:cubicBezTo>
                    <a:pt x="0" y="64"/>
                    <a:pt x="1" y="65"/>
                    <a:pt x="4" y="65"/>
                  </a:cubicBezTo>
                  <a:cubicBezTo>
                    <a:pt x="37" y="65"/>
                    <a:pt x="37" y="65"/>
                    <a:pt x="37" y="65"/>
                  </a:cubicBezTo>
                  <a:cubicBezTo>
                    <a:pt x="39" y="65"/>
                    <a:pt x="41" y="64"/>
                    <a:pt x="4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90" name="MS logo gray - EMF"/>
          <p:cNvPicPr>
            <a:picLocks noChangeAspect="1"/>
          </p:cNvPicPr>
          <p:nvPr userDrawn="1"/>
        </p:nvPicPr>
        <p:blipFill>
          <a:blip r:embed="rId2"/>
          <a:stretch>
            <a:fillRect/>
          </a:stretch>
        </p:blipFill>
        <p:spPr bwMode="black">
          <a:xfrm>
            <a:off x="463116" y="479425"/>
            <a:ext cx="1451843" cy="310896"/>
          </a:xfrm>
          <a:prstGeom prst="rect">
            <a:avLst/>
          </a:prstGeom>
        </p:spPr>
      </p:pic>
    </p:spTree>
    <p:extLst>
      <p:ext uri="{BB962C8B-B14F-4D97-AF65-F5344CB8AC3E}">
        <p14:creationId xmlns:p14="http://schemas.microsoft.com/office/powerpoint/2010/main" val="1395663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04285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5812" y="2678502"/>
            <a:ext cx="5957272"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741374" y="1877851"/>
            <a:ext cx="6400800" cy="1042416"/>
          </a:xfrm>
        </p:spPr>
        <p:txBody>
          <a:bodyPr lIns="182880" tIns="146304" rIns="182880" bIns="146304"/>
          <a:lstStyle>
            <a:lvl1pPr marL="0" indent="0">
              <a:buNone/>
              <a:defRPr sz="5400"/>
            </a:lvl1pPr>
          </a:lstStyle>
          <a:p>
            <a:pPr lvl="0"/>
            <a:r>
              <a:rPr lang="en-US" dirty="0"/>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741374" y="4281699"/>
            <a:ext cx="6400800" cy="1043363"/>
          </a:xfrm>
        </p:spPr>
        <p:txBody>
          <a:bodyPr lIns="182880" tIns="146304" rIns="182880" bIns="146304"/>
          <a:lstStyle>
            <a:lvl1pPr marL="0" indent="0">
              <a:buNone/>
              <a:defRPr sz="5400"/>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6148" y="3480100"/>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741374" y="3480100"/>
            <a:ext cx="6400800" cy="1043363"/>
          </a:xfrm>
        </p:spPr>
        <p:txBody>
          <a:bodyPr lIns="182880" tIns="146304" rIns="182880" bIns="146304"/>
          <a:lstStyle>
            <a:lvl1pPr marL="0" indent="0">
              <a:buNone/>
              <a:defRPr sz="5400"/>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741374" y="2678502"/>
            <a:ext cx="5644366"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6148" y="1076253"/>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741374" y="1076253"/>
            <a:ext cx="6400800" cy="1043363"/>
          </a:xfrm>
        </p:spPr>
        <p:txBody>
          <a:bodyPr lIns="182880" tIns="146304" rIns="182880" bIns="146304"/>
          <a:lstStyle>
            <a:lvl1pPr marL="0" indent="0">
              <a:buNone/>
              <a:defRPr sz="5400"/>
            </a:lvl1pPr>
          </a:lstStyle>
          <a:p>
            <a:pPr lvl="0"/>
            <a:r>
              <a:rPr lang="en-US" dirty="0"/>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6148" y="1876904"/>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6148" y="4281699"/>
            <a:ext cx="5774938" cy="1043363"/>
          </a:xfrm>
          <a:prstGeom prst="rect">
            <a:avLst/>
          </a:prstGeom>
          <a:noFill/>
        </p:spPr>
        <p:txBody>
          <a:bodyPr wrap="square" lIns="182880" tIns="146304" rIns="182880" bIns="146304" rtlCol="0">
            <a:spAutoFit/>
          </a:bodyPr>
          <a:lstStyle/>
          <a:p>
            <a:pPr algn="r">
              <a:lnSpc>
                <a:spcPct val="90000"/>
              </a:lnSpc>
              <a:spcAft>
                <a:spcPts val="600"/>
              </a:spcAft>
            </a:pPr>
            <a:r>
              <a:rPr lang="en-US" sz="5400" dirty="0">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490063" y="6118886"/>
            <a:ext cx="4722575" cy="627864"/>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1998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grpSp>
        <p:nvGrpSpPr>
          <p:cNvPr id="12" name="Group 11"/>
          <p:cNvGrpSpPr/>
          <p:nvPr userDrawn="1"/>
        </p:nvGrpSpPr>
        <p:grpSpPr>
          <a:xfrm>
            <a:off x="7490063" y="6118886"/>
            <a:ext cx="4722575" cy="627864"/>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5812" y="2678502"/>
            <a:ext cx="1126667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5026089" y="3480100"/>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5026089" y="4281699"/>
            <a:ext cx="5774938" cy="1043363"/>
          </a:xfrm>
          <a:prstGeom prst="rect">
            <a:avLst/>
          </a:prstGeom>
          <a:noFill/>
        </p:spPr>
        <p:txBody>
          <a:bodyPr wrap="square" lIns="182880" tIns="146304" rIns="182880" bIns="146304" rtlCol="0">
            <a:spAutoFit/>
          </a:bodyPr>
          <a:lstStyle/>
          <a:p>
            <a:pPr algn="l">
              <a:lnSpc>
                <a:spcPct val="90000"/>
              </a:lnSpc>
              <a:spcAft>
                <a:spcPts val="600"/>
              </a:spcAft>
            </a:pPr>
            <a:r>
              <a:rPr lang="en-US" sz="5400" dirty="0">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026089" y="1876904"/>
            <a:ext cx="2582630"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5026089" y="1076253"/>
            <a:ext cx="3014864" cy="1043363"/>
          </a:xfrm>
          <a:prstGeom prst="rect">
            <a:avLst/>
          </a:prstGeom>
          <a:noFill/>
        </p:spPr>
        <p:txBody>
          <a:bodyPr wrap="none" lIns="182880" tIns="146304" rIns="182880" bIns="146304" rtlCol="0">
            <a:spAutoFit/>
          </a:bodyPr>
          <a:lstStyle/>
          <a:p>
            <a:pPr>
              <a:lnSpc>
                <a:spcPct val="90000"/>
              </a:lnSpc>
              <a:spcAft>
                <a:spcPts val="600"/>
              </a:spcAft>
            </a:pPr>
            <a:r>
              <a:rPr lang="en-US" sz="5400" dirty="0">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984638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
        <p:nvSpPr>
          <p:cNvPr id="7" name="Text Placeholder 16"/>
          <p:cNvSpPr>
            <a:spLocks noGrp="1"/>
          </p:cNvSpPr>
          <p:nvPr>
            <p:ph type="body" sz="quarter" idx="13" hasCustomPrompt="1"/>
          </p:nvPr>
        </p:nvSpPr>
        <p:spPr>
          <a:xfrm>
            <a:off x="8506905" y="294304"/>
            <a:ext cx="3657600" cy="572464"/>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8" name="Text Placeholder 16"/>
          <p:cNvSpPr>
            <a:spLocks noGrp="1"/>
          </p:cNvSpPr>
          <p:nvPr>
            <p:ph type="body" sz="quarter" idx="14" hasCustomPrompt="1"/>
          </p:nvPr>
        </p:nvSpPr>
        <p:spPr>
          <a:xfrm>
            <a:off x="274703" y="6122305"/>
            <a:ext cx="3657600" cy="572464"/>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extLst>
      <p:ext uri="{BB962C8B-B14F-4D97-AF65-F5344CB8AC3E}">
        <p14:creationId xmlns:p14="http://schemas.microsoft.com/office/powerpoint/2010/main" val="2602364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536705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16064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
        <p:nvSpPr>
          <p:cNvPr id="6"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9157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0894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5869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13030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16028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0341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26209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461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52371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black">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818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41241" y="2336980"/>
            <a:ext cx="10455312" cy="10297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41999" y="4490905"/>
            <a:ext cx="11152477" cy="2206758"/>
          </a:xfrm>
          <a:prstGeom prst="rect">
            <a:avLst/>
          </a:prstGeom>
          <a:noFill/>
        </p:spPr>
        <p:txBody>
          <a:bodyPr wrap="none" lIns="182880" tIns="146304" rIns="182880" bIns="146304" rtlCol="0" anchor="ctr">
            <a:spAutoFit/>
          </a:bodyPr>
          <a:lstStyle/>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Microsoft Ready content is </a:t>
            </a: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200"/>
              </a:spcBef>
              <a:spcAft>
                <a:spcPts val="600"/>
              </a:spcAft>
            </a:pPr>
            <a:r>
              <a:rPr lang="en-US" sz="2200"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200"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200"/>
              </a:spcBef>
              <a:spcAft>
                <a:spcPts val="600"/>
              </a:spcAft>
            </a:pPr>
            <a:r>
              <a:rPr lang="en-US" sz="2200"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1840399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12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290840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9591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367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op Sub |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23328B-C5F1-4431-B4F3-E9DDC5CC2C3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455E480-06E3-466E-AB06-00AD3BF925E6}"/>
              </a:ext>
            </a:extLst>
          </p:cNvPr>
          <p:cNvSpPr>
            <a:spLocks noGrp="1"/>
          </p:cNvSpPr>
          <p:nvPr>
            <p:ph type="body" sz="quarter" idx="11" hasCustomPrompt="1"/>
          </p:nvPr>
        </p:nvSpPr>
        <p:spPr>
          <a:xfrm>
            <a:off x="274639" y="-552581"/>
            <a:ext cx="11889788" cy="357850"/>
          </a:xfrm>
        </p:spPr>
        <p:txBody>
          <a:bodyPr/>
          <a:lstStyle>
            <a:lvl1pPr>
              <a:defRPr sz="1224" b="0" spc="306">
                <a:latin typeface="+mn-lt"/>
              </a:defRPr>
            </a:lvl1pPr>
          </a:lstStyle>
          <a:p>
            <a:pPr lvl="0"/>
            <a:r>
              <a:rPr lang="en-US" dirty="0"/>
              <a:t>SUBHEAD 16 PT</a:t>
            </a:r>
          </a:p>
        </p:txBody>
      </p:sp>
    </p:spTree>
    <p:extLst>
      <p:ext uri="{BB962C8B-B14F-4D97-AF65-F5344CB8AC3E}">
        <p14:creationId xmlns:p14="http://schemas.microsoft.com/office/powerpoint/2010/main" val="81998086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5_Custom Layout">
    <p:spTree>
      <p:nvGrpSpPr>
        <p:cNvPr id="1" name="Shape 133"/>
        <p:cNvGrpSpPr/>
        <p:nvPr/>
      </p:nvGrpSpPr>
      <p:grpSpPr>
        <a:xfrm>
          <a:off x="0" y="0"/>
          <a:ext cx="0" cy="0"/>
          <a:chOff x="0" y="0"/>
          <a:chExt cx="0" cy="0"/>
        </a:xfrm>
      </p:grpSpPr>
      <p:sp>
        <p:nvSpPr>
          <p:cNvPr id="134" name="Shape 134"/>
          <p:cNvSpPr txBox="1">
            <a:spLocks noGrp="1"/>
          </p:cNvSpPr>
          <p:nvPr>
            <p:ph type="title"/>
          </p:nvPr>
        </p:nvSpPr>
        <p:spPr>
          <a:xfrm>
            <a:off x="368785" y="375009"/>
            <a:ext cx="11717912" cy="560936"/>
          </a:xfrm>
          <a:prstGeom prst="rect">
            <a:avLst/>
          </a:prstGeom>
          <a:noFill/>
          <a:ln>
            <a:noFill/>
          </a:ln>
        </p:spPr>
        <p:txBody>
          <a:bodyPr lIns="91425" tIns="91425" rIns="91425" bIns="91425" anchor="t" anchorCtr="0"/>
          <a:lstStyle>
            <a:lvl1pPr marL="0" marR="0" lvl="0" indent="0" algn="l" rtl="0">
              <a:lnSpc>
                <a:spcPct val="90000"/>
              </a:lnSpc>
              <a:spcBef>
                <a:spcPts val="765"/>
              </a:spcBef>
              <a:buClr>
                <a:srgbClr val="3F3F3F"/>
              </a:buClr>
              <a:buFont typeface="Arial"/>
              <a:buNone/>
              <a:defRPr sz="3672" b="1" i="0" u="none" strike="noStrike" cap="none">
                <a:solidFill>
                  <a:srgbClr val="3F3F3F"/>
                </a:solidFill>
                <a:latin typeface="Source Sans Pro SemiBold"/>
                <a:ea typeface="Source Sans Pro SemiBold"/>
                <a:cs typeface="Source Sans Pro SemiBold"/>
                <a:sym typeface="Source Sans Pro SemiBold"/>
              </a:defRPr>
            </a:lvl1pPr>
            <a:lvl2pPr lvl="1" indent="0">
              <a:spcBef>
                <a:spcPts val="0"/>
              </a:spcBef>
              <a:buNone/>
              <a:defRPr sz="1836"/>
            </a:lvl2pPr>
            <a:lvl3pPr lvl="2" indent="0">
              <a:spcBef>
                <a:spcPts val="0"/>
              </a:spcBef>
              <a:buNone/>
              <a:defRPr sz="1836"/>
            </a:lvl3pPr>
            <a:lvl4pPr lvl="3" indent="0">
              <a:spcBef>
                <a:spcPts val="0"/>
              </a:spcBef>
              <a:buNone/>
              <a:defRPr sz="1836"/>
            </a:lvl4pPr>
            <a:lvl5pPr lvl="4" indent="0">
              <a:spcBef>
                <a:spcPts val="0"/>
              </a:spcBef>
              <a:buNone/>
              <a:defRPr sz="1836"/>
            </a:lvl5pPr>
            <a:lvl6pPr lvl="5" indent="0">
              <a:spcBef>
                <a:spcPts val="0"/>
              </a:spcBef>
              <a:buNone/>
              <a:defRPr sz="1836"/>
            </a:lvl6pPr>
            <a:lvl7pPr lvl="6" indent="0">
              <a:spcBef>
                <a:spcPts val="0"/>
              </a:spcBef>
              <a:buNone/>
              <a:defRPr sz="1836"/>
            </a:lvl7pPr>
            <a:lvl8pPr lvl="7" indent="0">
              <a:spcBef>
                <a:spcPts val="0"/>
              </a:spcBef>
              <a:buNone/>
              <a:defRPr sz="1836"/>
            </a:lvl8pPr>
            <a:lvl9pPr lvl="8" indent="0">
              <a:spcBef>
                <a:spcPts val="0"/>
              </a:spcBef>
              <a:buNone/>
              <a:defRPr sz="1836"/>
            </a:lvl9pPr>
          </a:lstStyle>
          <a:p>
            <a:endParaRPr/>
          </a:p>
        </p:txBody>
      </p:sp>
      <p:sp>
        <p:nvSpPr>
          <p:cNvPr id="135" name="Shape 135"/>
          <p:cNvSpPr txBox="1">
            <a:spLocks noGrp="1"/>
          </p:cNvSpPr>
          <p:nvPr>
            <p:ph type="body" idx="1"/>
          </p:nvPr>
        </p:nvSpPr>
        <p:spPr>
          <a:xfrm>
            <a:off x="373027" y="1116695"/>
            <a:ext cx="3785417" cy="551980"/>
          </a:xfrm>
          <a:prstGeom prst="rect">
            <a:avLst/>
          </a:prstGeom>
          <a:noFill/>
          <a:ln>
            <a:noFill/>
          </a:ln>
        </p:spPr>
        <p:txBody>
          <a:bodyPr lIns="91425" tIns="91425" rIns="91425" bIns="91425" anchor="t" anchorCtr="0"/>
          <a:lstStyle>
            <a:lvl1pPr marL="174828" marR="0" lvl="0" indent="-6474" algn="l" rtl="0">
              <a:lnSpc>
                <a:spcPct val="90000"/>
              </a:lnSpc>
              <a:spcBef>
                <a:spcPts val="0"/>
              </a:spcBef>
              <a:spcAft>
                <a:spcPts val="612"/>
              </a:spcAft>
              <a:buClr>
                <a:srgbClr val="7F7F7F"/>
              </a:buClr>
              <a:buSzPct val="100000"/>
              <a:buFont typeface="Arial"/>
              <a:buChar char="•"/>
              <a:defRPr sz="2652" b="0" i="0">
                <a:solidFill>
                  <a:srgbClr val="3F3F3F"/>
                </a:solidFill>
                <a:latin typeface="Source Sans Pro"/>
                <a:ea typeface="Source Sans Pro"/>
                <a:cs typeface="Source Sans Pro"/>
                <a:sym typeface="Source Sans Pro"/>
              </a:defRPr>
            </a:lvl1pPr>
            <a:lvl2pPr marL="466209" marR="0" lvl="1" indent="-51801" algn="l" rtl="0">
              <a:lnSpc>
                <a:spcPct val="90000"/>
              </a:lnSpc>
              <a:spcBef>
                <a:spcPts val="0"/>
              </a:spcBef>
              <a:spcAft>
                <a:spcPts val="612"/>
              </a:spcAft>
              <a:buClr>
                <a:srgbClr val="7F7F7F"/>
              </a:buClr>
              <a:buSzPct val="100000"/>
              <a:buFont typeface="Arial"/>
              <a:buChar char="–"/>
              <a:defRPr sz="2040" b="0" i="0" u="none" strike="noStrike" cap="none">
                <a:solidFill>
                  <a:srgbClr val="3F3F3F"/>
                </a:solidFill>
                <a:latin typeface="Source Sans Pro"/>
                <a:ea typeface="Source Sans Pro"/>
                <a:cs typeface="Source Sans Pro"/>
                <a:sym typeface="Source Sans Pro"/>
              </a:defRPr>
            </a:lvl2pPr>
            <a:lvl3pPr marL="700932" marR="0" lvl="2"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3pPr>
            <a:lvl4pPr marL="932418" marR="0" lvl="3" indent="-64751"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4pPr>
            <a:lvl5pPr marL="1167141" marR="0" lvl="4"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5pPr>
            <a:lvl6pPr marL="723897" marR="0" lvl="5" indent="-76386" algn="l" rtl="0">
              <a:lnSpc>
                <a:spcPct val="90000"/>
              </a:lnSpc>
              <a:spcBef>
                <a:spcPts val="510"/>
              </a:spcBef>
              <a:buClr>
                <a:schemeClr val="dk1"/>
              </a:buClr>
              <a:buFont typeface="Arial"/>
              <a:buChar char="■"/>
              <a:defRPr sz="804" b="0" i="0" u="none" strike="noStrike" cap="none">
                <a:solidFill>
                  <a:schemeClr val="dk1"/>
                </a:solidFill>
                <a:latin typeface="Source Sans Pro"/>
                <a:ea typeface="Source Sans Pro"/>
                <a:cs typeface="Source Sans Pro"/>
                <a:sym typeface="Source Sans Pro"/>
              </a:defRPr>
            </a:lvl6pPr>
            <a:lvl7pPr marL="3030357" marR="0" lvl="6"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7pPr>
            <a:lvl8pPr marL="3496565" marR="0" lvl="7"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8pPr>
            <a:lvl9pPr marL="3962774" marR="0" lvl="8"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9pPr>
          </a:lstStyle>
          <a:p>
            <a:endParaRPr/>
          </a:p>
        </p:txBody>
      </p:sp>
      <p:sp>
        <p:nvSpPr>
          <p:cNvPr id="136" name="Shape 136"/>
          <p:cNvSpPr txBox="1">
            <a:spLocks noGrp="1"/>
          </p:cNvSpPr>
          <p:nvPr>
            <p:ph type="body" idx="2"/>
          </p:nvPr>
        </p:nvSpPr>
        <p:spPr>
          <a:xfrm>
            <a:off x="4333268" y="1116695"/>
            <a:ext cx="3785417" cy="551980"/>
          </a:xfrm>
          <a:prstGeom prst="rect">
            <a:avLst/>
          </a:prstGeom>
          <a:noFill/>
          <a:ln>
            <a:noFill/>
          </a:ln>
        </p:spPr>
        <p:txBody>
          <a:bodyPr lIns="91425" tIns="91425" rIns="91425" bIns="91425" anchor="t" anchorCtr="0"/>
          <a:lstStyle>
            <a:lvl1pPr marL="174828" marR="0" lvl="0" indent="-6474" algn="l" rtl="0">
              <a:lnSpc>
                <a:spcPct val="90000"/>
              </a:lnSpc>
              <a:spcBef>
                <a:spcPts val="0"/>
              </a:spcBef>
              <a:spcAft>
                <a:spcPts val="612"/>
              </a:spcAft>
              <a:buClr>
                <a:srgbClr val="7F7F7F"/>
              </a:buClr>
              <a:buSzPct val="100000"/>
              <a:buFont typeface="Arial"/>
              <a:buChar char="•"/>
              <a:defRPr sz="2652" b="0" i="0">
                <a:solidFill>
                  <a:srgbClr val="3F3F3F"/>
                </a:solidFill>
                <a:latin typeface="Source Sans Pro"/>
                <a:ea typeface="Source Sans Pro"/>
                <a:cs typeface="Source Sans Pro"/>
                <a:sym typeface="Source Sans Pro"/>
              </a:defRPr>
            </a:lvl1pPr>
            <a:lvl2pPr marL="466209" marR="0" lvl="1" indent="-51801" algn="l" rtl="0">
              <a:lnSpc>
                <a:spcPct val="90000"/>
              </a:lnSpc>
              <a:spcBef>
                <a:spcPts val="0"/>
              </a:spcBef>
              <a:spcAft>
                <a:spcPts val="612"/>
              </a:spcAft>
              <a:buClr>
                <a:srgbClr val="7F7F7F"/>
              </a:buClr>
              <a:buSzPct val="100000"/>
              <a:buFont typeface="Arial"/>
              <a:buChar char="–"/>
              <a:defRPr sz="2040" b="0" i="0" u="none" strike="noStrike" cap="none">
                <a:solidFill>
                  <a:srgbClr val="3F3F3F"/>
                </a:solidFill>
                <a:latin typeface="Source Sans Pro"/>
                <a:ea typeface="Source Sans Pro"/>
                <a:cs typeface="Source Sans Pro"/>
                <a:sym typeface="Source Sans Pro"/>
              </a:defRPr>
            </a:lvl2pPr>
            <a:lvl3pPr marL="700932" marR="0" lvl="2"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3pPr>
            <a:lvl4pPr marL="932418" marR="0" lvl="3" indent="-64751"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4pPr>
            <a:lvl5pPr marL="1167141" marR="0" lvl="4"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5pPr>
            <a:lvl6pPr marL="723897" marR="0" lvl="5" indent="-76386" algn="l" rtl="0">
              <a:lnSpc>
                <a:spcPct val="90000"/>
              </a:lnSpc>
              <a:spcBef>
                <a:spcPts val="510"/>
              </a:spcBef>
              <a:buClr>
                <a:schemeClr val="dk1"/>
              </a:buClr>
              <a:buFont typeface="Arial"/>
              <a:buChar char="■"/>
              <a:defRPr sz="804" b="0" i="0" u="none" strike="noStrike" cap="none">
                <a:solidFill>
                  <a:schemeClr val="dk1"/>
                </a:solidFill>
                <a:latin typeface="Source Sans Pro"/>
                <a:ea typeface="Source Sans Pro"/>
                <a:cs typeface="Source Sans Pro"/>
                <a:sym typeface="Source Sans Pro"/>
              </a:defRPr>
            </a:lvl6pPr>
            <a:lvl7pPr marL="3030357" marR="0" lvl="6"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7pPr>
            <a:lvl8pPr marL="3496565" marR="0" lvl="7"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8pPr>
            <a:lvl9pPr marL="3962774" marR="0" lvl="8"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9pPr>
          </a:lstStyle>
          <a:p>
            <a:endParaRPr/>
          </a:p>
        </p:txBody>
      </p:sp>
      <p:sp>
        <p:nvSpPr>
          <p:cNvPr id="137" name="Shape 137"/>
          <p:cNvSpPr txBox="1">
            <a:spLocks noGrp="1"/>
          </p:cNvSpPr>
          <p:nvPr>
            <p:ph type="body" idx="3"/>
          </p:nvPr>
        </p:nvSpPr>
        <p:spPr>
          <a:xfrm>
            <a:off x="8293508" y="1116695"/>
            <a:ext cx="3785417" cy="551980"/>
          </a:xfrm>
          <a:prstGeom prst="rect">
            <a:avLst/>
          </a:prstGeom>
          <a:noFill/>
          <a:ln>
            <a:noFill/>
          </a:ln>
        </p:spPr>
        <p:txBody>
          <a:bodyPr lIns="91425" tIns="91425" rIns="91425" bIns="91425" anchor="t" anchorCtr="0"/>
          <a:lstStyle>
            <a:lvl1pPr marL="174828" marR="0" lvl="0" indent="-6474" algn="l" rtl="0">
              <a:lnSpc>
                <a:spcPct val="90000"/>
              </a:lnSpc>
              <a:spcBef>
                <a:spcPts val="0"/>
              </a:spcBef>
              <a:spcAft>
                <a:spcPts val="612"/>
              </a:spcAft>
              <a:buClr>
                <a:srgbClr val="7F7F7F"/>
              </a:buClr>
              <a:buSzPct val="100000"/>
              <a:buFont typeface="Arial"/>
              <a:buChar char="•"/>
              <a:defRPr sz="2652" b="0" i="0">
                <a:solidFill>
                  <a:srgbClr val="3F3F3F"/>
                </a:solidFill>
                <a:latin typeface="Source Sans Pro"/>
                <a:ea typeface="Source Sans Pro"/>
                <a:cs typeface="Source Sans Pro"/>
                <a:sym typeface="Source Sans Pro"/>
              </a:defRPr>
            </a:lvl1pPr>
            <a:lvl2pPr marL="466209" marR="0" lvl="1" indent="-51801" algn="l" rtl="0">
              <a:lnSpc>
                <a:spcPct val="90000"/>
              </a:lnSpc>
              <a:spcBef>
                <a:spcPts val="0"/>
              </a:spcBef>
              <a:spcAft>
                <a:spcPts val="612"/>
              </a:spcAft>
              <a:buClr>
                <a:srgbClr val="7F7F7F"/>
              </a:buClr>
              <a:buSzPct val="100000"/>
              <a:buFont typeface="Arial"/>
              <a:buChar char="–"/>
              <a:defRPr sz="2040" b="0" i="0" u="none" strike="noStrike" cap="none">
                <a:solidFill>
                  <a:srgbClr val="3F3F3F"/>
                </a:solidFill>
                <a:latin typeface="Source Sans Pro"/>
                <a:ea typeface="Source Sans Pro"/>
                <a:cs typeface="Source Sans Pro"/>
                <a:sym typeface="Source Sans Pro"/>
              </a:defRPr>
            </a:lvl2pPr>
            <a:lvl3pPr marL="700932" marR="0" lvl="2"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3pPr>
            <a:lvl4pPr marL="932418" marR="0" lvl="3" indent="-64751"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4pPr>
            <a:lvl5pPr marL="1167141" marR="0" lvl="4" indent="-66369" algn="l" rtl="0">
              <a:lnSpc>
                <a:spcPct val="90000"/>
              </a:lnSpc>
              <a:spcBef>
                <a:spcPts val="0"/>
              </a:spcBef>
              <a:spcAft>
                <a:spcPts val="612"/>
              </a:spcAft>
              <a:buClr>
                <a:srgbClr val="7F7F7F"/>
              </a:buClr>
              <a:buSzPct val="100000"/>
              <a:buFont typeface="Arial"/>
              <a:buChar char="•"/>
              <a:defRPr sz="1836" b="0" i="0" u="none" strike="noStrike" cap="none">
                <a:solidFill>
                  <a:srgbClr val="3F3F3F"/>
                </a:solidFill>
                <a:latin typeface="Source Sans Pro"/>
                <a:ea typeface="Source Sans Pro"/>
                <a:cs typeface="Source Sans Pro"/>
                <a:sym typeface="Source Sans Pro"/>
              </a:defRPr>
            </a:lvl5pPr>
            <a:lvl6pPr marL="723897" marR="0" lvl="5" indent="-76386" algn="l" rtl="0">
              <a:lnSpc>
                <a:spcPct val="90000"/>
              </a:lnSpc>
              <a:spcBef>
                <a:spcPts val="510"/>
              </a:spcBef>
              <a:buClr>
                <a:schemeClr val="dk1"/>
              </a:buClr>
              <a:buFont typeface="Arial"/>
              <a:buChar char="■"/>
              <a:defRPr sz="804" b="0" i="0" u="none" strike="noStrike" cap="none">
                <a:solidFill>
                  <a:schemeClr val="dk1"/>
                </a:solidFill>
                <a:latin typeface="Source Sans Pro"/>
                <a:ea typeface="Source Sans Pro"/>
                <a:cs typeface="Source Sans Pro"/>
                <a:sym typeface="Source Sans Pro"/>
              </a:defRPr>
            </a:lvl6pPr>
            <a:lvl7pPr marL="3030357" marR="0" lvl="6"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7pPr>
            <a:lvl8pPr marL="3496565" marR="0" lvl="7"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8pPr>
            <a:lvl9pPr marL="3962774" marR="0" lvl="8" indent="-116552" algn="l" rtl="0">
              <a:lnSpc>
                <a:spcPct val="90000"/>
              </a:lnSpc>
              <a:spcBef>
                <a:spcPts val="510"/>
              </a:spcBef>
              <a:buClr>
                <a:schemeClr val="dk1"/>
              </a:buClr>
              <a:buSzPct val="100000"/>
              <a:buFont typeface="Arial"/>
              <a:buChar char="•"/>
              <a:defRPr sz="1836" b="0" i="0" u="none" strike="noStrike" cap="none">
                <a:solidFill>
                  <a:schemeClr val="dk1"/>
                </a:solidFill>
                <a:latin typeface="Source Sans Pro"/>
                <a:ea typeface="Source Sans Pro"/>
                <a:cs typeface="Source Sans Pro"/>
                <a:sym typeface="Source Sans Pro"/>
              </a:defRPr>
            </a:lvl9pPr>
          </a:lstStyle>
          <a:p>
            <a:endParaRPr/>
          </a:p>
        </p:txBody>
      </p:sp>
      <p:sp>
        <p:nvSpPr>
          <p:cNvPr id="138" name="Shape 138"/>
          <p:cNvSpPr txBox="1">
            <a:spLocks noGrp="1"/>
          </p:cNvSpPr>
          <p:nvPr>
            <p:ph type="sldNum" idx="12"/>
          </p:nvPr>
        </p:nvSpPr>
        <p:spPr>
          <a:xfrm>
            <a:off x="11814211" y="6574774"/>
            <a:ext cx="349775" cy="303174"/>
          </a:xfrm>
          <a:prstGeom prst="rect">
            <a:avLst/>
          </a:prstGeom>
          <a:noFill/>
          <a:ln>
            <a:noFill/>
          </a:ln>
        </p:spPr>
        <p:txBody>
          <a:bodyPr lIns="91425" tIns="45700" rIns="91425" bIns="45700" anchor="b" anchorCtr="0">
            <a:noAutofit/>
          </a:bodyPr>
          <a:lstStyle/>
          <a:p>
            <a:pPr algn="r">
              <a:buSzPct val="25000"/>
            </a:pPr>
            <a:fld id="{00000000-1234-1234-1234-123412341234}" type="slidenum">
              <a:rPr lang="en-US" sz="1020" smtClean="0">
                <a:solidFill>
                  <a:srgbClr val="262626"/>
                </a:solidFill>
                <a:latin typeface="Source Sans Pro Light"/>
                <a:ea typeface="Source Sans Pro Light"/>
                <a:cs typeface="Source Sans Pro Light"/>
                <a:sym typeface="Source Sans Pro Light"/>
              </a:rPr>
              <a:pPr algn="r">
                <a:buSzPct val="25000"/>
              </a:pPr>
              <a:t>‹#›</a:t>
            </a:fld>
            <a:endParaRPr lang="en-US" sz="1020">
              <a:solidFill>
                <a:srgbClr val="262626"/>
              </a:solidFill>
              <a:latin typeface="Source Sans Pro Light"/>
              <a:ea typeface="Source Sans Pro Light"/>
              <a:cs typeface="Source Sans Pro Light"/>
              <a:sym typeface="Source Sans Pro Light"/>
            </a:endParaRPr>
          </a:p>
        </p:txBody>
      </p:sp>
    </p:spTree>
    <p:extLst>
      <p:ext uri="{BB962C8B-B14F-4D97-AF65-F5344CB8AC3E}">
        <p14:creationId xmlns:p14="http://schemas.microsoft.com/office/powerpoint/2010/main" val="32260330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 Sub ">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917575"/>
          </a:xfrm>
        </p:spPr>
        <p:txBody>
          <a:bodyPr/>
          <a:lstStyle/>
          <a:p>
            <a:r>
              <a:rPr lang="en-US"/>
              <a:t>Click to edit Master title style</a:t>
            </a:r>
          </a:p>
        </p:txBody>
      </p:sp>
      <p:sp>
        <p:nvSpPr>
          <p:cNvPr id="6" name="Text Placeholder 5"/>
          <p:cNvSpPr>
            <a:spLocks noGrp="1"/>
          </p:cNvSpPr>
          <p:nvPr>
            <p:ph type="body" sz="quarter" idx="11"/>
          </p:nvPr>
        </p:nvSpPr>
        <p:spPr>
          <a:xfrm>
            <a:off x="273051" y="982662"/>
            <a:ext cx="11888787" cy="572464"/>
          </a:xfrm>
        </p:spPr>
        <p:txBody>
          <a:bodyPr/>
          <a:lstStyle>
            <a:lvl1pPr marL="0" indent="0">
              <a:buFont typeface="Arial" panose="020B0604020202020204" pitchFamily="34" charset="0"/>
              <a:buNone/>
              <a:defRPr sz="2800">
                <a:solidFill>
                  <a:schemeClr val="tx2"/>
                </a:solidFill>
              </a:defRPr>
            </a:lvl1pPr>
            <a:lvl2pPr marL="342834" indent="0">
              <a:buNone/>
              <a:defRPr/>
            </a:lvl2pPr>
            <a:lvl3pPr marL="571390" indent="0">
              <a:buNone/>
              <a:defRPr/>
            </a:lvl3pPr>
            <a:lvl4pPr marL="799946" indent="0">
              <a:buNone/>
              <a:defRPr/>
            </a:lvl4pPr>
            <a:lvl5pPr marL="1028503" indent="0">
              <a:buNone/>
              <a:defRPr/>
            </a:lvl5pPr>
          </a:lstStyle>
          <a:p>
            <a:pPr lvl="0"/>
            <a:r>
              <a:rPr lang="en-US"/>
              <a:t>Edit Master text styles</a:t>
            </a:r>
          </a:p>
        </p:txBody>
      </p:sp>
    </p:spTree>
    <p:extLst>
      <p:ext uri="{BB962C8B-B14F-4D97-AF65-F5344CB8AC3E}">
        <p14:creationId xmlns:p14="http://schemas.microsoft.com/office/powerpoint/2010/main" val="312463863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23934" y="605180"/>
            <a:ext cx="11588608" cy="778801"/>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23934" y="1567223"/>
            <a:ext cx="11588608" cy="683234"/>
          </a:xfrm>
          <a:prstGeom prst="rect">
            <a:avLst/>
          </a:prstGeom>
        </p:spPr>
        <p:txBody>
          <a:bodyPr wrap="square"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523132" y="6341400"/>
            <a:ext cx="746270" cy="535247"/>
          </a:xfrm>
          <a:prstGeom prst="rect">
            <a:avLst/>
          </a:prstGeom>
        </p:spPr>
        <p:txBody>
          <a:bodyPr wrap="square"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56252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984734166"/>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Only white backgroun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4146635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7071-2CE3-4EE3-8C29-2D915DE788C1}"/>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BD773108-B586-46FE-8001-6541E36726E2}"/>
              </a:ext>
            </a:extLst>
          </p:cNvPr>
          <p:cNvGrpSpPr/>
          <p:nvPr userDrawn="1"/>
        </p:nvGrpSpPr>
        <p:grpSpPr>
          <a:xfrm>
            <a:off x="1493288" y="1658916"/>
            <a:ext cx="8571436" cy="4348851"/>
            <a:chOff x="1463933" y="1626535"/>
            <a:chExt cx="8402940" cy="4263966"/>
          </a:xfrm>
          <a:solidFill>
            <a:schemeClr val="bg2"/>
          </a:solidFill>
        </p:grpSpPr>
        <p:sp>
          <p:nvSpPr>
            <p:cNvPr id="4" name="Rectangle 3">
              <a:extLst>
                <a:ext uri="{FF2B5EF4-FFF2-40B4-BE49-F238E27FC236}">
                  <a16:creationId xmlns:a16="http://schemas.microsoft.com/office/drawing/2014/main" id="{B9560209-0B17-4019-AF87-E675865BF355}"/>
                </a:ext>
              </a:extLst>
            </p:cNvPr>
            <p:cNvSpPr/>
            <p:nvPr userDrawn="1"/>
          </p:nvSpPr>
          <p:spPr bwMode="auto">
            <a:xfrm>
              <a:off x="1598965" y="1626535"/>
              <a:ext cx="8267908" cy="4263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 name="Right Bracket 4">
              <a:extLst>
                <a:ext uri="{FF2B5EF4-FFF2-40B4-BE49-F238E27FC236}">
                  <a16:creationId xmlns:a16="http://schemas.microsoft.com/office/drawing/2014/main" id="{6C964603-7A8B-4518-AC18-E736B3ACAAF2}"/>
                </a:ext>
              </a:extLst>
            </p:cNvPr>
            <p:cNvSpPr/>
            <p:nvPr/>
          </p:nvSpPr>
          <p:spPr>
            <a:xfrm>
              <a:off x="1463933" y="1626535"/>
              <a:ext cx="52618" cy="4114800"/>
            </a:xfrm>
            <a:prstGeom prst="rightBracket">
              <a:avLst/>
            </a:prstGeom>
            <a:solidFill>
              <a:schemeClr val="bg1"/>
            </a:solidFill>
            <a:ln w="12700">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418" rtl="0" eaLnBrk="1" fontAlgn="auto" latinLnBrk="0" hangingPunct="1">
                <a:lnSpc>
                  <a:spcPct val="100000"/>
                </a:lnSpc>
                <a:spcBef>
                  <a:spcPts val="0"/>
                </a:spcBef>
                <a:spcAft>
                  <a:spcPts val="0"/>
                </a:spcAft>
                <a:buClrTx/>
                <a:buSzTx/>
                <a:buFontTx/>
                <a:buNone/>
                <a:tabLst/>
                <a:defRPr/>
              </a:pPr>
              <a:endParaRPr kumimoji="0" lang="en-US" sz="102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70" name="Group 69">
            <a:extLst>
              <a:ext uri="{FF2B5EF4-FFF2-40B4-BE49-F238E27FC236}">
                <a16:creationId xmlns:a16="http://schemas.microsoft.com/office/drawing/2014/main" id="{C66E1062-ADE7-46B7-B70B-13AAF975DB8E}"/>
              </a:ext>
            </a:extLst>
          </p:cNvPr>
          <p:cNvGrpSpPr/>
          <p:nvPr userDrawn="1"/>
        </p:nvGrpSpPr>
        <p:grpSpPr>
          <a:xfrm>
            <a:off x="70108" y="4080606"/>
            <a:ext cx="1455296" cy="935018"/>
            <a:chOff x="65242" y="4000957"/>
            <a:chExt cx="1426688" cy="916768"/>
          </a:xfrm>
        </p:grpSpPr>
        <p:sp>
          <p:nvSpPr>
            <p:cNvPr id="71" name="TextBox 70">
              <a:extLst>
                <a:ext uri="{FF2B5EF4-FFF2-40B4-BE49-F238E27FC236}">
                  <a16:creationId xmlns:a16="http://schemas.microsoft.com/office/drawing/2014/main" id="{A75807FF-8E5D-41F1-9F3F-792FD8D38D6A}"/>
                </a:ext>
              </a:extLst>
            </p:cNvPr>
            <p:cNvSpPr txBox="1"/>
            <p:nvPr/>
          </p:nvSpPr>
          <p:spPr>
            <a:xfrm>
              <a:off x="65242" y="4401622"/>
              <a:ext cx="1426688" cy="516103"/>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18" dirty="0"/>
                <a:t>BUSINESS / CUSTOM APPS</a:t>
              </a:r>
            </a:p>
            <a:p>
              <a:r>
                <a:rPr lang="en-US" sz="918" dirty="0"/>
                <a:t>(STRUCTURED)</a:t>
              </a:r>
            </a:p>
          </p:txBody>
        </p:sp>
        <p:grpSp>
          <p:nvGrpSpPr>
            <p:cNvPr id="72" name="Group 71">
              <a:extLst>
                <a:ext uri="{FF2B5EF4-FFF2-40B4-BE49-F238E27FC236}">
                  <a16:creationId xmlns:a16="http://schemas.microsoft.com/office/drawing/2014/main" id="{AF3F6C57-7E2E-4648-AB6C-0FEB5EB3CC52}"/>
                </a:ext>
              </a:extLst>
            </p:cNvPr>
            <p:cNvGrpSpPr/>
            <p:nvPr/>
          </p:nvGrpSpPr>
          <p:grpSpPr>
            <a:xfrm>
              <a:off x="244675" y="4000957"/>
              <a:ext cx="1067822" cy="398972"/>
              <a:chOff x="94228" y="4054674"/>
              <a:chExt cx="1327848" cy="496126"/>
            </a:xfrm>
          </p:grpSpPr>
          <p:grpSp>
            <p:nvGrpSpPr>
              <p:cNvPr id="73" name="Group 72">
                <a:extLst>
                  <a:ext uri="{FF2B5EF4-FFF2-40B4-BE49-F238E27FC236}">
                    <a16:creationId xmlns:a16="http://schemas.microsoft.com/office/drawing/2014/main" id="{BCEDBBB4-4679-4BC9-8706-8C6773E59669}"/>
                  </a:ext>
                </a:extLst>
              </p:cNvPr>
              <p:cNvGrpSpPr/>
              <p:nvPr/>
            </p:nvGrpSpPr>
            <p:grpSpPr>
              <a:xfrm>
                <a:off x="94228" y="4054674"/>
                <a:ext cx="565043" cy="490322"/>
                <a:chOff x="582887" y="2608468"/>
                <a:chExt cx="565043" cy="490322"/>
              </a:xfrm>
            </p:grpSpPr>
            <p:grpSp>
              <p:nvGrpSpPr>
                <p:cNvPr id="124" name="Group 123">
                  <a:extLst>
                    <a:ext uri="{FF2B5EF4-FFF2-40B4-BE49-F238E27FC236}">
                      <a16:creationId xmlns:a16="http://schemas.microsoft.com/office/drawing/2014/main" id="{E8C4AA01-E6AC-43FC-9155-B4295DB24C41}"/>
                    </a:ext>
                  </a:extLst>
                </p:cNvPr>
                <p:cNvGrpSpPr/>
                <p:nvPr/>
              </p:nvGrpSpPr>
              <p:grpSpPr>
                <a:xfrm>
                  <a:off x="582887" y="2608468"/>
                  <a:ext cx="565043" cy="490322"/>
                  <a:chOff x="-2759707" y="1099472"/>
                  <a:chExt cx="7926138" cy="6799719"/>
                </a:xfrm>
              </p:grpSpPr>
              <p:sp>
                <p:nvSpPr>
                  <p:cNvPr id="129" name="Rectangle 317">
                    <a:extLst>
                      <a:ext uri="{FF2B5EF4-FFF2-40B4-BE49-F238E27FC236}">
                        <a16:creationId xmlns:a16="http://schemas.microsoft.com/office/drawing/2014/main" id="{7F01DE84-FDAB-466D-9B5A-8B95057D7BB6}"/>
                      </a:ext>
                    </a:extLst>
                  </p:cNvPr>
                  <p:cNvSpPr/>
                  <p:nvPr/>
                </p:nvSpPr>
                <p:spPr bwMode="auto">
                  <a:xfrm>
                    <a:off x="-1103536" y="6493184"/>
                    <a:ext cx="4613797" cy="1133081"/>
                  </a:xfrm>
                  <a:custGeom>
                    <a:avLst/>
                    <a:gdLst>
                      <a:gd name="connsiteX0" fmla="*/ 0 w 4983252"/>
                      <a:gd name="connsiteY0" fmla="*/ 0 h 1835045"/>
                      <a:gd name="connsiteX1" fmla="*/ 4983252 w 4983252"/>
                      <a:gd name="connsiteY1" fmla="*/ 0 h 1835045"/>
                      <a:gd name="connsiteX2" fmla="*/ 4983252 w 4983252"/>
                      <a:gd name="connsiteY2" fmla="*/ 1835045 h 1835045"/>
                      <a:gd name="connsiteX3" fmla="*/ 0 w 4983252"/>
                      <a:gd name="connsiteY3" fmla="*/ 1835045 h 1835045"/>
                      <a:gd name="connsiteX4" fmla="*/ 0 w 4983252"/>
                      <a:gd name="connsiteY4" fmla="*/ 0 h 1835045"/>
                      <a:gd name="connsiteX0" fmla="*/ 1339273 w 4983252"/>
                      <a:gd name="connsiteY0" fmla="*/ 36945 h 1835045"/>
                      <a:gd name="connsiteX1" fmla="*/ 4983252 w 4983252"/>
                      <a:gd name="connsiteY1" fmla="*/ 0 h 1835045"/>
                      <a:gd name="connsiteX2" fmla="*/ 4983252 w 4983252"/>
                      <a:gd name="connsiteY2" fmla="*/ 1835045 h 1835045"/>
                      <a:gd name="connsiteX3" fmla="*/ 0 w 4983252"/>
                      <a:gd name="connsiteY3" fmla="*/ 1835045 h 1835045"/>
                      <a:gd name="connsiteX4" fmla="*/ 1339273 w 4983252"/>
                      <a:gd name="connsiteY4" fmla="*/ 36945 h 1835045"/>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339273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339273 w 4983252"/>
                      <a:gd name="connsiteY4" fmla="*/ 0 h 1798100"/>
                      <a:gd name="connsiteX0" fmla="*/ 1625600 w 4983252"/>
                      <a:gd name="connsiteY0" fmla="*/ 0 h 1798100"/>
                      <a:gd name="connsiteX1" fmla="*/ 3228343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0 h 1798100"/>
                      <a:gd name="connsiteX1" fmla="*/ 2997434 w 4983252"/>
                      <a:gd name="connsiteY1" fmla="*/ 1 h 1798100"/>
                      <a:gd name="connsiteX2" fmla="*/ 4983252 w 4983252"/>
                      <a:gd name="connsiteY2" fmla="*/ 1798100 h 1798100"/>
                      <a:gd name="connsiteX3" fmla="*/ 0 w 4983252"/>
                      <a:gd name="connsiteY3" fmla="*/ 1798100 h 1798100"/>
                      <a:gd name="connsiteX4" fmla="*/ 1625600 w 4983252"/>
                      <a:gd name="connsiteY4" fmla="*/ 0 h 1798100"/>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625600 w 4983252"/>
                      <a:gd name="connsiteY0" fmla="*/ 9235 h 1807335"/>
                      <a:gd name="connsiteX1" fmla="*/ 3209870 w 4983252"/>
                      <a:gd name="connsiteY1" fmla="*/ 0 h 1807335"/>
                      <a:gd name="connsiteX2" fmla="*/ 4983252 w 4983252"/>
                      <a:gd name="connsiteY2" fmla="*/ 1807335 h 1807335"/>
                      <a:gd name="connsiteX3" fmla="*/ 0 w 4983252"/>
                      <a:gd name="connsiteY3" fmla="*/ 1807335 h 1807335"/>
                      <a:gd name="connsiteX4" fmla="*/ 1625600 w 4983252"/>
                      <a:gd name="connsiteY4" fmla="*/ 9235 h 1807335"/>
                      <a:gd name="connsiteX0" fmla="*/ 1431636 w 4983252"/>
                      <a:gd name="connsiteY0" fmla="*/ 369454 h 1807335"/>
                      <a:gd name="connsiteX1" fmla="*/ 3209870 w 4983252"/>
                      <a:gd name="connsiteY1" fmla="*/ 0 h 1807335"/>
                      <a:gd name="connsiteX2" fmla="*/ 4983252 w 4983252"/>
                      <a:gd name="connsiteY2" fmla="*/ 1807335 h 1807335"/>
                      <a:gd name="connsiteX3" fmla="*/ 0 w 4983252"/>
                      <a:gd name="connsiteY3" fmla="*/ 1807335 h 1807335"/>
                      <a:gd name="connsiteX4" fmla="*/ 1431636 w 4983252"/>
                      <a:gd name="connsiteY4" fmla="*/ 369454 h 1807335"/>
                      <a:gd name="connsiteX0" fmla="*/ 1431636 w 4983252"/>
                      <a:gd name="connsiteY0" fmla="*/ 0 h 1437881"/>
                      <a:gd name="connsiteX1" fmla="*/ 3551615 w 4983252"/>
                      <a:gd name="connsiteY1" fmla="*/ 1 h 1437881"/>
                      <a:gd name="connsiteX2" fmla="*/ 4983252 w 4983252"/>
                      <a:gd name="connsiteY2" fmla="*/ 1437881 h 1437881"/>
                      <a:gd name="connsiteX3" fmla="*/ 0 w 4983252"/>
                      <a:gd name="connsiteY3" fmla="*/ 1437881 h 1437881"/>
                      <a:gd name="connsiteX4" fmla="*/ 1431636 w 4983252"/>
                      <a:gd name="connsiteY4" fmla="*/ 0 h 1437881"/>
                      <a:gd name="connsiteX0" fmla="*/ 1431636 w 4983252"/>
                      <a:gd name="connsiteY0" fmla="*/ 0 h 1437881"/>
                      <a:gd name="connsiteX1" fmla="*/ 3662452 w 4983252"/>
                      <a:gd name="connsiteY1" fmla="*/ 36947 h 1437881"/>
                      <a:gd name="connsiteX2" fmla="*/ 4983252 w 4983252"/>
                      <a:gd name="connsiteY2" fmla="*/ 1437881 h 1437881"/>
                      <a:gd name="connsiteX3" fmla="*/ 0 w 4983252"/>
                      <a:gd name="connsiteY3" fmla="*/ 1437881 h 1437881"/>
                      <a:gd name="connsiteX4" fmla="*/ 1431636 w 4983252"/>
                      <a:gd name="connsiteY4" fmla="*/ 0 h 1437881"/>
                      <a:gd name="connsiteX0" fmla="*/ 1219200 w 4770816"/>
                      <a:gd name="connsiteY0" fmla="*/ 0 h 1437881"/>
                      <a:gd name="connsiteX1" fmla="*/ 3450016 w 4770816"/>
                      <a:gd name="connsiteY1" fmla="*/ 36947 h 1437881"/>
                      <a:gd name="connsiteX2" fmla="*/ 4770816 w 4770816"/>
                      <a:gd name="connsiteY2" fmla="*/ 1437881 h 1437881"/>
                      <a:gd name="connsiteX3" fmla="*/ 0 w 4770816"/>
                      <a:gd name="connsiteY3" fmla="*/ 1133081 h 1437881"/>
                      <a:gd name="connsiteX4" fmla="*/ 1219200 w 4770816"/>
                      <a:gd name="connsiteY4" fmla="*/ 0 h 1437881"/>
                      <a:gd name="connsiteX0" fmla="*/ 1219200 w 4632270"/>
                      <a:gd name="connsiteY0" fmla="*/ 0 h 1133081"/>
                      <a:gd name="connsiteX1" fmla="*/ 3450016 w 4632270"/>
                      <a:gd name="connsiteY1" fmla="*/ 36947 h 1133081"/>
                      <a:gd name="connsiteX2" fmla="*/ 4632270 w 4632270"/>
                      <a:gd name="connsiteY2" fmla="*/ 1105372 h 1133081"/>
                      <a:gd name="connsiteX3" fmla="*/ 0 w 4632270"/>
                      <a:gd name="connsiteY3" fmla="*/ 1133081 h 1133081"/>
                      <a:gd name="connsiteX4" fmla="*/ 1219200 w 4632270"/>
                      <a:gd name="connsiteY4" fmla="*/ 0 h 1133081"/>
                      <a:gd name="connsiteX0" fmla="*/ 1219200 w 4623033"/>
                      <a:gd name="connsiteY0" fmla="*/ 0 h 1170027"/>
                      <a:gd name="connsiteX1" fmla="*/ 3450016 w 4623033"/>
                      <a:gd name="connsiteY1" fmla="*/ 36947 h 1170027"/>
                      <a:gd name="connsiteX2" fmla="*/ 4623033 w 4623033"/>
                      <a:gd name="connsiteY2" fmla="*/ 1170027 h 1170027"/>
                      <a:gd name="connsiteX3" fmla="*/ 0 w 4623033"/>
                      <a:gd name="connsiteY3" fmla="*/ 1133081 h 1170027"/>
                      <a:gd name="connsiteX4" fmla="*/ 1219200 w 4623033"/>
                      <a:gd name="connsiteY4" fmla="*/ 0 h 1170027"/>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40780 w 4613797"/>
                      <a:gd name="connsiteY1" fmla="*/ 36947 h 1188499"/>
                      <a:gd name="connsiteX2" fmla="*/ 4613797 w 4613797"/>
                      <a:gd name="connsiteY2" fmla="*/ 1170027 h 1188499"/>
                      <a:gd name="connsiteX3" fmla="*/ 0 w 4613797"/>
                      <a:gd name="connsiteY3" fmla="*/ 1188499 h 1188499"/>
                      <a:gd name="connsiteX4" fmla="*/ 1209964 w 4613797"/>
                      <a:gd name="connsiteY4" fmla="*/ 0 h 1188499"/>
                      <a:gd name="connsiteX0" fmla="*/ 1209964 w 4613797"/>
                      <a:gd name="connsiteY0" fmla="*/ 0 h 1188499"/>
                      <a:gd name="connsiteX1" fmla="*/ 3450017 w 4613797"/>
                      <a:gd name="connsiteY1" fmla="*/ 55420 h 1188499"/>
                      <a:gd name="connsiteX2" fmla="*/ 4613797 w 4613797"/>
                      <a:gd name="connsiteY2" fmla="*/ 1170027 h 1188499"/>
                      <a:gd name="connsiteX3" fmla="*/ 0 w 4613797"/>
                      <a:gd name="connsiteY3" fmla="*/ 1188499 h 1188499"/>
                      <a:gd name="connsiteX4" fmla="*/ 1209964 w 4613797"/>
                      <a:gd name="connsiteY4" fmla="*/ 0 h 1188499"/>
                      <a:gd name="connsiteX0" fmla="*/ 1200728 w 4613797"/>
                      <a:gd name="connsiteY0" fmla="*/ 0 h 1133081"/>
                      <a:gd name="connsiteX1" fmla="*/ 3450017 w 4613797"/>
                      <a:gd name="connsiteY1" fmla="*/ 2 h 1133081"/>
                      <a:gd name="connsiteX2" fmla="*/ 4613797 w 4613797"/>
                      <a:gd name="connsiteY2" fmla="*/ 1114609 h 1133081"/>
                      <a:gd name="connsiteX3" fmla="*/ 0 w 4613797"/>
                      <a:gd name="connsiteY3" fmla="*/ 1133081 h 1133081"/>
                      <a:gd name="connsiteX4" fmla="*/ 1200728 w 4613797"/>
                      <a:gd name="connsiteY4" fmla="*/ 0 h 1133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3797" h="1133081">
                        <a:moveTo>
                          <a:pt x="1200728" y="0"/>
                        </a:moveTo>
                        <a:lnTo>
                          <a:pt x="3450017" y="2"/>
                        </a:lnTo>
                        <a:cubicBezTo>
                          <a:pt x="3268369" y="617841"/>
                          <a:pt x="2948172" y="1023243"/>
                          <a:pt x="4613797" y="1114609"/>
                        </a:cubicBezTo>
                        <a:lnTo>
                          <a:pt x="0" y="1133081"/>
                        </a:lnTo>
                        <a:cubicBezTo>
                          <a:pt x="1453187" y="1087896"/>
                          <a:pt x="1456267" y="654785"/>
                          <a:pt x="1200728" y="0"/>
                        </a:cubicBezTo>
                        <a:close/>
                      </a:path>
                    </a:pathLst>
                  </a:custGeom>
                  <a:solidFill>
                    <a:srgbClr val="7C7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ounded Rectangle 439">
                    <a:extLst>
                      <a:ext uri="{FF2B5EF4-FFF2-40B4-BE49-F238E27FC236}">
                        <a16:creationId xmlns:a16="http://schemas.microsoft.com/office/drawing/2014/main" id="{9B64A5DF-7781-4B95-82CF-FFDDC6423C46}"/>
                      </a:ext>
                    </a:extLst>
                  </p:cNvPr>
                  <p:cNvSpPr/>
                  <p:nvPr/>
                </p:nvSpPr>
                <p:spPr bwMode="auto">
                  <a:xfrm>
                    <a:off x="-2759707" y="1099472"/>
                    <a:ext cx="7926138" cy="5508726"/>
                  </a:xfrm>
                  <a:prstGeom prst="roundRect">
                    <a:avLst>
                      <a:gd name="adj" fmla="val 8482"/>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a:extLst>
                      <a:ext uri="{FF2B5EF4-FFF2-40B4-BE49-F238E27FC236}">
                        <a16:creationId xmlns:a16="http://schemas.microsoft.com/office/drawing/2014/main" id="{CB5B4569-7598-45E4-AF37-9B4B83CF8E9B}"/>
                      </a:ext>
                    </a:extLst>
                  </p:cNvPr>
                  <p:cNvSpPr/>
                  <p:nvPr/>
                </p:nvSpPr>
                <p:spPr bwMode="auto">
                  <a:xfrm>
                    <a:off x="-2133709" y="1626405"/>
                    <a:ext cx="6674142" cy="4361521"/>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a:extLst>
                      <a:ext uri="{FF2B5EF4-FFF2-40B4-BE49-F238E27FC236}">
                        <a16:creationId xmlns:a16="http://schemas.microsoft.com/office/drawing/2014/main" id="{D4F8FDDB-0DAF-4644-B02F-AEE5E852B9B2}"/>
                      </a:ext>
                    </a:extLst>
                  </p:cNvPr>
                  <p:cNvSpPr/>
                  <p:nvPr/>
                </p:nvSpPr>
                <p:spPr bwMode="auto">
                  <a:xfrm>
                    <a:off x="-1332157" y="7460659"/>
                    <a:ext cx="5071038" cy="438532"/>
                  </a:xfrm>
                  <a:prstGeom prst="rect">
                    <a:avLst/>
                  </a:prstGeom>
                  <a:solidFill>
                    <a:srgbClr val="A3A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5" name="Freeform 5">
                  <a:extLst>
                    <a:ext uri="{FF2B5EF4-FFF2-40B4-BE49-F238E27FC236}">
                      <a16:creationId xmlns:a16="http://schemas.microsoft.com/office/drawing/2014/main" id="{904E02AC-77B0-4DAE-A328-22C7C972CC9F}"/>
                    </a:ext>
                  </a:extLst>
                </p:cNvPr>
                <p:cNvSpPr>
                  <a:spLocks/>
                </p:cNvSpPr>
                <p:nvPr/>
              </p:nvSpPr>
              <p:spPr bwMode="auto">
                <a:xfrm>
                  <a:off x="721671" y="2654378"/>
                  <a:ext cx="287501" cy="280651"/>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26" name="Rectangle 6">
                  <a:extLst>
                    <a:ext uri="{FF2B5EF4-FFF2-40B4-BE49-F238E27FC236}">
                      <a16:creationId xmlns:a16="http://schemas.microsoft.com/office/drawing/2014/main" id="{3AE086EF-F3DB-4C16-B17B-C6D46929D99E}"/>
                    </a:ext>
                  </a:extLst>
                </p:cNvPr>
                <p:cNvSpPr>
                  <a:spLocks noChangeArrowheads="1"/>
                </p:cNvSpPr>
                <p:nvPr/>
              </p:nvSpPr>
              <p:spPr bwMode="auto">
                <a:xfrm>
                  <a:off x="767306" y="2814098"/>
                  <a:ext cx="36508" cy="1209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27" name="Rectangle 7">
                  <a:extLst>
                    <a:ext uri="{FF2B5EF4-FFF2-40B4-BE49-F238E27FC236}">
                      <a16:creationId xmlns:a16="http://schemas.microsoft.com/office/drawing/2014/main" id="{D03354BB-5C37-4D7F-9F98-412CB7D94E43}"/>
                    </a:ext>
                  </a:extLst>
                </p:cNvPr>
                <p:cNvSpPr>
                  <a:spLocks noChangeArrowheads="1"/>
                </p:cNvSpPr>
                <p:nvPr/>
              </p:nvSpPr>
              <p:spPr bwMode="auto">
                <a:xfrm>
                  <a:off x="839181" y="2707998"/>
                  <a:ext cx="37649" cy="227031"/>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128" name="Rectangle 8">
                  <a:extLst>
                    <a:ext uri="{FF2B5EF4-FFF2-40B4-BE49-F238E27FC236}">
                      <a16:creationId xmlns:a16="http://schemas.microsoft.com/office/drawing/2014/main" id="{A64AFF5B-2500-4D7E-8A56-D3933FF3EFBD}"/>
                    </a:ext>
                  </a:extLst>
                </p:cNvPr>
                <p:cNvSpPr>
                  <a:spLocks noChangeArrowheads="1"/>
                </p:cNvSpPr>
                <p:nvPr/>
              </p:nvSpPr>
              <p:spPr bwMode="auto">
                <a:xfrm>
                  <a:off x="912197" y="2754773"/>
                  <a:ext cx="37649" cy="180256"/>
                </a:xfrm>
                <a:prstGeom prst="rect">
                  <a:avLst/>
                </a:prstGeom>
                <a:noFill/>
                <a:ln w="12700" cap="flat">
                  <a:solidFill>
                    <a:schemeClr val="bg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dirty="0">
                    <a:ln>
                      <a:noFill/>
                    </a:ln>
                    <a:solidFill>
                      <a:srgbClr val="505050"/>
                    </a:solidFill>
                    <a:effectLst/>
                    <a:uLnTx/>
                    <a:uFillTx/>
                    <a:latin typeface="Segoe UI Semilight"/>
                    <a:ea typeface="+mn-ea"/>
                    <a:cs typeface="+mn-cs"/>
                  </a:endParaRPr>
                </a:p>
              </p:txBody>
            </p:sp>
          </p:grpSp>
          <p:grpSp>
            <p:nvGrpSpPr>
              <p:cNvPr id="74" name="Group 73">
                <a:extLst>
                  <a:ext uri="{FF2B5EF4-FFF2-40B4-BE49-F238E27FC236}">
                    <a16:creationId xmlns:a16="http://schemas.microsoft.com/office/drawing/2014/main" id="{BAA889A6-7185-42EB-A6A4-07731E564DB2}"/>
                  </a:ext>
                </a:extLst>
              </p:cNvPr>
              <p:cNvGrpSpPr/>
              <p:nvPr/>
            </p:nvGrpSpPr>
            <p:grpSpPr>
              <a:xfrm>
                <a:off x="833546" y="4054674"/>
                <a:ext cx="588530" cy="496126"/>
                <a:chOff x="493618" y="3055549"/>
                <a:chExt cx="716256" cy="603797"/>
              </a:xfrm>
            </p:grpSpPr>
            <p:grpSp>
              <p:nvGrpSpPr>
                <p:cNvPr id="75" name="Group 74">
                  <a:extLst>
                    <a:ext uri="{FF2B5EF4-FFF2-40B4-BE49-F238E27FC236}">
                      <a16:creationId xmlns:a16="http://schemas.microsoft.com/office/drawing/2014/main" id="{3FF659FC-5AE0-4A4D-A124-EB0E7A97EAC2}"/>
                    </a:ext>
                  </a:extLst>
                </p:cNvPr>
                <p:cNvGrpSpPr/>
                <p:nvPr/>
              </p:nvGrpSpPr>
              <p:grpSpPr>
                <a:xfrm>
                  <a:off x="796699" y="3403695"/>
                  <a:ext cx="413175" cy="253655"/>
                  <a:chOff x="-655566" y="3895060"/>
                  <a:chExt cx="761727" cy="430956"/>
                </a:xfrm>
              </p:grpSpPr>
              <p:grpSp>
                <p:nvGrpSpPr>
                  <p:cNvPr id="108" name="Group 107">
                    <a:extLst>
                      <a:ext uri="{FF2B5EF4-FFF2-40B4-BE49-F238E27FC236}">
                        <a16:creationId xmlns:a16="http://schemas.microsoft.com/office/drawing/2014/main" id="{934B29E9-8B95-48CE-A7B4-0BE5A330C921}"/>
                      </a:ext>
                    </a:extLst>
                  </p:cNvPr>
                  <p:cNvGrpSpPr/>
                  <p:nvPr/>
                </p:nvGrpSpPr>
                <p:grpSpPr>
                  <a:xfrm>
                    <a:off x="-655566" y="3895060"/>
                    <a:ext cx="761727" cy="430956"/>
                    <a:chOff x="10867216" y="6204939"/>
                    <a:chExt cx="791499" cy="447800"/>
                  </a:xfrm>
                </p:grpSpPr>
                <p:sp>
                  <p:nvSpPr>
                    <p:cNvPr id="117" name="Round Same Side Corner Rectangle 206">
                      <a:extLst>
                        <a:ext uri="{FF2B5EF4-FFF2-40B4-BE49-F238E27FC236}">
                          <a16:creationId xmlns:a16="http://schemas.microsoft.com/office/drawing/2014/main" id="{275A00CF-DBCC-4E0A-BE9F-EE395EE74244}"/>
                        </a:ext>
                      </a:extLst>
                    </p:cNvPr>
                    <p:cNvSpPr/>
                    <p:nvPr/>
                  </p:nvSpPr>
                  <p:spPr bwMode="auto">
                    <a:xfrm>
                      <a:off x="10867216" y="6613795"/>
                      <a:ext cx="791499" cy="19313"/>
                    </a:xfrm>
                    <a:prstGeom prst="round2SameRect">
                      <a:avLst>
                        <a:gd name="adj1" fmla="val 16667"/>
                        <a:gd name="adj2" fmla="val 50000"/>
                      </a:avLst>
                    </a:prstGeom>
                    <a:solidFill>
                      <a:srgbClr val="CBCBC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8" name="Group 117">
                      <a:extLst>
                        <a:ext uri="{FF2B5EF4-FFF2-40B4-BE49-F238E27FC236}">
                          <a16:creationId xmlns:a16="http://schemas.microsoft.com/office/drawing/2014/main" id="{92339519-F7A5-4521-BEA1-B1ECF31F6C13}"/>
                        </a:ext>
                      </a:extLst>
                    </p:cNvPr>
                    <p:cNvGrpSpPr/>
                    <p:nvPr/>
                  </p:nvGrpSpPr>
                  <p:grpSpPr>
                    <a:xfrm>
                      <a:off x="10924674" y="6204939"/>
                      <a:ext cx="676584" cy="420187"/>
                      <a:chOff x="10924674" y="6204939"/>
                      <a:chExt cx="676584" cy="420187"/>
                    </a:xfrm>
                  </p:grpSpPr>
                  <p:grpSp>
                    <p:nvGrpSpPr>
                      <p:cNvPr id="120" name="Group 119">
                        <a:extLst>
                          <a:ext uri="{FF2B5EF4-FFF2-40B4-BE49-F238E27FC236}">
                            <a16:creationId xmlns:a16="http://schemas.microsoft.com/office/drawing/2014/main" id="{3B343D5D-DE3C-44D6-9B7F-DED56B2411BF}"/>
                          </a:ext>
                        </a:extLst>
                      </p:cNvPr>
                      <p:cNvGrpSpPr/>
                      <p:nvPr/>
                    </p:nvGrpSpPr>
                    <p:grpSpPr>
                      <a:xfrm>
                        <a:off x="10924674" y="6204939"/>
                        <a:ext cx="676584" cy="406447"/>
                        <a:chOff x="15402433" y="3770727"/>
                        <a:chExt cx="3379343" cy="2030084"/>
                      </a:xfrm>
                    </p:grpSpPr>
                    <p:sp>
                      <p:nvSpPr>
                        <p:cNvPr id="122" name="Round Same Side Corner Rectangle 211">
                          <a:extLst>
                            <a:ext uri="{FF2B5EF4-FFF2-40B4-BE49-F238E27FC236}">
                              <a16:creationId xmlns:a16="http://schemas.microsoft.com/office/drawing/2014/main" id="{8F1906D8-F67B-4125-9D33-4BD3DF0F3466}"/>
                            </a:ext>
                          </a:extLst>
                        </p:cNvPr>
                        <p:cNvSpPr/>
                        <p:nvPr/>
                      </p:nvSpPr>
                      <p:spPr bwMode="auto">
                        <a:xfrm>
                          <a:off x="15402433" y="3770727"/>
                          <a:ext cx="3379343" cy="2030084"/>
                        </a:xfrm>
                        <a:prstGeom prst="round2SameRect">
                          <a:avLst>
                            <a:gd name="adj1" fmla="val 6117"/>
                            <a:gd name="adj2" fmla="val 0"/>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ctangle 122">
                          <a:extLst>
                            <a:ext uri="{FF2B5EF4-FFF2-40B4-BE49-F238E27FC236}">
                              <a16:creationId xmlns:a16="http://schemas.microsoft.com/office/drawing/2014/main" id="{65AB054F-139B-43D7-B57D-1677636736FF}"/>
                            </a:ext>
                          </a:extLst>
                        </p:cNvPr>
                        <p:cNvSpPr/>
                        <p:nvPr/>
                      </p:nvSpPr>
                      <p:spPr bwMode="auto">
                        <a:xfrm>
                          <a:off x="15577629" y="3912794"/>
                          <a:ext cx="3028950" cy="17577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1" name="Round Same Side Corner Rectangle 210">
                        <a:extLst>
                          <a:ext uri="{FF2B5EF4-FFF2-40B4-BE49-F238E27FC236}">
                            <a16:creationId xmlns:a16="http://schemas.microsoft.com/office/drawing/2014/main" id="{753B7E6E-F44C-406A-9130-151462E3075B}"/>
                          </a:ext>
                        </a:extLst>
                      </p:cNvPr>
                      <p:cNvSpPr/>
                      <p:nvPr/>
                    </p:nvSpPr>
                    <p:spPr bwMode="auto">
                      <a:xfrm>
                        <a:off x="11200006" y="6613796"/>
                        <a:ext cx="125920" cy="11330"/>
                      </a:xfrm>
                      <a:prstGeom prst="round2SameRect">
                        <a:avLst>
                          <a:gd name="adj1" fmla="val 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9" name="Round Same Side Corner Rectangle 139">
                      <a:extLst>
                        <a:ext uri="{FF2B5EF4-FFF2-40B4-BE49-F238E27FC236}">
                          <a16:creationId xmlns:a16="http://schemas.microsoft.com/office/drawing/2014/main" id="{4DEEA65C-BD95-4337-B959-BE444218E20A}"/>
                        </a:ext>
                      </a:extLst>
                    </p:cNvPr>
                    <p:cNvSpPr/>
                    <p:nvPr/>
                  </p:nvSpPr>
                  <p:spPr bwMode="auto">
                    <a:xfrm>
                      <a:off x="10871098" y="6632155"/>
                      <a:ext cx="784941" cy="20584"/>
                    </a:xfrm>
                    <a:custGeom>
                      <a:avLst/>
                      <a:gdLst>
                        <a:gd name="connsiteX0" fmla="*/ 16077 w 3953311"/>
                        <a:gd name="connsiteY0" fmla="*/ 0 h 96463"/>
                        <a:gd name="connsiteX1" fmla="*/ 3937234 w 3953311"/>
                        <a:gd name="connsiteY1" fmla="*/ 0 h 96463"/>
                        <a:gd name="connsiteX2" fmla="*/ 3953311 w 3953311"/>
                        <a:gd name="connsiteY2" fmla="*/ 16077 h 96463"/>
                        <a:gd name="connsiteX3" fmla="*/ 3953311 w 3953311"/>
                        <a:gd name="connsiteY3" fmla="*/ 48232 h 96463"/>
                        <a:gd name="connsiteX4" fmla="*/ 3905079 w 3953311"/>
                        <a:gd name="connsiteY4" fmla="*/ 96464 h 96463"/>
                        <a:gd name="connsiteX5" fmla="*/ 48232 w 3953311"/>
                        <a:gd name="connsiteY5" fmla="*/ 96463 h 96463"/>
                        <a:gd name="connsiteX6" fmla="*/ 0 w 3953311"/>
                        <a:gd name="connsiteY6" fmla="*/ 48231 h 96463"/>
                        <a:gd name="connsiteX7" fmla="*/ 0 w 3953311"/>
                        <a:gd name="connsiteY7" fmla="*/ 16077 h 96463"/>
                        <a:gd name="connsiteX8" fmla="*/ 16077 w 3953311"/>
                        <a:gd name="connsiteY8" fmla="*/ 0 h 96463"/>
                        <a:gd name="connsiteX0" fmla="*/ 16077 w 3953311"/>
                        <a:gd name="connsiteY0" fmla="*/ 0 h 96464"/>
                        <a:gd name="connsiteX1" fmla="*/ 3937234 w 3953311"/>
                        <a:gd name="connsiteY1" fmla="*/ 0 h 96464"/>
                        <a:gd name="connsiteX2" fmla="*/ 3953311 w 3953311"/>
                        <a:gd name="connsiteY2" fmla="*/ 16077 h 96464"/>
                        <a:gd name="connsiteX3" fmla="*/ 3953311 w 3953311"/>
                        <a:gd name="connsiteY3" fmla="*/ 48232 h 96464"/>
                        <a:gd name="connsiteX4" fmla="*/ 3905079 w 3953311"/>
                        <a:gd name="connsiteY4" fmla="*/ 96464 h 96464"/>
                        <a:gd name="connsiteX5" fmla="*/ 145069 w 3953311"/>
                        <a:gd name="connsiteY5" fmla="*/ 91701 h 96464"/>
                        <a:gd name="connsiteX6" fmla="*/ 0 w 3953311"/>
                        <a:gd name="connsiteY6" fmla="*/ 48231 h 96464"/>
                        <a:gd name="connsiteX7" fmla="*/ 0 w 3953311"/>
                        <a:gd name="connsiteY7" fmla="*/ 16077 h 96464"/>
                        <a:gd name="connsiteX8" fmla="*/ 16077 w 3953311"/>
                        <a:gd name="connsiteY8" fmla="*/ 0 h 96464"/>
                        <a:gd name="connsiteX0" fmla="*/ 197402 w 4134636"/>
                        <a:gd name="connsiteY0" fmla="*/ 0 h 96464"/>
                        <a:gd name="connsiteX1" fmla="*/ 4118559 w 4134636"/>
                        <a:gd name="connsiteY1" fmla="*/ 0 h 96464"/>
                        <a:gd name="connsiteX2" fmla="*/ 4134636 w 4134636"/>
                        <a:gd name="connsiteY2" fmla="*/ 16077 h 96464"/>
                        <a:gd name="connsiteX3" fmla="*/ 4134636 w 4134636"/>
                        <a:gd name="connsiteY3" fmla="*/ 48232 h 96464"/>
                        <a:gd name="connsiteX4" fmla="*/ 4086404 w 4134636"/>
                        <a:gd name="connsiteY4" fmla="*/ 96464 h 96464"/>
                        <a:gd name="connsiteX5" fmla="*/ 326394 w 4134636"/>
                        <a:gd name="connsiteY5" fmla="*/ 91701 h 96464"/>
                        <a:gd name="connsiteX6" fmla="*/ 181325 w 4134636"/>
                        <a:gd name="connsiteY6" fmla="*/ 16077 h 96464"/>
                        <a:gd name="connsiteX7" fmla="*/ 197402 w 4134636"/>
                        <a:gd name="connsiteY7" fmla="*/ 0 h 96464"/>
                        <a:gd name="connsiteX0" fmla="*/ 419838 w 4357072"/>
                        <a:gd name="connsiteY0" fmla="*/ 0 h 96464"/>
                        <a:gd name="connsiteX1" fmla="*/ 4340995 w 4357072"/>
                        <a:gd name="connsiteY1" fmla="*/ 0 h 96464"/>
                        <a:gd name="connsiteX2" fmla="*/ 4357072 w 4357072"/>
                        <a:gd name="connsiteY2" fmla="*/ 16077 h 96464"/>
                        <a:gd name="connsiteX3" fmla="*/ 4357072 w 4357072"/>
                        <a:gd name="connsiteY3" fmla="*/ 48232 h 96464"/>
                        <a:gd name="connsiteX4" fmla="*/ 4308840 w 4357072"/>
                        <a:gd name="connsiteY4" fmla="*/ 96464 h 96464"/>
                        <a:gd name="connsiteX5" fmla="*/ 548830 w 4357072"/>
                        <a:gd name="connsiteY5" fmla="*/ 91701 h 96464"/>
                        <a:gd name="connsiteX6" fmla="*/ 419838 w 4357072"/>
                        <a:gd name="connsiteY6" fmla="*/ 0 h 96464"/>
                        <a:gd name="connsiteX0" fmla="*/ 268467 w 4205701"/>
                        <a:gd name="connsiteY0" fmla="*/ 0 h 96464"/>
                        <a:gd name="connsiteX1" fmla="*/ 4189624 w 4205701"/>
                        <a:gd name="connsiteY1" fmla="*/ 0 h 96464"/>
                        <a:gd name="connsiteX2" fmla="*/ 4205701 w 4205701"/>
                        <a:gd name="connsiteY2" fmla="*/ 16077 h 96464"/>
                        <a:gd name="connsiteX3" fmla="*/ 4205701 w 4205701"/>
                        <a:gd name="connsiteY3" fmla="*/ 48232 h 96464"/>
                        <a:gd name="connsiteX4" fmla="*/ 4157469 w 4205701"/>
                        <a:gd name="connsiteY4" fmla="*/ 96464 h 96464"/>
                        <a:gd name="connsiteX5" fmla="*/ 397459 w 4205701"/>
                        <a:gd name="connsiteY5" fmla="*/ 91701 h 96464"/>
                        <a:gd name="connsiteX6" fmla="*/ 268467 w 4205701"/>
                        <a:gd name="connsiteY6" fmla="*/ 0 h 96464"/>
                        <a:gd name="connsiteX0" fmla="*/ 21813 w 3959047"/>
                        <a:gd name="connsiteY0" fmla="*/ 0 h 96464"/>
                        <a:gd name="connsiteX1" fmla="*/ 3942970 w 3959047"/>
                        <a:gd name="connsiteY1" fmla="*/ 0 h 96464"/>
                        <a:gd name="connsiteX2" fmla="*/ 3959047 w 3959047"/>
                        <a:gd name="connsiteY2" fmla="*/ 16077 h 96464"/>
                        <a:gd name="connsiteX3" fmla="*/ 3959047 w 3959047"/>
                        <a:gd name="connsiteY3" fmla="*/ 48232 h 96464"/>
                        <a:gd name="connsiteX4" fmla="*/ 3910815 w 3959047"/>
                        <a:gd name="connsiteY4" fmla="*/ 96464 h 96464"/>
                        <a:gd name="connsiteX5" fmla="*/ 150805 w 3959047"/>
                        <a:gd name="connsiteY5" fmla="*/ 91701 h 96464"/>
                        <a:gd name="connsiteX6" fmla="*/ 21813 w 3959047"/>
                        <a:gd name="connsiteY6" fmla="*/ 0 h 96464"/>
                        <a:gd name="connsiteX0" fmla="*/ 0 w 3937234"/>
                        <a:gd name="connsiteY0" fmla="*/ 0 h 96464"/>
                        <a:gd name="connsiteX1" fmla="*/ 3921157 w 3937234"/>
                        <a:gd name="connsiteY1" fmla="*/ 0 h 96464"/>
                        <a:gd name="connsiteX2" fmla="*/ 3937234 w 3937234"/>
                        <a:gd name="connsiteY2" fmla="*/ 16077 h 96464"/>
                        <a:gd name="connsiteX3" fmla="*/ 3937234 w 3937234"/>
                        <a:gd name="connsiteY3" fmla="*/ 48232 h 96464"/>
                        <a:gd name="connsiteX4" fmla="*/ 3889002 w 3937234"/>
                        <a:gd name="connsiteY4" fmla="*/ 96464 h 96464"/>
                        <a:gd name="connsiteX5" fmla="*/ 128992 w 3937234"/>
                        <a:gd name="connsiteY5" fmla="*/ 91701 h 96464"/>
                        <a:gd name="connsiteX6" fmla="*/ 0 w 3937234"/>
                        <a:gd name="connsiteY6" fmla="*/ 0 h 96464"/>
                        <a:gd name="connsiteX0" fmla="*/ 159187 w 4124996"/>
                        <a:gd name="connsiteY0" fmla="*/ 0 h 96464"/>
                        <a:gd name="connsiteX1" fmla="*/ 4108919 w 4124996"/>
                        <a:gd name="connsiteY1" fmla="*/ 0 h 96464"/>
                        <a:gd name="connsiteX2" fmla="*/ 4124996 w 4124996"/>
                        <a:gd name="connsiteY2" fmla="*/ 16077 h 96464"/>
                        <a:gd name="connsiteX3" fmla="*/ 4124996 w 4124996"/>
                        <a:gd name="connsiteY3" fmla="*/ 48232 h 96464"/>
                        <a:gd name="connsiteX4" fmla="*/ 4076764 w 4124996"/>
                        <a:gd name="connsiteY4" fmla="*/ 96464 h 96464"/>
                        <a:gd name="connsiteX5" fmla="*/ 316754 w 4124996"/>
                        <a:gd name="connsiteY5" fmla="*/ 91701 h 96464"/>
                        <a:gd name="connsiteX6" fmla="*/ 159187 w 4124996"/>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65809 w 3965809"/>
                        <a:gd name="connsiteY3" fmla="*/ 48232 h 96464"/>
                        <a:gd name="connsiteX4" fmla="*/ 3917577 w 3965809"/>
                        <a:gd name="connsiteY4" fmla="*/ 96464 h 96464"/>
                        <a:gd name="connsiteX5" fmla="*/ 157567 w 3965809"/>
                        <a:gd name="connsiteY5" fmla="*/ 91701 h 96464"/>
                        <a:gd name="connsiteX6" fmla="*/ 0 w 3965809"/>
                        <a:gd name="connsiteY6" fmla="*/ 0 h 96464"/>
                        <a:gd name="connsiteX0" fmla="*/ 0 w 3965809"/>
                        <a:gd name="connsiteY0" fmla="*/ 0 h 96464"/>
                        <a:gd name="connsiteX1" fmla="*/ 3949732 w 3965809"/>
                        <a:gd name="connsiteY1" fmla="*/ 0 h 96464"/>
                        <a:gd name="connsiteX2" fmla="*/ 3965809 w 3965809"/>
                        <a:gd name="connsiteY2" fmla="*/ 16077 h 96464"/>
                        <a:gd name="connsiteX3" fmla="*/ 3917577 w 3965809"/>
                        <a:gd name="connsiteY3" fmla="*/ 96464 h 96464"/>
                        <a:gd name="connsiteX4" fmla="*/ 157567 w 3965809"/>
                        <a:gd name="connsiteY4" fmla="*/ 91701 h 96464"/>
                        <a:gd name="connsiteX5" fmla="*/ 0 w 3965809"/>
                        <a:gd name="connsiteY5" fmla="*/ 0 h 96464"/>
                        <a:gd name="connsiteX0" fmla="*/ 0 w 4416042"/>
                        <a:gd name="connsiteY0" fmla="*/ 0 h 96464"/>
                        <a:gd name="connsiteX1" fmla="*/ 3949732 w 4416042"/>
                        <a:gd name="connsiteY1" fmla="*/ 0 h 96464"/>
                        <a:gd name="connsiteX2" fmla="*/ 3917577 w 4416042"/>
                        <a:gd name="connsiteY2" fmla="*/ 96464 h 96464"/>
                        <a:gd name="connsiteX3" fmla="*/ 157567 w 4416042"/>
                        <a:gd name="connsiteY3" fmla="*/ 91701 h 96464"/>
                        <a:gd name="connsiteX4" fmla="*/ 0 w 4416042"/>
                        <a:gd name="connsiteY4" fmla="*/ 0 h 96464"/>
                        <a:gd name="connsiteX0" fmla="*/ 0 w 4235248"/>
                        <a:gd name="connsiteY0" fmla="*/ 0 h 96464"/>
                        <a:gd name="connsiteX1" fmla="*/ 3949732 w 4235248"/>
                        <a:gd name="connsiteY1" fmla="*/ 0 h 96464"/>
                        <a:gd name="connsiteX2" fmla="*/ 3917577 w 4235248"/>
                        <a:gd name="connsiteY2" fmla="*/ 96464 h 96464"/>
                        <a:gd name="connsiteX3" fmla="*/ 157567 w 4235248"/>
                        <a:gd name="connsiteY3" fmla="*/ 91701 h 96464"/>
                        <a:gd name="connsiteX4" fmla="*/ 0 w 4235248"/>
                        <a:gd name="connsiteY4" fmla="*/ 0 h 96464"/>
                        <a:gd name="connsiteX0" fmla="*/ 0 w 4211511"/>
                        <a:gd name="connsiteY0" fmla="*/ 0 h 96464"/>
                        <a:gd name="connsiteX1" fmla="*/ 3949732 w 4211511"/>
                        <a:gd name="connsiteY1" fmla="*/ 0 h 96464"/>
                        <a:gd name="connsiteX2" fmla="*/ 3814389 w 4211511"/>
                        <a:gd name="connsiteY2" fmla="*/ 96464 h 96464"/>
                        <a:gd name="connsiteX3" fmla="*/ 157567 w 4211511"/>
                        <a:gd name="connsiteY3" fmla="*/ 91701 h 96464"/>
                        <a:gd name="connsiteX4" fmla="*/ 0 w 4211511"/>
                        <a:gd name="connsiteY4" fmla="*/ 0 h 96464"/>
                        <a:gd name="connsiteX0" fmla="*/ 0 w 3949892"/>
                        <a:gd name="connsiteY0" fmla="*/ 0 h 96464"/>
                        <a:gd name="connsiteX1" fmla="*/ 3949732 w 3949892"/>
                        <a:gd name="connsiteY1" fmla="*/ 0 h 96464"/>
                        <a:gd name="connsiteX2" fmla="*/ 3814389 w 3949892"/>
                        <a:gd name="connsiteY2" fmla="*/ 96464 h 96464"/>
                        <a:gd name="connsiteX3" fmla="*/ 157567 w 3949892"/>
                        <a:gd name="connsiteY3" fmla="*/ 91701 h 96464"/>
                        <a:gd name="connsiteX4" fmla="*/ 0 w 3949892"/>
                        <a:gd name="connsiteY4" fmla="*/ 0 h 96464"/>
                        <a:gd name="connsiteX0" fmla="*/ 0 w 3950482"/>
                        <a:gd name="connsiteY0" fmla="*/ 0 h 98214"/>
                        <a:gd name="connsiteX1" fmla="*/ 3949732 w 3950482"/>
                        <a:gd name="connsiteY1" fmla="*/ 0 h 98214"/>
                        <a:gd name="connsiteX2" fmla="*/ 3814389 w 3950482"/>
                        <a:gd name="connsiteY2" fmla="*/ 96464 h 98214"/>
                        <a:gd name="connsiteX3" fmla="*/ 157567 w 3950482"/>
                        <a:gd name="connsiteY3" fmla="*/ 91701 h 98214"/>
                        <a:gd name="connsiteX4" fmla="*/ 0 w 3950482"/>
                        <a:gd name="connsiteY4" fmla="*/ 0 h 98214"/>
                        <a:gd name="connsiteX0" fmla="*/ 0 w 3954882"/>
                        <a:gd name="connsiteY0" fmla="*/ 0 h 98214"/>
                        <a:gd name="connsiteX1" fmla="*/ 3949732 w 3954882"/>
                        <a:gd name="connsiteY1" fmla="*/ 0 h 98214"/>
                        <a:gd name="connsiteX2" fmla="*/ 3814389 w 3954882"/>
                        <a:gd name="connsiteY2" fmla="*/ 96464 h 98214"/>
                        <a:gd name="connsiteX3" fmla="*/ 157567 w 3954882"/>
                        <a:gd name="connsiteY3" fmla="*/ 91701 h 98214"/>
                        <a:gd name="connsiteX4" fmla="*/ 0 w 3954882"/>
                        <a:gd name="connsiteY4" fmla="*/ 0 h 98214"/>
                        <a:gd name="connsiteX0" fmla="*/ 0 w 4140719"/>
                        <a:gd name="connsiteY0" fmla="*/ 4763 h 107592"/>
                        <a:gd name="connsiteX1" fmla="*/ 3949732 w 4140719"/>
                        <a:gd name="connsiteY1" fmla="*/ 0 h 107592"/>
                        <a:gd name="connsiteX2" fmla="*/ 3814389 w 4140719"/>
                        <a:gd name="connsiteY2" fmla="*/ 101227 h 107592"/>
                        <a:gd name="connsiteX3" fmla="*/ 157567 w 4140719"/>
                        <a:gd name="connsiteY3" fmla="*/ 96464 h 107592"/>
                        <a:gd name="connsiteX4" fmla="*/ 0 w 4140719"/>
                        <a:gd name="connsiteY4" fmla="*/ 4763 h 107592"/>
                        <a:gd name="connsiteX0" fmla="*/ 0 w 4140719"/>
                        <a:gd name="connsiteY0" fmla="*/ 4763 h 101342"/>
                        <a:gd name="connsiteX1" fmla="*/ 3949732 w 4140719"/>
                        <a:gd name="connsiteY1" fmla="*/ 0 h 101342"/>
                        <a:gd name="connsiteX2" fmla="*/ 3814389 w 4140719"/>
                        <a:gd name="connsiteY2" fmla="*/ 101227 h 101342"/>
                        <a:gd name="connsiteX3" fmla="*/ 157567 w 4140719"/>
                        <a:gd name="connsiteY3" fmla="*/ 96464 h 101342"/>
                        <a:gd name="connsiteX4" fmla="*/ 0 w 4140719"/>
                        <a:gd name="connsiteY4" fmla="*/ 4763 h 101342"/>
                        <a:gd name="connsiteX0" fmla="*/ 0 w 3967861"/>
                        <a:gd name="connsiteY0" fmla="*/ 4763 h 102812"/>
                        <a:gd name="connsiteX1" fmla="*/ 3949732 w 3967861"/>
                        <a:gd name="connsiteY1" fmla="*/ 0 h 102812"/>
                        <a:gd name="connsiteX2" fmla="*/ 3814389 w 3967861"/>
                        <a:gd name="connsiteY2" fmla="*/ 101227 h 102812"/>
                        <a:gd name="connsiteX3" fmla="*/ 157567 w 3967861"/>
                        <a:gd name="connsiteY3" fmla="*/ 96464 h 102812"/>
                        <a:gd name="connsiteX4" fmla="*/ 0 w 3967861"/>
                        <a:gd name="connsiteY4" fmla="*/ 4763 h 102812"/>
                        <a:gd name="connsiteX0" fmla="*/ 0 w 3952514"/>
                        <a:gd name="connsiteY0" fmla="*/ 4763 h 102812"/>
                        <a:gd name="connsiteX1" fmla="*/ 3949732 w 3952514"/>
                        <a:gd name="connsiteY1" fmla="*/ 0 h 102812"/>
                        <a:gd name="connsiteX2" fmla="*/ 3814389 w 3952514"/>
                        <a:gd name="connsiteY2" fmla="*/ 101227 h 102812"/>
                        <a:gd name="connsiteX3" fmla="*/ 157567 w 3952514"/>
                        <a:gd name="connsiteY3" fmla="*/ 96464 h 102812"/>
                        <a:gd name="connsiteX4" fmla="*/ 0 w 3952514"/>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53541"/>
                        <a:gd name="connsiteY0" fmla="*/ 4763 h 102812"/>
                        <a:gd name="connsiteX1" fmla="*/ 3949732 w 3953541"/>
                        <a:gd name="connsiteY1" fmla="*/ 0 h 102812"/>
                        <a:gd name="connsiteX2" fmla="*/ 3814389 w 3953541"/>
                        <a:gd name="connsiteY2" fmla="*/ 101227 h 102812"/>
                        <a:gd name="connsiteX3" fmla="*/ 157567 w 3953541"/>
                        <a:gd name="connsiteY3" fmla="*/ 96464 h 102812"/>
                        <a:gd name="connsiteX4" fmla="*/ 0 w 3953541"/>
                        <a:gd name="connsiteY4" fmla="*/ 4763 h 102812"/>
                        <a:gd name="connsiteX0" fmla="*/ 0 w 3949732"/>
                        <a:gd name="connsiteY0" fmla="*/ 4763 h 102812"/>
                        <a:gd name="connsiteX1" fmla="*/ 3949732 w 3949732"/>
                        <a:gd name="connsiteY1" fmla="*/ 0 h 102812"/>
                        <a:gd name="connsiteX2" fmla="*/ 3814389 w 3949732"/>
                        <a:gd name="connsiteY2" fmla="*/ 101227 h 102812"/>
                        <a:gd name="connsiteX3" fmla="*/ 157567 w 3949732"/>
                        <a:gd name="connsiteY3" fmla="*/ 96464 h 102812"/>
                        <a:gd name="connsiteX4" fmla="*/ 0 w 3949732"/>
                        <a:gd name="connsiteY4" fmla="*/ 4763 h 102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9732" h="102812">
                          <a:moveTo>
                            <a:pt x="0" y="4763"/>
                          </a:moveTo>
                          <a:lnTo>
                            <a:pt x="3949732" y="0"/>
                          </a:lnTo>
                          <a:cubicBezTo>
                            <a:pt x="3921269" y="49415"/>
                            <a:pt x="3912223" y="77600"/>
                            <a:pt x="3814389" y="101227"/>
                          </a:cubicBezTo>
                          <a:cubicBezTo>
                            <a:pt x="3615749" y="106192"/>
                            <a:pt x="1376508" y="98052"/>
                            <a:pt x="157567" y="96464"/>
                          </a:cubicBezTo>
                          <a:cubicBezTo>
                            <a:pt x="43858" y="72838"/>
                            <a:pt x="2971" y="13695"/>
                            <a:pt x="0" y="4763"/>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9" name="Group 108">
                    <a:extLst>
                      <a:ext uri="{FF2B5EF4-FFF2-40B4-BE49-F238E27FC236}">
                        <a16:creationId xmlns:a16="http://schemas.microsoft.com/office/drawing/2014/main" id="{00881512-DD8D-4F44-A8BA-39169A95E73A}"/>
                      </a:ext>
                    </a:extLst>
                  </p:cNvPr>
                  <p:cNvGrpSpPr/>
                  <p:nvPr/>
                </p:nvGrpSpPr>
                <p:grpSpPr>
                  <a:xfrm>
                    <a:off x="-571796" y="3917872"/>
                    <a:ext cx="588901" cy="343249"/>
                    <a:chOff x="11780774" y="6292409"/>
                    <a:chExt cx="518383" cy="373899"/>
                  </a:xfrm>
                </p:grpSpPr>
                <p:sp>
                  <p:nvSpPr>
                    <p:cNvPr id="110" name="Rectangle 109">
                      <a:extLst>
                        <a:ext uri="{FF2B5EF4-FFF2-40B4-BE49-F238E27FC236}">
                          <a16:creationId xmlns:a16="http://schemas.microsoft.com/office/drawing/2014/main" id="{84E4F26A-D27A-476B-AC5B-70BC6FDD1001}"/>
                        </a:ext>
                      </a:extLst>
                    </p:cNvPr>
                    <p:cNvSpPr/>
                    <p:nvPr/>
                  </p:nvSpPr>
                  <p:spPr bwMode="auto">
                    <a:xfrm>
                      <a:off x="11780775" y="6292409"/>
                      <a:ext cx="518382" cy="37389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AABAE7F4-CDAD-47AA-B9B6-83A3F6E1FAC1}"/>
                        </a:ext>
                      </a:extLst>
                    </p:cNvPr>
                    <p:cNvSpPr/>
                    <p:nvPr/>
                  </p:nvSpPr>
                  <p:spPr bwMode="auto">
                    <a:xfrm>
                      <a:off x="12007521" y="6336304"/>
                      <a:ext cx="291635" cy="31769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a:extLst>
                        <a:ext uri="{FF2B5EF4-FFF2-40B4-BE49-F238E27FC236}">
                          <a16:creationId xmlns:a16="http://schemas.microsoft.com/office/drawing/2014/main" id="{C64DA487-914E-41DD-9F8D-42106DA8169C}"/>
                        </a:ext>
                      </a:extLst>
                    </p:cNvPr>
                    <p:cNvSpPr/>
                    <p:nvPr/>
                  </p:nvSpPr>
                  <p:spPr bwMode="auto">
                    <a:xfrm>
                      <a:off x="11780775" y="6292410"/>
                      <a:ext cx="518382" cy="84822"/>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a:extLst>
                        <a:ext uri="{FF2B5EF4-FFF2-40B4-BE49-F238E27FC236}">
                          <a16:creationId xmlns:a16="http://schemas.microsoft.com/office/drawing/2014/main" id="{6B9CBE80-2D86-4E9E-A80A-5747F9E4F8BD}"/>
                        </a:ext>
                      </a:extLst>
                    </p:cNvPr>
                    <p:cNvSpPr/>
                    <p:nvPr/>
                  </p:nvSpPr>
                  <p:spPr bwMode="auto">
                    <a:xfrm>
                      <a:off x="11780774" y="6427712"/>
                      <a:ext cx="231247" cy="49801"/>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4" name="Rounded Rectangle 203">
                      <a:extLst>
                        <a:ext uri="{FF2B5EF4-FFF2-40B4-BE49-F238E27FC236}">
                          <a16:creationId xmlns:a16="http://schemas.microsoft.com/office/drawing/2014/main" id="{19E662DB-AABF-483F-A00E-B7F1193FA5A3}"/>
                        </a:ext>
                      </a:extLst>
                    </p:cNvPr>
                    <p:cNvSpPr/>
                    <p:nvPr/>
                  </p:nvSpPr>
                  <p:spPr bwMode="auto">
                    <a:xfrm>
                      <a:off x="12023779" y="6427712"/>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ounded Rectangle 204">
                      <a:extLst>
                        <a:ext uri="{FF2B5EF4-FFF2-40B4-BE49-F238E27FC236}">
                          <a16:creationId xmlns:a16="http://schemas.microsoft.com/office/drawing/2014/main" id="{8BDDFCC7-89E3-4F41-A341-03A5352EF11B}"/>
                        </a:ext>
                      </a:extLst>
                    </p:cNvPr>
                    <p:cNvSpPr/>
                    <p:nvPr/>
                  </p:nvSpPr>
                  <p:spPr bwMode="auto">
                    <a:xfrm>
                      <a:off x="12023779" y="6482254"/>
                      <a:ext cx="210879"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ounded Rectangle 205">
                      <a:extLst>
                        <a:ext uri="{FF2B5EF4-FFF2-40B4-BE49-F238E27FC236}">
                          <a16:creationId xmlns:a16="http://schemas.microsoft.com/office/drawing/2014/main" id="{AEA14564-4D4E-4681-A21E-CFE08CC65E73}"/>
                        </a:ext>
                      </a:extLst>
                    </p:cNvPr>
                    <p:cNvSpPr/>
                    <p:nvPr/>
                  </p:nvSpPr>
                  <p:spPr bwMode="auto">
                    <a:xfrm>
                      <a:off x="12013407" y="6541679"/>
                      <a:ext cx="148745"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6" name="Group 75">
                  <a:extLst>
                    <a:ext uri="{FF2B5EF4-FFF2-40B4-BE49-F238E27FC236}">
                      <a16:creationId xmlns:a16="http://schemas.microsoft.com/office/drawing/2014/main" id="{1CD2AF38-00C9-40E4-93AA-126D65D2A488}"/>
                    </a:ext>
                  </a:extLst>
                </p:cNvPr>
                <p:cNvGrpSpPr/>
                <p:nvPr/>
              </p:nvGrpSpPr>
              <p:grpSpPr>
                <a:xfrm>
                  <a:off x="959876" y="3055549"/>
                  <a:ext cx="217476" cy="328226"/>
                  <a:chOff x="-296232" y="3492549"/>
                  <a:chExt cx="211588" cy="319338"/>
                </a:xfrm>
              </p:grpSpPr>
              <p:sp>
                <p:nvSpPr>
                  <p:cNvPr id="98" name="Rounded Rectangle 182">
                    <a:extLst>
                      <a:ext uri="{FF2B5EF4-FFF2-40B4-BE49-F238E27FC236}">
                        <a16:creationId xmlns:a16="http://schemas.microsoft.com/office/drawing/2014/main" id="{353CA0AA-F920-4D16-B820-957EE504DA56}"/>
                      </a:ext>
                    </a:extLst>
                  </p:cNvPr>
                  <p:cNvSpPr/>
                  <p:nvPr/>
                </p:nvSpPr>
                <p:spPr>
                  <a:xfrm>
                    <a:off x="-296232" y="3492549"/>
                    <a:ext cx="211588" cy="319338"/>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50374" fontAlgn="base">
                      <a:spcBef>
                        <a:spcPct val="0"/>
                      </a:spcBef>
                      <a:spcAft>
                        <a:spcPct val="0"/>
                      </a:spcAft>
                    </a:pPr>
                    <a:endParaRPr lang="en-US" sz="1872" kern="0" spc="-52">
                      <a:gradFill>
                        <a:gsLst>
                          <a:gs pos="0">
                            <a:srgbClr val="FFFFFF"/>
                          </a:gs>
                          <a:gs pos="100000">
                            <a:srgbClr val="FFFFFF"/>
                          </a:gs>
                        </a:gsLst>
                        <a:lin ang="5400000" scaled="0"/>
                      </a:gradFill>
                      <a:ea typeface="Segoe UI" pitchFamily="34" charset="0"/>
                      <a:cs typeface="Segoe UI" pitchFamily="34" charset="0"/>
                    </a:endParaRPr>
                  </a:p>
                </p:txBody>
              </p:sp>
              <p:sp>
                <p:nvSpPr>
                  <p:cNvPr id="99" name="Oval 98">
                    <a:extLst>
                      <a:ext uri="{FF2B5EF4-FFF2-40B4-BE49-F238E27FC236}">
                        <a16:creationId xmlns:a16="http://schemas.microsoft.com/office/drawing/2014/main" id="{72BF7F0F-D1EF-41A3-BFFA-DC1E08744E4B}"/>
                      </a:ext>
                    </a:extLst>
                  </p:cNvPr>
                  <p:cNvSpPr/>
                  <p:nvPr/>
                </p:nvSpPr>
                <p:spPr>
                  <a:xfrm>
                    <a:off x="-204881" y="3775409"/>
                    <a:ext cx="28885" cy="2811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100" name="Rounded Rectangle 184">
                    <a:extLst>
                      <a:ext uri="{FF2B5EF4-FFF2-40B4-BE49-F238E27FC236}">
                        <a16:creationId xmlns:a16="http://schemas.microsoft.com/office/drawing/2014/main" id="{B38B489C-6AA9-4E3A-9005-8C7B03348AF6}"/>
                      </a:ext>
                    </a:extLst>
                  </p:cNvPr>
                  <p:cNvSpPr/>
                  <p:nvPr/>
                </p:nvSpPr>
                <p:spPr>
                  <a:xfrm>
                    <a:off x="-228162" y="3504194"/>
                    <a:ext cx="75447" cy="9371"/>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nvGrpSpPr>
                  <p:cNvPr id="101" name="Group 100">
                    <a:extLst>
                      <a:ext uri="{FF2B5EF4-FFF2-40B4-BE49-F238E27FC236}">
                        <a16:creationId xmlns:a16="http://schemas.microsoft.com/office/drawing/2014/main" id="{0F0D0D70-7A5E-4B49-A635-DEDE470B911A}"/>
                      </a:ext>
                    </a:extLst>
                  </p:cNvPr>
                  <p:cNvGrpSpPr/>
                  <p:nvPr/>
                </p:nvGrpSpPr>
                <p:grpSpPr>
                  <a:xfrm>
                    <a:off x="-267082" y="3531358"/>
                    <a:ext cx="152122" cy="225695"/>
                    <a:chOff x="11279466" y="5630123"/>
                    <a:chExt cx="137117" cy="225695"/>
                  </a:xfrm>
                </p:grpSpPr>
                <p:sp>
                  <p:nvSpPr>
                    <p:cNvPr id="102" name="Rectangle 101">
                      <a:extLst>
                        <a:ext uri="{FF2B5EF4-FFF2-40B4-BE49-F238E27FC236}">
                          <a16:creationId xmlns:a16="http://schemas.microsoft.com/office/drawing/2014/main" id="{6CCD337D-96FE-4EF5-A555-FFA1B14533FF}"/>
                        </a:ext>
                      </a:extLst>
                    </p:cNvPr>
                    <p:cNvSpPr/>
                    <p:nvPr/>
                  </p:nvSpPr>
                  <p:spPr bwMode="auto">
                    <a:xfrm>
                      <a:off x="11279466" y="5630123"/>
                      <a:ext cx="137117" cy="2256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a:extLst>
                        <a:ext uri="{FF2B5EF4-FFF2-40B4-BE49-F238E27FC236}">
                          <a16:creationId xmlns:a16="http://schemas.microsoft.com/office/drawing/2014/main" id="{F7721484-E55D-4950-A016-21E55EEA65AE}"/>
                        </a:ext>
                      </a:extLst>
                    </p:cNvPr>
                    <p:cNvSpPr/>
                    <p:nvPr/>
                  </p:nvSpPr>
                  <p:spPr bwMode="auto">
                    <a:xfrm>
                      <a:off x="11279466" y="5630123"/>
                      <a:ext cx="137117" cy="45719"/>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ounded Rectangle 195">
                      <a:extLst>
                        <a:ext uri="{FF2B5EF4-FFF2-40B4-BE49-F238E27FC236}">
                          <a16:creationId xmlns:a16="http://schemas.microsoft.com/office/drawing/2014/main" id="{1EEB711B-CFD5-4BA8-9780-C75A114A7FC5}"/>
                        </a:ext>
                      </a:extLst>
                    </p:cNvPr>
                    <p:cNvSpPr/>
                    <p:nvPr/>
                  </p:nvSpPr>
                  <p:spPr bwMode="auto">
                    <a:xfrm>
                      <a:off x="11281572" y="5786471"/>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ounded Rectangle 196">
                      <a:extLst>
                        <a:ext uri="{FF2B5EF4-FFF2-40B4-BE49-F238E27FC236}">
                          <a16:creationId xmlns:a16="http://schemas.microsoft.com/office/drawing/2014/main" id="{33E5137D-AF6D-4992-9D3C-F36A5974861C}"/>
                        </a:ext>
                      </a:extLst>
                    </p:cNvPr>
                    <p:cNvSpPr/>
                    <p:nvPr/>
                  </p:nvSpPr>
                  <p:spPr bwMode="auto">
                    <a:xfrm>
                      <a:off x="11281572" y="5817696"/>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ounded Rectangle 197">
                      <a:extLst>
                        <a:ext uri="{FF2B5EF4-FFF2-40B4-BE49-F238E27FC236}">
                          <a16:creationId xmlns:a16="http://schemas.microsoft.com/office/drawing/2014/main" id="{A40226AD-2E59-4F78-A33C-65EB2F67468C}"/>
                        </a:ext>
                      </a:extLst>
                    </p:cNvPr>
                    <p:cNvSpPr/>
                    <p:nvPr/>
                  </p:nvSpPr>
                  <p:spPr bwMode="auto">
                    <a:xfrm>
                      <a:off x="11281572" y="5745403"/>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ounded Rectangle 198">
                      <a:extLst>
                        <a:ext uri="{FF2B5EF4-FFF2-40B4-BE49-F238E27FC236}">
                          <a16:creationId xmlns:a16="http://schemas.microsoft.com/office/drawing/2014/main" id="{8446E43C-FA11-47E4-AFC6-C2A0F1421E1C}"/>
                        </a:ext>
                      </a:extLst>
                    </p:cNvPr>
                    <p:cNvSpPr/>
                    <p:nvPr/>
                  </p:nvSpPr>
                  <p:spPr bwMode="auto">
                    <a:xfrm>
                      <a:off x="11281572" y="5711088"/>
                      <a:ext cx="135011" cy="17577"/>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 name="Group 76">
                  <a:extLst>
                    <a:ext uri="{FF2B5EF4-FFF2-40B4-BE49-F238E27FC236}">
                      <a16:creationId xmlns:a16="http://schemas.microsoft.com/office/drawing/2014/main" id="{ACD4AA61-1250-4DD4-9415-3AA186F44192}"/>
                    </a:ext>
                  </a:extLst>
                </p:cNvPr>
                <p:cNvGrpSpPr/>
                <p:nvPr/>
              </p:nvGrpSpPr>
              <p:grpSpPr>
                <a:xfrm>
                  <a:off x="505834" y="3069727"/>
                  <a:ext cx="408640" cy="294744"/>
                  <a:chOff x="505834" y="3069727"/>
                  <a:chExt cx="408640" cy="294744"/>
                </a:xfrm>
              </p:grpSpPr>
              <p:sp>
                <p:nvSpPr>
                  <p:cNvPr id="91" name="Rectangle 90">
                    <a:extLst>
                      <a:ext uri="{FF2B5EF4-FFF2-40B4-BE49-F238E27FC236}">
                        <a16:creationId xmlns:a16="http://schemas.microsoft.com/office/drawing/2014/main" id="{9945BB36-3489-40EC-8247-DDF97DA03624}"/>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9F31B47F-F9E9-44FD-B1EB-20833FDE52ED}"/>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a:extLst>
                      <a:ext uri="{FF2B5EF4-FFF2-40B4-BE49-F238E27FC236}">
                        <a16:creationId xmlns:a16="http://schemas.microsoft.com/office/drawing/2014/main" id="{2D843CC2-2E08-495A-9826-1E59A816AC29}"/>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77DDFF54-4F49-4234-A877-D87D1BF1BBDB}"/>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ounded Rectangle 176">
                    <a:extLst>
                      <a:ext uri="{FF2B5EF4-FFF2-40B4-BE49-F238E27FC236}">
                        <a16:creationId xmlns:a16="http://schemas.microsoft.com/office/drawing/2014/main" id="{7C3FA5C8-DEA2-4713-8780-72F945F4B01F}"/>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ounded Rectangle 177">
                    <a:extLst>
                      <a:ext uri="{FF2B5EF4-FFF2-40B4-BE49-F238E27FC236}">
                        <a16:creationId xmlns:a16="http://schemas.microsoft.com/office/drawing/2014/main" id="{3DC9982D-972B-4F58-A1AA-309CD605D51E}"/>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ounded Rectangle 178">
                    <a:extLst>
                      <a:ext uri="{FF2B5EF4-FFF2-40B4-BE49-F238E27FC236}">
                        <a16:creationId xmlns:a16="http://schemas.microsoft.com/office/drawing/2014/main" id="{1CCB6636-2F46-46C1-ADA5-048086ED92D8}"/>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179">
                  <a:extLst>
                    <a:ext uri="{FF2B5EF4-FFF2-40B4-BE49-F238E27FC236}">
                      <a16:creationId xmlns:a16="http://schemas.microsoft.com/office/drawing/2014/main" id="{D6CD3A83-3EB5-4D43-A721-B518AC255294}"/>
                    </a:ext>
                  </a:extLst>
                </p:cNvPr>
                <p:cNvSpPr/>
                <p:nvPr/>
              </p:nvSpPr>
              <p:spPr bwMode="auto">
                <a:xfrm>
                  <a:off x="493618" y="3063740"/>
                  <a:ext cx="437426" cy="318180"/>
                </a:xfrm>
                <a:custGeom>
                  <a:avLst/>
                  <a:gdLst>
                    <a:gd name="connsiteX0" fmla="*/ 113996 w 1443376"/>
                    <a:gd name="connsiteY0" fmla="*/ 100428 h 1049902"/>
                    <a:gd name="connsiteX1" fmla="*/ 113996 w 1443376"/>
                    <a:gd name="connsiteY1" fmla="*/ 931686 h 1049902"/>
                    <a:gd name="connsiteX2" fmla="*/ 1329379 w 1443376"/>
                    <a:gd name="connsiteY2" fmla="*/ 931686 h 1049902"/>
                    <a:gd name="connsiteX3" fmla="*/ 1329379 w 1443376"/>
                    <a:gd name="connsiteY3" fmla="*/ 100428 h 1049902"/>
                    <a:gd name="connsiteX4" fmla="*/ 89053 w 1443376"/>
                    <a:gd name="connsiteY4" fmla="*/ 0 h 1049902"/>
                    <a:gd name="connsiteX5" fmla="*/ 1354323 w 1443376"/>
                    <a:gd name="connsiteY5" fmla="*/ 0 h 1049902"/>
                    <a:gd name="connsiteX6" fmla="*/ 1443376 w 1443376"/>
                    <a:gd name="connsiteY6" fmla="*/ 89053 h 1049902"/>
                    <a:gd name="connsiteX7" fmla="*/ 1443376 w 1443376"/>
                    <a:gd name="connsiteY7" fmla="*/ 960849 h 1049902"/>
                    <a:gd name="connsiteX8" fmla="*/ 1354323 w 1443376"/>
                    <a:gd name="connsiteY8" fmla="*/ 1049902 h 1049902"/>
                    <a:gd name="connsiteX9" fmla="*/ 89053 w 1443376"/>
                    <a:gd name="connsiteY9" fmla="*/ 1049902 h 1049902"/>
                    <a:gd name="connsiteX10" fmla="*/ 0 w 1443376"/>
                    <a:gd name="connsiteY10" fmla="*/ 960849 h 1049902"/>
                    <a:gd name="connsiteX11" fmla="*/ 0 w 1443376"/>
                    <a:gd name="connsiteY11" fmla="*/ 89053 h 1049902"/>
                    <a:gd name="connsiteX12" fmla="*/ 89053 w 1443376"/>
                    <a:gd name="connsiteY12" fmla="*/ 0 h 10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3376" h="1049902">
                      <a:moveTo>
                        <a:pt x="113996" y="100428"/>
                      </a:moveTo>
                      <a:lnTo>
                        <a:pt x="113996" y="931686"/>
                      </a:lnTo>
                      <a:lnTo>
                        <a:pt x="1329379" y="931686"/>
                      </a:lnTo>
                      <a:lnTo>
                        <a:pt x="1329379" y="100428"/>
                      </a:lnTo>
                      <a:close/>
                      <a:moveTo>
                        <a:pt x="89053" y="0"/>
                      </a:moveTo>
                      <a:lnTo>
                        <a:pt x="1354323" y="0"/>
                      </a:lnTo>
                      <a:cubicBezTo>
                        <a:pt x="1403506" y="0"/>
                        <a:pt x="1443376" y="39870"/>
                        <a:pt x="1443376" y="89053"/>
                      </a:cubicBezTo>
                      <a:lnTo>
                        <a:pt x="1443376" y="960849"/>
                      </a:lnTo>
                      <a:cubicBezTo>
                        <a:pt x="1443376" y="1010032"/>
                        <a:pt x="1403506" y="1049902"/>
                        <a:pt x="1354323" y="1049902"/>
                      </a:cubicBezTo>
                      <a:lnTo>
                        <a:pt x="89053" y="1049902"/>
                      </a:lnTo>
                      <a:cubicBezTo>
                        <a:pt x="39870" y="1049902"/>
                        <a:pt x="0" y="1010032"/>
                        <a:pt x="0" y="960849"/>
                      </a:cubicBezTo>
                      <a:lnTo>
                        <a:pt x="0" y="89053"/>
                      </a:lnTo>
                      <a:cubicBezTo>
                        <a:pt x="0" y="39870"/>
                        <a:pt x="39870" y="0"/>
                        <a:pt x="89053" y="0"/>
                      </a:cubicBezTo>
                      <a:close/>
                    </a:path>
                  </a:pathLst>
                </a:cu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9" name="Group 78">
                  <a:extLst>
                    <a:ext uri="{FF2B5EF4-FFF2-40B4-BE49-F238E27FC236}">
                      <a16:creationId xmlns:a16="http://schemas.microsoft.com/office/drawing/2014/main" id="{88ADFDCF-7E99-477A-9B32-EE0E746947C2}"/>
                    </a:ext>
                  </a:extLst>
                </p:cNvPr>
                <p:cNvGrpSpPr/>
                <p:nvPr/>
              </p:nvGrpSpPr>
              <p:grpSpPr>
                <a:xfrm>
                  <a:off x="501923" y="3414781"/>
                  <a:ext cx="268776" cy="244565"/>
                  <a:chOff x="501923" y="3414781"/>
                  <a:chExt cx="268776" cy="244565"/>
                </a:xfrm>
              </p:grpSpPr>
              <p:sp>
                <p:nvSpPr>
                  <p:cNvPr id="80" name="Rounded Rectangle 182">
                    <a:extLst>
                      <a:ext uri="{FF2B5EF4-FFF2-40B4-BE49-F238E27FC236}">
                        <a16:creationId xmlns:a16="http://schemas.microsoft.com/office/drawing/2014/main" id="{38A7DB43-54B8-4D4B-89D3-1401F2CCD557}"/>
                      </a:ext>
                    </a:extLst>
                  </p:cNvPr>
                  <p:cNvSpPr/>
                  <p:nvPr/>
                </p:nvSpPr>
                <p:spPr>
                  <a:xfrm rot="16200000">
                    <a:off x="514028" y="3402676"/>
                    <a:ext cx="244565" cy="268776"/>
                  </a:xfrm>
                  <a:prstGeom prst="roundRect">
                    <a:avLst>
                      <a:gd name="adj" fmla="val 6467"/>
                    </a:avLst>
                  </a:prstGeom>
                  <a:solidFill>
                    <a:srgbClr val="B3B4B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6" tIns="46618" rIns="46618" bIns="93236" numCol="1" spcCol="0" rtlCol="0" fromWordArt="0" anchor="b" anchorCtr="0" forceAA="0" compatLnSpc="1">
                    <a:prstTxWarp prst="textNoShape">
                      <a:avLst/>
                    </a:prstTxWarp>
                    <a:noAutofit/>
                  </a:bodyPr>
                  <a:lstStyle/>
                  <a:p>
                    <a:pPr algn="ctr" defTabSz="950374" fontAlgn="base">
                      <a:spcBef>
                        <a:spcPct val="0"/>
                      </a:spcBef>
                      <a:spcAft>
                        <a:spcPct val="0"/>
                      </a:spcAft>
                    </a:pPr>
                    <a:endParaRPr lang="en-US" sz="1872" kern="0" spc="-52">
                      <a:gradFill>
                        <a:gsLst>
                          <a:gs pos="0">
                            <a:srgbClr val="FFFFFF"/>
                          </a:gs>
                          <a:gs pos="100000">
                            <a:srgbClr val="FFFFFF"/>
                          </a:gs>
                        </a:gsLst>
                        <a:lin ang="5400000" scaled="0"/>
                      </a:gradFill>
                      <a:ea typeface="Segoe UI" pitchFamily="34" charset="0"/>
                      <a:cs typeface="Segoe UI" pitchFamily="34" charset="0"/>
                    </a:endParaRPr>
                  </a:p>
                </p:txBody>
              </p:sp>
              <p:sp>
                <p:nvSpPr>
                  <p:cNvPr id="81" name="Oval 80">
                    <a:extLst>
                      <a:ext uri="{FF2B5EF4-FFF2-40B4-BE49-F238E27FC236}">
                        <a16:creationId xmlns:a16="http://schemas.microsoft.com/office/drawing/2014/main" id="{43A0F126-2481-4026-A382-75184F3C350A}"/>
                      </a:ext>
                    </a:extLst>
                  </p:cNvPr>
                  <p:cNvSpPr/>
                  <p:nvPr/>
                </p:nvSpPr>
                <p:spPr>
                  <a:xfrm>
                    <a:off x="625239" y="3634136"/>
                    <a:ext cx="22143" cy="2155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82" name="Rounded Rectangle 184">
                    <a:extLst>
                      <a:ext uri="{FF2B5EF4-FFF2-40B4-BE49-F238E27FC236}">
                        <a16:creationId xmlns:a16="http://schemas.microsoft.com/office/drawing/2014/main" id="{044838B8-D535-4C44-9215-5489429F9D0F}"/>
                      </a:ext>
                    </a:extLst>
                  </p:cNvPr>
                  <p:cNvSpPr/>
                  <p:nvPr/>
                </p:nvSpPr>
                <p:spPr>
                  <a:xfrm>
                    <a:off x="607392" y="3426226"/>
                    <a:ext cx="57836" cy="7184"/>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grpSp>
                <p:nvGrpSpPr>
                  <p:cNvPr id="83" name="Group 82">
                    <a:extLst>
                      <a:ext uri="{FF2B5EF4-FFF2-40B4-BE49-F238E27FC236}">
                        <a16:creationId xmlns:a16="http://schemas.microsoft.com/office/drawing/2014/main" id="{BFE66E00-6812-4D33-B349-74E39AB8A667}"/>
                      </a:ext>
                    </a:extLst>
                  </p:cNvPr>
                  <p:cNvGrpSpPr/>
                  <p:nvPr/>
                </p:nvGrpSpPr>
                <p:grpSpPr>
                  <a:xfrm>
                    <a:off x="518311" y="3459175"/>
                    <a:ext cx="235999" cy="157484"/>
                    <a:chOff x="505834" y="3069727"/>
                    <a:chExt cx="408640" cy="294744"/>
                  </a:xfrm>
                </p:grpSpPr>
                <p:sp>
                  <p:nvSpPr>
                    <p:cNvPr id="84" name="Rectangle 83">
                      <a:extLst>
                        <a:ext uri="{FF2B5EF4-FFF2-40B4-BE49-F238E27FC236}">
                          <a16:creationId xmlns:a16="http://schemas.microsoft.com/office/drawing/2014/main" id="{92D33903-4F52-4173-8A17-38EC8B40DFF4}"/>
                        </a:ext>
                      </a:extLst>
                    </p:cNvPr>
                    <p:cNvSpPr/>
                    <p:nvPr/>
                  </p:nvSpPr>
                  <p:spPr bwMode="auto">
                    <a:xfrm>
                      <a:off x="505834" y="3069727"/>
                      <a:ext cx="408640" cy="29474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EF137C5A-2B27-4186-A98B-84BCA28A28F7}"/>
                        </a:ext>
                      </a:extLst>
                    </p:cNvPr>
                    <p:cNvSpPr/>
                    <p:nvPr/>
                  </p:nvSpPr>
                  <p:spPr bwMode="auto">
                    <a:xfrm>
                      <a:off x="646207" y="3104329"/>
                      <a:ext cx="268267" cy="25044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BD1040CB-8DE4-4BA4-A3AE-A29AEF800E1D}"/>
                        </a:ext>
                      </a:extLst>
                    </p:cNvPr>
                    <p:cNvSpPr/>
                    <p:nvPr/>
                  </p:nvSpPr>
                  <p:spPr bwMode="auto">
                    <a:xfrm>
                      <a:off x="505834" y="3069728"/>
                      <a:ext cx="408640" cy="66865"/>
                    </a:xfrm>
                    <a:prstGeom prst="rect">
                      <a:avLst/>
                    </a:prstGeom>
                    <a:solidFill>
                      <a:srgbClr val="59B4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a:extLst>
                        <a:ext uri="{FF2B5EF4-FFF2-40B4-BE49-F238E27FC236}">
                          <a16:creationId xmlns:a16="http://schemas.microsoft.com/office/drawing/2014/main" id="{BA4FB2EE-BBD3-4C38-A87B-667C25FD3DE8}"/>
                        </a:ext>
                      </a:extLst>
                    </p:cNvPr>
                    <p:cNvSpPr/>
                    <p:nvPr/>
                  </p:nvSpPr>
                  <p:spPr bwMode="auto">
                    <a:xfrm>
                      <a:off x="505834" y="3176386"/>
                      <a:ext cx="140372" cy="35978"/>
                    </a:xfrm>
                    <a:prstGeom prst="rect">
                      <a:avLst/>
                    </a:prstGeom>
                    <a:solidFill>
                      <a:srgbClr val="1C8B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Rounded Rectangle 176">
                      <a:extLst>
                        <a:ext uri="{FF2B5EF4-FFF2-40B4-BE49-F238E27FC236}">
                          <a16:creationId xmlns:a16="http://schemas.microsoft.com/office/drawing/2014/main" id="{D2E855E7-DAD0-452B-AE22-F91834686AEC}"/>
                        </a:ext>
                      </a:extLst>
                    </p:cNvPr>
                    <p:cNvSpPr/>
                    <p:nvPr/>
                  </p:nvSpPr>
                  <p:spPr bwMode="auto">
                    <a:xfrm>
                      <a:off x="669648" y="3176386"/>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ounded Rectangle 177">
                      <a:extLst>
                        <a:ext uri="{FF2B5EF4-FFF2-40B4-BE49-F238E27FC236}">
                          <a16:creationId xmlns:a16="http://schemas.microsoft.com/office/drawing/2014/main" id="{38F91E08-F731-4D18-9680-4A42C3224DC1}"/>
                        </a:ext>
                      </a:extLst>
                    </p:cNvPr>
                    <p:cNvSpPr/>
                    <p:nvPr/>
                  </p:nvSpPr>
                  <p:spPr bwMode="auto">
                    <a:xfrm>
                      <a:off x="669648" y="3219382"/>
                      <a:ext cx="193981"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Rounded Rectangle 178">
                      <a:extLst>
                        <a:ext uri="{FF2B5EF4-FFF2-40B4-BE49-F238E27FC236}">
                          <a16:creationId xmlns:a16="http://schemas.microsoft.com/office/drawing/2014/main" id="{0E2E8C9B-208E-4C1F-B548-8B25A908E712}"/>
                        </a:ext>
                      </a:extLst>
                    </p:cNvPr>
                    <p:cNvSpPr/>
                    <p:nvPr/>
                  </p:nvSpPr>
                  <p:spPr bwMode="auto">
                    <a:xfrm>
                      <a:off x="669648" y="3266226"/>
                      <a:ext cx="136825" cy="13856"/>
                    </a:xfrm>
                    <a:prstGeom prst="roundRect">
                      <a:avLst>
                        <a:gd name="adj" fmla="val 50000"/>
                      </a:avLst>
                    </a:prstGeom>
                    <a:solidFill>
                      <a:srgbClr val="B2B2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grpSp>
      <p:grpSp>
        <p:nvGrpSpPr>
          <p:cNvPr id="133" name="Group 132">
            <a:extLst>
              <a:ext uri="{FF2B5EF4-FFF2-40B4-BE49-F238E27FC236}">
                <a16:creationId xmlns:a16="http://schemas.microsoft.com/office/drawing/2014/main" id="{4C277BFE-17D6-4B62-B59A-58125029FD2A}"/>
              </a:ext>
            </a:extLst>
          </p:cNvPr>
          <p:cNvGrpSpPr/>
          <p:nvPr userDrawn="1"/>
        </p:nvGrpSpPr>
        <p:grpSpPr>
          <a:xfrm>
            <a:off x="45431" y="2378093"/>
            <a:ext cx="1504650" cy="740592"/>
            <a:chOff x="-36576" y="2104220"/>
            <a:chExt cx="1475072" cy="726138"/>
          </a:xfrm>
        </p:grpSpPr>
        <p:sp>
          <p:nvSpPr>
            <p:cNvPr id="134" name="TextBox 133">
              <a:extLst>
                <a:ext uri="{FF2B5EF4-FFF2-40B4-BE49-F238E27FC236}">
                  <a16:creationId xmlns:a16="http://schemas.microsoft.com/office/drawing/2014/main" id="{456A2FB8-5984-47FA-9591-42F6084B50DB}"/>
                </a:ext>
              </a:extLst>
            </p:cNvPr>
            <p:cNvSpPr txBox="1"/>
            <p:nvPr/>
          </p:nvSpPr>
          <p:spPr>
            <a:xfrm>
              <a:off x="-36576" y="2462828"/>
              <a:ext cx="1475072" cy="367530"/>
            </a:xfrm>
            <a:prstGeom prst="rect">
              <a:avLst/>
            </a:prstGeom>
          </p:spPr>
          <p:txBody>
            <a:bodyPr wrap="square">
              <a:spAutoFit/>
            </a:bodyPr>
            <a:lstStyle>
              <a:defPPr>
                <a:defRPr lang="en-US"/>
              </a:defPPr>
              <a:lvl1pPr algn="ctr" defTabSz="932597">
                <a:defRPr sz="900" kern="0">
                  <a:solidFill>
                    <a:schemeClr val="bg1">
                      <a:lumMod val="50000"/>
                    </a:schemeClr>
                  </a:solidFill>
                  <a:latin typeface="Segoe UI Semibold" panose="020B0702040204020203" pitchFamily="34" charset="0"/>
                  <a:ea typeface="MS PGothic" panose="020B0600070205080204" pitchFamily="34" charset="-128"/>
                  <a:cs typeface="Segoe UI Semibold" panose="020B0702040204020203" pitchFamily="34" charset="0"/>
                </a:defRPr>
              </a:lvl1pPr>
            </a:lstStyle>
            <a:p>
              <a:r>
                <a:rPr lang="en-US" sz="918" dirty="0"/>
                <a:t>LOGS, FILES AND MEDIA</a:t>
              </a:r>
              <a:br>
                <a:rPr lang="en-US" sz="918" dirty="0"/>
              </a:br>
              <a:r>
                <a:rPr lang="en-US" sz="918" dirty="0"/>
                <a:t>(UNSTRUCTURED)</a:t>
              </a:r>
            </a:p>
          </p:txBody>
        </p:sp>
        <p:grpSp>
          <p:nvGrpSpPr>
            <p:cNvPr id="135" name="Group 134">
              <a:extLst>
                <a:ext uri="{FF2B5EF4-FFF2-40B4-BE49-F238E27FC236}">
                  <a16:creationId xmlns:a16="http://schemas.microsoft.com/office/drawing/2014/main" id="{F95B2E3F-C483-467C-8824-F8115AE87F00}"/>
                </a:ext>
              </a:extLst>
            </p:cNvPr>
            <p:cNvGrpSpPr/>
            <p:nvPr/>
          </p:nvGrpSpPr>
          <p:grpSpPr>
            <a:xfrm>
              <a:off x="130992" y="2104220"/>
              <a:ext cx="1139936" cy="311980"/>
              <a:chOff x="149010" y="2104220"/>
              <a:chExt cx="1139936" cy="311980"/>
            </a:xfrm>
          </p:grpSpPr>
          <p:pic>
            <p:nvPicPr>
              <p:cNvPr id="136" name="Graphic 135">
                <a:extLst>
                  <a:ext uri="{FF2B5EF4-FFF2-40B4-BE49-F238E27FC236}">
                    <a16:creationId xmlns:a16="http://schemas.microsoft.com/office/drawing/2014/main" id="{DCF3282B-AE9E-445D-B109-B07C17E019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010" y="2124261"/>
                <a:ext cx="271899" cy="271899"/>
              </a:xfrm>
              <a:prstGeom prst="rect">
                <a:avLst/>
              </a:prstGeom>
            </p:spPr>
          </p:pic>
          <p:sp>
            <p:nvSpPr>
              <p:cNvPr id="137" name="Freeform: Shape 136">
                <a:extLst>
                  <a:ext uri="{FF2B5EF4-FFF2-40B4-BE49-F238E27FC236}">
                    <a16:creationId xmlns:a16="http://schemas.microsoft.com/office/drawing/2014/main" id="{CCA33D2D-BA3C-4DF1-B452-9BFB76DA1EFD}"/>
                  </a:ext>
                </a:extLst>
              </p:cNvPr>
              <p:cNvSpPr>
                <a:spLocks noChangeAspect="1"/>
              </p:cNvSpPr>
              <p:nvPr/>
            </p:nvSpPr>
            <p:spPr>
              <a:xfrm>
                <a:off x="573186" y="2124302"/>
                <a:ext cx="246905" cy="271816"/>
              </a:xfrm>
              <a:custGeom>
                <a:avLst/>
                <a:gdLst>
                  <a:gd name="connsiteX0" fmla="*/ 421762 w 1860554"/>
                  <a:gd name="connsiteY0" fmla="*/ 1423915 h 2048273"/>
                  <a:gd name="connsiteX1" fmla="*/ 1108860 w 1860554"/>
                  <a:gd name="connsiteY1" fmla="*/ 1423915 h 2048273"/>
                  <a:gd name="connsiteX2" fmla="*/ 1177570 w 1860554"/>
                  <a:gd name="connsiteY2" fmla="*/ 1492624 h 2048273"/>
                  <a:gd name="connsiteX3" fmla="*/ 1177567 w 1860554"/>
                  <a:gd name="connsiteY3" fmla="*/ 1492624 h 2048273"/>
                  <a:gd name="connsiteX4" fmla="*/ 1108857 w 1860554"/>
                  <a:gd name="connsiteY4" fmla="*/ 1561334 h 2048273"/>
                  <a:gd name="connsiteX5" fmla="*/ 421762 w 1860554"/>
                  <a:gd name="connsiteY5" fmla="*/ 1561331 h 2048273"/>
                  <a:gd name="connsiteX6" fmla="*/ 373178 w 1860554"/>
                  <a:gd name="connsiteY6" fmla="*/ 1541205 h 2048273"/>
                  <a:gd name="connsiteX7" fmla="*/ 353052 w 1860554"/>
                  <a:gd name="connsiteY7" fmla="*/ 1492624 h 2048273"/>
                  <a:gd name="connsiteX8" fmla="*/ 373178 w 1860554"/>
                  <a:gd name="connsiteY8" fmla="*/ 1444041 h 2048273"/>
                  <a:gd name="connsiteX9" fmla="*/ 421762 w 1860554"/>
                  <a:gd name="connsiteY9" fmla="*/ 1423915 h 2048273"/>
                  <a:gd name="connsiteX10" fmla="*/ 421762 w 1860554"/>
                  <a:gd name="connsiteY10" fmla="*/ 1063754 h 2048273"/>
                  <a:gd name="connsiteX11" fmla="*/ 1383699 w 1860554"/>
                  <a:gd name="connsiteY11" fmla="*/ 1063754 h 2048273"/>
                  <a:gd name="connsiteX12" fmla="*/ 1452408 w 1860554"/>
                  <a:gd name="connsiteY12" fmla="*/ 1132464 h 2048273"/>
                  <a:gd name="connsiteX13" fmla="*/ 1452405 w 1860554"/>
                  <a:gd name="connsiteY13" fmla="*/ 1132464 h 2048273"/>
                  <a:gd name="connsiteX14" fmla="*/ 1383696 w 1860554"/>
                  <a:gd name="connsiteY14" fmla="*/ 1201174 h 2048273"/>
                  <a:gd name="connsiteX15" fmla="*/ 421762 w 1860554"/>
                  <a:gd name="connsiteY15" fmla="*/ 1201171 h 2048273"/>
                  <a:gd name="connsiteX16" fmla="*/ 373178 w 1860554"/>
                  <a:gd name="connsiteY16" fmla="*/ 1181048 h 2048273"/>
                  <a:gd name="connsiteX17" fmla="*/ 353052 w 1860554"/>
                  <a:gd name="connsiteY17" fmla="*/ 1132464 h 2048273"/>
                  <a:gd name="connsiteX18" fmla="*/ 373178 w 1860554"/>
                  <a:gd name="connsiteY18" fmla="*/ 1083880 h 2048273"/>
                  <a:gd name="connsiteX19" fmla="*/ 421762 w 1860554"/>
                  <a:gd name="connsiteY19" fmla="*/ 1063754 h 2048273"/>
                  <a:gd name="connsiteX20" fmla="*/ 421762 w 1860554"/>
                  <a:gd name="connsiteY20" fmla="*/ 731598 h 2048273"/>
                  <a:gd name="connsiteX21" fmla="*/ 1383699 w 1860554"/>
                  <a:gd name="connsiteY21" fmla="*/ 731598 h 2048273"/>
                  <a:gd name="connsiteX22" fmla="*/ 1452408 w 1860554"/>
                  <a:gd name="connsiteY22" fmla="*/ 800308 h 2048273"/>
                  <a:gd name="connsiteX23" fmla="*/ 1452405 w 1860554"/>
                  <a:gd name="connsiteY23" fmla="*/ 800308 h 2048273"/>
                  <a:gd name="connsiteX24" fmla="*/ 1383696 w 1860554"/>
                  <a:gd name="connsiteY24" fmla="*/ 869017 h 2048273"/>
                  <a:gd name="connsiteX25" fmla="*/ 421762 w 1860554"/>
                  <a:gd name="connsiteY25" fmla="*/ 869014 h 2048273"/>
                  <a:gd name="connsiteX26" fmla="*/ 373178 w 1860554"/>
                  <a:gd name="connsiteY26" fmla="*/ 848888 h 2048273"/>
                  <a:gd name="connsiteX27" fmla="*/ 353052 w 1860554"/>
                  <a:gd name="connsiteY27" fmla="*/ 800305 h 2048273"/>
                  <a:gd name="connsiteX28" fmla="*/ 373178 w 1860554"/>
                  <a:gd name="connsiteY28" fmla="*/ 751724 h 2048273"/>
                  <a:gd name="connsiteX29" fmla="*/ 421762 w 1860554"/>
                  <a:gd name="connsiteY29" fmla="*/ 731598 h 2048273"/>
                  <a:gd name="connsiteX30" fmla="*/ 84508 w 1860554"/>
                  <a:gd name="connsiteY30" fmla="*/ 84508 h 2048273"/>
                  <a:gd name="connsiteX31" fmla="*/ 84508 w 1860554"/>
                  <a:gd name="connsiteY31" fmla="*/ 1963766 h 2048273"/>
                  <a:gd name="connsiteX32" fmla="*/ 1774839 w 1860554"/>
                  <a:gd name="connsiteY32" fmla="*/ 1963766 h 2048273"/>
                  <a:gd name="connsiteX33" fmla="*/ 1774839 w 1860554"/>
                  <a:gd name="connsiteY33" fmla="*/ 457520 h 2048273"/>
                  <a:gd name="connsiteX34" fmla="*/ 1416529 w 1860554"/>
                  <a:gd name="connsiteY34" fmla="*/ 457520 h 2048273"/>
                  <a:gd name="connsiteX35" fmla="*/ 1416529 w 1860554"/>
                  <a:gd name="connsiteY35" fmla="*/ 84508 h 2048273"/>
                  <a:gd name="connsiteX36" fmla="*/ 0 w 1860554"/>
                  <a:gd name="connsiteY36" fmla="*/ 0 h 2048273"/>
                  <a:gd name="connsiteX37" fmla="*/ 1441077 w 1860554"/>
                  <a:gd name="connsiteY37" fmla="*/ 0 h 2048273"/>
                  <a:gd name="connsiteX38" fmla="*/ 1860554 w 1860554"/>
                  <a:gd name="connsiteY38" fmla="*/ 419477 h 2048273"/>
                  <a:gd name="connsiteX39" fmla="*/ 1860554 w 1860554"/>
                  <a:gd name="connsiteY39" fmla="*/ 452507 h 2048273"/>
                  <a:gd name="connsiteX40" fmla="*/ 1859346 w 1860554"/>
                  <a:gd name="connsiteY40" fmla="*/ 452507 h 2048273"/>
                  <a:gd name="connsiteX41" fmla="*/ 1859346 w 1860554"/>
                  <a:gd name="connsiteY41" fmla="*/ 2048273 h 2048273"/>
                  <a:gd name="connsiteX42" fmla="*/ 0 w 1860554"/>
                  <a:gd name="connsiteY42" fmla="*/ 2048273 h 204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860554" h="2048273">
                    <a:moveTo>
                      <a:pt x="421762" y="1423915"/>
                    </a:moveTo>
                    <a:lnTo>
                      <a:pt x="1108860" y="1423915"/>
                    </a:lnTo>
                    <a:cubicBezTo>
                      <a:pt x="1146807" y="1423915"/>
                      <a:pt x="1177570" y="1454678"/>
                      <a:pt x="1177570" y="1492624"/>
                    </a:cubicBezTo>
                    <a:lnTo>
                      <a:pt x="1177567" y="1492624"/>
                    </a:lnTo>
                    <a:cubicBezTo>
                      <a:pt x="1177567" y="1530571"/>
                      <a:pt x="1146804" y="1561334"/>
                      <a:pt x="1108857" y="1561334"/>
                    </a:cubicBezTo>
                    <a:lnTo>
                      <a:pt x="421762" y="1561331"/>
                    </a:lnTo>
                    <a:cubicBezTo>
                      <a:pt x="402790" y="1561331"/>
                      <a:pt x="385612" y="1553639"/>
                      <a:pt x="373178" y="1541205"/>
                    </a:cubicBezTo>
                    <a:lnTo>
                      <a:pt x="353052" y="1492624"/>
                    </a:lnTo>
                    <a:lnTo>
                      <a:pt x="373178" y="1444041"/>
                    </a:lnTo>
                    <a:cubicBezTo>
                      <a:pt x="385612" y="1431606"/>
                      <a:pt x="402790" y="1423915"/>
                      <a:pt x="421762" y="1423915"/>
                    </a:cubicBezTo>
                    <a:close/>
                    <a:moveTo>
                      <a:pt x="421762" y="1063754"/>
                    </a:moveTo>
                    <a:lnTo>
                      <a:pt x="1383699" y="1063754"/>
                    </a:lnTo>
                    <a:cubicBezTo>
                      <a:pt x="1421645" y="1063754"/>
                      <a:pt x="1452408" y="1094517"/>
                      <a:pt x="1452408" y="1132464"/>
                    </a:cubicBezTo>
                    <a:lnTo>
                      <a:pt x="1452405" y="1132464"/>
                    </a:lnTo>
                    <a:cubicBezTo>
                      <a:pt x="1452405" y="1170411"/>
                      <a:pt x="1421642" y="1201174"/>
                      <a:pt x="1383696" y="1201174"/>
                    </a:cubicBezTo>
                    <a:lnTo>
                      <a:pt x="421762" y="1201171"/>
                    </a:lnTo>
                    <a:cubicBezTo>
                      <a:pt x="402790" y="1201171"/>
                      <a:pt x="385612" y="1193479"/>
                      <a:pt x="373178" y="1181048"/>
                    </a:cubicBezTo>
                    <a:lnTo>
                      <a:pt x="353052" y="1132464"/>
                    </a:lnTo>
                    <a:lnTo>
                      <a:pt x="373178" y="1083880"/>
                    </a:lnTo>
                    <a:cubicBezTo>
                      <a:pt x="385612" y="1071446"/>
                      <a:pt x="402790" y="1063754"/>
                      <a:pt x="421762" y="1063754"/>
                    </a:cubicBezTo>
                    <a:close/>
                    <a:moveTo>
                      <a:pt x="421762" y="731598"/>
                    </a:moveTo>
                    <a:lnTo>
                      <a:pt x="1383699" y="731598"/>
                    </a:lnTo>
                    <a:cubicBezTo>
                      <a:pt x="1421645" y="731598"/>
                      <a:pt x="1452408" y="762361"/>
                      <a:pt x="1452408" y="800308"/>
                    </a:cubicBezTo>
                    <a:lnTo>
                      <a:pt x="1452405" y="800308"/>
                    </a:lnTo>
                    <a:cubicBezTo>
                      <a:pt x="1452405" y="838254"/>
                      <a:pt x="1421642" y="869017"/>
                      <a:pt x="1383696" y="869017"/>
                    </a:cubicBezTo>
                    <a:lnTo>
                      <a:pt x="421762" y="869014"/>
                    </a:lnTo>
                    <a:cubicBezTo>
                      <a:pt x="402790" y="869014"/>
                      <a:pt x="385612" y="861323"/>
                      <a:pt x="373178" y="848888"/>
                    </a:cubicBezTo>
                    <a:lnTo>
                      <a:pt x="353052" y="800305"/>
                    </a:lnTo>
                    <a:lnTo>
                      <a:pt x="373178" y="751724"/>
                    </a:lnTo>
                    <a:cubicBezTo>
                      <a:pt x="385612" y="739289"/>
                      <a:pt x="402790" y="731598"/>
                      <a:pt x="421762" y="731598"/>
                    </a:cubicBezTo>
                    <a:close/>
                    <a:moveTo>
                      <a:pt x="84508" y="84508"/>
                    </a:moveTo>
                    <a:lnTo>
                      <a:pt x="84508" y="1963766"/>
                    </a:lnTo>
                    <a:lnTo>
                      <a:pt x="1774839" y="1963766"/>
                    </a:lnTo>
                    <a:lnTo>
                      <a:pt x="1774839" y="457520"/>
                    </a:lnTo>
                    <a:lnTo>
                      <a:pt x="1416529" y="457520"/>
                    </a:lnTo>
                    <a:lnTo>
                      <a:pt x="1416529" y="84508"/>
                    </a:lnTo>
                    <a:close/>
                    <a:moveTo>
                      <a:pt x="0" y="0"/>
                    </a:moveTo>
                    <a:lnTo>
                      <a:pt x="1441077" y="0"/>
                    </a:lnTo>
                    <a:lnTo>
                      <a:pt x="1860554" y="419477"/>
                    </a:lnTo>
                    <a:lnTo>
                      <a:pt x="1860554" y="452507"/>
                    </a:lnTo>
                    <a:lnTo>
                      <a:pt x="1859346" y="452507"/>
                    </a:lnTo>
                    <a:lnTo>
                      <a:pt x="1859346" y="2048273"/>
                    </a:lnTo>
                    <a:lnTo>
                      <a:pt x="0" y="2048273"/>
                    </a:lnTo>
                    <a:close/>
                  </a:path>
                </a:pathLst>
              </a:custGeom>
              <a:solidFill>
                <a:srgbClr val="59B4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dirty="0"/>
                  <a:t>r</a:t>
                </a:r>
              </a:p>
            </p:txBody>
          </p:sp>
          <p:pic>
            <p:nvPicPr>
              <p:cNvPr id="138" name="Picture 137">
                <a:extLst>
                  <a:ext uri="{FF2B5EF4-FFF2-40B4-BE49-F238E27FC236}">
                    <a16:creationId xmlns:a16="http://schemas.microsoft.com/office/drawing/2014/main" id="{DE814ACC-7A86-4184-BD3D-8947E67B57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966" y="2104220"/>
                <a:ext cx="311980" cy="311980"/>
              </a:xfrm>
              <a:prstGeom prst="rect">
                <a:avLst/>
              </a:prstGeom>
            </p:spPr>
          </p:pic>
        </p:grpSp>
      </p:grpSp>
    </p:spTree>
    <p:extLst>
      <p:ext uri="{BB962C8B-B14F-4D97-AF65-F5344CB8AC3E}">
        <p14:creationId xmlns:p14="http://schemas.microsoft.com/office/powerpoint/2010/main" val="24913400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7_Custom Layout">
    <p:spTree>
      <p:nvGrpSpPr>
        <p:cNvPr id="1" name="Shape 23"/>
        <p:cNvGrpSpPr/>
        <p:nvPr/>
      </p:nvGrpSpPr>
      <p:grpSpPr>
        <a:xfrm>
          <a:off x="0" y="0"/>
          <a:ext cx="0" cy="0"/>
          <a:chOff x="0" y="0"/>
          <a:chExt cx="0" cy="0"/>
        </a:xfrm>
      </p:grpSpPr>
      <p:sp>
        <p:nvSpPr>
          <p:cNvPr id="24" name="Shape 24"/>
          <p:cNvSpPr txBox="1">
            <a:spLocks noGrp="1"/>
          </p:cNvSpPr>
          <p:nvPr>
            <p:ph type="title"/>
          </p:nvPr>
        </p:nvSpPr>
        <p:spPr>
          <a:xfrm>
            <a:off x="346491" y="280645"/>
            <a:ext cx="11642812" cy="1165754"/>
          </a:xfrm>
          <a:prstGeom prst="rect">
            <a:avLst/>
          </a:prstGeom>
          <a:noFill/>
          <a:ln>
            <a:noFill/>
          </a:ln>
        </p:spPr>
        <p:txBody>
          <a:bodyPr spcFirstLastPara="1" wrap="square" lIns="91425" tIns="91425" rIns="91425" bIns="91425" anchor="t" anchorCtr="0"/>
          <a:lstStyle>
            <a:lvl1pPr marL="0" marR="0" lvl="0" indent="0" algn="l" rtl="0">
              <a:spcBef>
                <a:spcPts val="0"/>
              </a:spcBef>
              <a:spcAft>
                <a:spcPts val="0"/>
              </a:spcAft>
              <a:buSzPts val="1400"/>
              <a:buNone/>
              <a:defRPr sz="5440" b="0" i="0" u="none" strike="noStrike" cap="none">
                <a:solidFill>
                  <a:schemeClr val="lt1"/>
                </a:solidFill>
                <a:latin typeface="Source Sans Pro"/>
                <a:ea typeface="Source Sans Pro"/>
                <a:cs typeface="Source Sans Pro"/>
                <a:sym typeface="Source Sans Pro"/>
              </a:defRPr>
            </a:lvl1pPr>
            <a:lvl2pPr marL="0" marR="0" lvl="1"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2pPr>
            <a:lvl3pPr marL="0" marR="0" lvl="2"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3pPr>
            <a:lvl4pPr marL="0" marR="0" lvl="3"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4pPr>
            <a:lvl5pPr marL="0" marR="0" lvl="4"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5pPr>
            <a:lvl6pPr marL="621746" marR="0" lvl="5"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6pPr>
            <a:lvl7pPr marL="1243493" marR="0" lvl="6"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7pPr>
            <a:lvl8pPr marL="1865239" marR="0" lvl="7"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8pPr>
            <a:lvl9pPr marL="2486985" marR="0" lvl="8" indent="0" algn="l" rtl="0">
              <a:spcBef>
                <a:spcPts val="0"/>
              </a:spcBef>
              <a:spcAft>
                <a:spcPts val="0"/>
              </a:spcAft>
              <a:buSzPts val="1400"/>
              <a:buNone/>
              <a:defRPr sz="544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579762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67" r:id="rId2"/>
    <p:sldLayoutId id="2147484266" r:id="rId3"/>
    <p:sldLayoutId id="2147484240" r:id="rId4"/>
    <p:sldLayoutId id="2147484241" r:id="rId5"/>
    <p:sldLayoutId id="2147484474" r:id="rId6"/>
    <p:sldLayoutId id="2147484245" r:id="rId7"/>
    <p:sldLayoutId id="2147484247" r:id="rId8"/>
    <p:sldLayoutId id="2147484249" r:id="rId9"/>
    <p:sldLayoutId id="2147484250" r:id="rId10"/>
    <p:sldLayoutId id="2147484264" r:id="rId11"/>
    <p:sldLayoutId id="2147484251" r:id="rId12"/>
    <p:sldLayoutId id="2147484463" r:id="rId13"/>
    <p:sldLayoutId id="2147484256" r:id="rId14"/>
    <p:sldLayoutId id="2147484257" r:id="rId15"/>
    <p:sldLayoutId id="2147484260" r:id="rId16"/>
    <p:sldLayoutId id="2147484299" r:id="rId17"/>
    <p:sldLayoutId id="2147484263" r:id="rId18"/>
    <p:sldLayoutId id="2147484516"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 id="2147484489" r:id="rId13"/>
    <p:sldLayoutId id="2147484490" r:id="rId14"/>
    <p:sldLayoutId id="2147484491" r:id="rId15"/>
    <p:sldLayoutId id="2147484492" r:id="rId16"/>
    <p:sldLayoutId id="2147484493" r:id="rId17"/>
    <p:sldLayoutId id="214748449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0"/>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225192044"/>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520" r:id="rId3"/>
    <p:sldLayoutId id="2147484521" r:id="rId4"/>
    <p:sldLayoutId id="2147484522" r:id="rId5"/>
    <p:sldLayoutId id="2147484523" r:id="rId6"/>
    <p:sldLayoutId id="2147484524" r:id="rId7"/>
    <p:sldLayoutId id="2147484525" r:id="rId8"/>
    <p:sldLayoutId id="2147484526" r:id="rId9"/>
    <p:sldLayoutId id="2147484527" r:id="rId10"/>
    <p:sldLayoutId id="2147484528" r:id="rId11"/>
    <p:sldLayoutId id="2147484529" r:id="rId12"/>
    <p:sldLayoutId id="2147484530" r:id="rId13"/>
    <p:sldLayoutId id="2147484531" r:id="rId14"/>
    <p:sldLayoutId id="2147484532" r:id="rId15"/>
    <p:sldLayoutId id="2147484533" r:id="rId16"/>
    <p:sldLayoutId id="2147484534" r:id="rId17"/>
    <p:sldLayoutId id="2147484535" r:id="rId18"/>
    <p:sldLayoutId id="2147484536" r:id="rId19"/>
    <p:sldLayoutId id="2147484537" r:id="rId20"/>
    <p:sldLayoutId id="2147484538" r:id="rId21"/>
    <p:sldLayoutId id="2147484539" r:id="rId22"/>
    <p:sldLayoutId id="2147484540" r:id="rId23"/>
    <p:sldLayoutId id="2147484541" r:id="rId24"/>
    <p:sldLayoutId id="2147484542" r:id="rId25"/>
    <p:sldLayoutId id="2147484543" r:id="rId26"/>
    <p:sldLayoutId id="2147484544" r:id="rId27"/>
    <p:sldLayoutId id="2147484545"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emf"/><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3.jpeg"/><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17.xml"/><Relationship Id="rId1" Type="http://schemas.openxmlformats.org/officeDocument/2006/relationships/slideLayout" Target="../slideLayouts/slideLayout75.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image" Target="../media/image43.png"/><Relationship Id="rId7" Type="http://schemas.openxmlformats.org/officeDocument/2006/relationships/image" Target="../media/image54.emf"/><Relationship Id="rId12" Type="http://schemas.openxmlformats.org/officeDocument/2006/relationships/image" Target="../media/image59.emf"/><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53.emf"/><Relationship Id="rId11" Type="http://schemas.openxmlformats.org/officeDocument/2006/relationships/image" Target="../media/image58.emf"/><Relationship Id="rId5" Type="http://schemas.openxmlformats.org/officeDocument/2006/relationships/image" Target="../media/image52.emf"/><Relationship Id="rId10" Type="http://schemas.openxmlformats.org/officeDocument/2006/relationships/image" Target="../media/image57.emf"/><Relationship Id="rId4" Type="http://schemas.openxmlformats.org/officeDocument/2006/relationships/image" Target="../media/image51.emf"/><Relationship Id="rId9" Type="http://schemas.openxmlformats.org/officeDocument/2006/relationships/image" Target="../media/image56.emf"/></Relationships>
</file>

<file path=ppt/slides/_rels/slide21.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43.png"/><Relationship Id="rId7" Type="http://schemas.openxmlformats.org/officeDocument/2006/relationships/image" Target="../media/image63.emf"/><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 Id="rId9" Type="http://schemas.openxmlformats.org/officeDocument/2006/relationships/image" Target="../media/image65.emf"/></Relationships>
</file>

<file path=ppt/slides/_rels/slide22.xml.rels><?xml version="1.0" encoding="UTF-8" standalone="yes"?>
<Relationships xmlns="http://schemas.openxmlformats.org/package/2006/relationships"><Relationship Id="rId8" Type="http://schemas.openxmlformats.org/officeDocument/2006/relationships/image" Target="../media/image64.emf"/><Relationship Id="rId3" Type="http://schemas.openxmlformats.org/officeDocument/2006/relationships/image" Target="../media/image43.png"/><Relationship Id="rId7" Type="http://schemas.openxmlformats.org/officeDocument/2006/relationships/image" Target="../media/image63.emf"/><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62.emf"/><Relationship Id="rId5" Type="http://schemas.openxmlformats.org/officeDocument/2006/relationships/image" Target="../media/image61.emf"/><Relationship Id="rId10" Type="http://schemas.openxmlformats.org/officeDocument/2006/relationships/image" Target="../media/image66.emf"/><Relationship Id="rId4" Type="http://schemas.openxmlformats.org/officeDocument/2006/relationships/image" Target="../media/image60.emf"/><Relationship Id="rId9" Type="http://schemas.openxmlformats.org/officeDocument/2006/relationships/image" Target="../media/image65.emf"/></Relationships>
</file>

<file path=ppt/slides/_rels/slide23.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68.emf"/><Relationship Id="rId5" Type="http://schemas.openxmlformats.org/officeDocument/2006/relationships/image" Target="../media/image30.png"/><Relationship Id="rId4" Type="http://schemas.openxmlformats.org/officeDocument/2006/relationships/image" Target="../media/image3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hyperlink" Target="https://movielens.org/"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69.png"/><Relationship Id="rId4" Type="http://schemas.openxmlformats.org/officeDocument/2006/relationships/hyperlink" Target="http://dx.doi.org/10.1145/2827872"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g"/><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hyperlink" Target="https://github.com/devlace/azure-databricks-recommendation-system" TargetMode="Externa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http://spark.apache.org/" TargetMode="External"/><Relationship Id="rId2" Type="http://schemas.openxmlformats.org/officeDocument/2006/relationships/notesSlide" Target="../notesSlides/notesSlide39.xml"/><Relationship Id="rId1" Type="http://schemas.openxmlformats.org/officeDocument/2006/relationships/slideLayout" Target="../slideLayouts/slideLayout4.xml"/><Relationship Id="rId5" Type="http://schemas.openxmlformats.org/officeDocument/2006/relationships/hyperlink" Target="http://shop.oreilly.com/product/0636920034957.do" TargetMode="External"/><Relationship Id="rId4" Type="http://schemas.openxmlformats.org/officeDocument/2006/relationships/hyperlink" Target="https://docs.azuredatabricks.net/index.html"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image" Target="../media/image74.png"/><Relationship Id="rId5" Type="http://schemas.openxmlformats.org/officeDocument/2006/relationships/image" Target="../media/image73.svg"/><Relationship Id="rId4" Type="http://schemas.openxmlformats.org/officeDocument/2006/relationships/image" Target="../media/image72.png"/><Relationship Id="rId9" Type="http://schemas.openxmlformats.org/officeDocument/2006/relationships/image" Target="../media/image7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1.png"/><Relationship Id="rId11" Type="http://schemas.openxmlformats.org/officeDocument/2006/relationships/image" Target="../media/image26.jpe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7.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1.jpeg"/><Relationship Id="rId11" Type="http://schemas.openxmlformats.org/officeDocument/2006/relationships/image" Target="../media/image35.png"/><Relationship Id="rId5" Type="http://schemas.openxmlformats.org/officeDocument/2006/relationships/image" Target="../media/image30.png"/><Relationship Id="rId10" Type="http://schemas.openxmlformats.org/officeDocument/2006/relationships/image" Target="../media/image34.png"/><Relationship Id="rId4" Type="http://schemas.openxmlformats.org/officeDocument/2006/relationships/image" Target="../media/image29.png"/><Relationship Id="rId9"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3.jpeg"/><Relationship Id="rId4" Type="http://schemas.openxmlformats.org/officeDocument/2006/relationships/image" Target="../media/image39.emf"/></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3.jpeg"/><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D29AD-A1DB-4DC5-9900-9449C68FD9C9}"/>
              </a:ext>
            </a:extLst>
          </p:cNvPr>
          <p:cNvSpPr>
            <a:spLocks noGrp="1"/>
          </p:cNvSpPr>
          <p:nvPr>
            <p:ph type="title"/>
          </p:nvPr>
        </p:nvSpPr>
        <p:spPr/>
        <p:txBody>
          <a:bodyPr/>
          <a:lstStyle/>
          <a:p>
            <a:r>
              <a:rPr lang="en-US" dirty="0"/>
              <a:t>Spark as a service with Azure Databricks</a:t>
            </a:r>
          </a:p>
        </p:txBody>
      </p:sp>
      <p:sp>
        <p:nvSpPr>
          <p:cNvPr id="3" name="Text Placeholder 2">
            <a:extLst>
              <a:ext uri="{FF2B5EF4-FFF2-40B4-BE49-F238E27FC236}">
                <a16:creationId xmlns:a16="http://schemas.microsoft.com/office/drawing/2014/main" id="{2DB56B96-3DE9-4E07-A98D-40EACD0C4A86}"/>
              </a:ext>
            </a:extLst>
          </p:cNvPr>
          <p:cNvSpPr>
            <a:spLocks noGrp="1"/>
          </p:cNvSpPr>
          <p:nvPr>
            <p:ph type="body" sz="quarter" idx="12"/>
          </p:nvPr>
        </p:nvSpPr>
        <p:spPr/>
        <p:txBody>
          <a:bodyPr/>
          <a:lstStyle/>
          <a:p>
            <a:r>
              <a:rPr lang="en-US" dirty="0"/>
              <a:t>21 April 2018</a:t>
            </a:r>
          </a:p>
        </p:txBody>
      </p:sp>
      <p:sp>
        <p:nvSpPr>
          <p:cNvPr id="4" name="Text Placeholder 3">
            <a:extLst>
              <a:ext uri="{FF2B5EF4-FFF2-40B4-BE49-F238E27FC236}">
                <a16:creationId xmlns:a16="http://schemas.microsoft.com/office/drawing/2014/main" id="{54FAFECF-9A38-418C-BD9E-86A6EA29CDCD}"/>
              </a:ext>
            </a:extLst>
          </p:cNvPr>
          <p:cNvSpPr>
            <a:spLocks noGrp="1"/>
          </p:cNvSpPr>
          <p:nvPr>
            <p:ph type="body" sz="quarter" idx="13"/>
          </p:nvPr>
        </p:nvSpPr>
        <p:spPr>
          <a:xfrm>
            <a:off x="274639" y="3770246"/>
            <a:ext cx="5486400" cy="1138773"/>
          </a:xfrm>
        </p:spPr>
        <p:txBody>
          <a:bodyPr/>
          <a:lstStyle/>
          <a:p>
            <a:r>
              <a:rPr lang="en-US" dirty="0"/>
              <a:t>Lace Lofranco</a:t>
            </a:r>
          </a:p>
          <a:p>
            <a:r>
              <a:rPr lang="en-US" dirty="0"/>
              <a:t>Senior Software Development Engineer</a:t>
            </a:r>
          </a:p>
          <a:p>
            <a:r>
              <a:rPr lang="en-US" dirty="0"/>
              <a:t>Microsoft</a:t>
            </a:r>
          </a:p>
        </p:txBody>
      </p:sp>
      <p:grpSp>
        <p:nvGrpSpPr>
          <p:cNvPr id="8" name="Group 7">
            <a:extLst>
              <a:ext uri="{FF2B5EF4-FFF2-40B4-BE49-F238E27FC236}">
                <a16:creationId xmlns:a16="http://schemas.microsoft.com/office/drawing/2014/main" id="{7B63C59B-A697-4C74-BA1A-544795C96CA5}"/>
              </a:ext>
            </a:extLst>
          </p:cNvPr>
          <p:cNvGrpSpPr/>
          <p:nvPr/>
        </p:nvGrpSpPr>
        <p:grpSpPr>
          <a:xfrm>
            <a:off x="2401813" y="238644"/>
            <a:ext cx="1080120" cy="810346"/>
            <a:chOff x="2185789" y="5609622"/>
            <a:chExt cx="1296144" cy="983984"/>
          </a:xfrm>
        </p:grpSpPr>
        <p:sp>
          <p:nvSpPr>
            <p:cNvPr id="7" name="Rectangle 6">
              <a:extLst>
                <a:ext uri="{FF2B5EF4-FFF2-40B4-BE49-F238E27FC236}">
                  <a16:creationId xmlns:a16="http://schemas.microsoft.com/office/drawing/2014/main" id="{395CDB5D-7F93-48D7-8C0F-E31F7A271111}"/>
                </a:ext>
              </a:extLst>
            </p:cNvPr>
            <p:cNvSpPr/>
            <p:nvPr/>
          </p:nvSpPr>
          <p:spPr bwMode="auto">
            <a:xfrm>
              <a:off x="2185789" y="5622223"/>
              <a:ext cx="1296144" cy="971383"/>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https://global.azurebootcamp.net/wp-content/uploads/2014/11/logo-2018-500x444-300x266.png">
              <a:extLst>
                <a:ext uri="{FF2B5EF4-FFF2-40B4-BE49-F238E27FC236}">
                  <a16:creationId xmlns:a16="http://schemas.microsoft.com/office/drawing/2014/main" id="{14936F2D-6269-4710-A303-0258842B2C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5613" y="5609622"/>
              <a:ext cx="1055757" cy="9361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99850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E5ED5CD6-0EB7-403E-A051-5F9AF5943B02}"/>
              </a:ext>
            </a:extLst>
          </p:cNvPr>
          <p:cNvSpPr txBox="1"/>
          <p:nvPr/>
        </p:nvSpPr>
        <p:spPr>
          <a:xfrm>
            <a:off x="5243718"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5" name="TextBox 44">
            <a:extLst>
              <a:ext uri="{FF2B5EF4-FFF2-40B4-BE49-F238E27FC236}">
                <a16:creationId xmlns:a16="http://schemas.microsoft.com/office/drawing/2014/main" id="{5F77E509-DCAD-4BE0-A9CC-83F6EA58D448}"/>
              </a:ext>
            </a:extLst>
          </p:cNvPr>
          <p:cNvSpPr txBox="1"/>
          <p:nvPr/>
        </p:nvSpPr>
        <p:spPr>
          <a:xfrm>
            <a:off x="7967616"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6" name="TextBox 45">
            <a:extLst>
              <a:ext uri="{FF2B5EF4-FFF2-40B4-BE49-F238E27FC236}">
                <a16:creationId xmlns:a16="http://schemas.microsoft.com/office/drawing/2014/main" id="{5493060C-E976-4CAF-91CB-C040154F8B9B}"/>
              </a:ext>
            </a:extLst>
          </p:cNvPr>
          <p:cNvSpPr txBox="1"/>
          <p:nvPr/>
        </p:nvSpPr>
        <p:spPr>
          <a:xfrm>
            <a:off x="10735974" y="4780396"/>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2" name="Title 1">
            <a:extLst>
              <a:ext uri="{FF2B5EF4-FFF2-40B4-BE49-F238E27FC236}">
                <a16:creationId xmlns:a16="http://schemas.microsoft.com/office/drawing/2014/main" id="{540BF66C-3C1A-495B-B189-5951CC51C045}"/>
              </a:ext>
            </a:extLst>
          </p:cNvPr>
          <p:cNvSpPr>
            <a:spLocks noGrp="1"/>
          </p:cNvSpPr>
          <p:nvPr>
            <p:ph type="title"/>
          </p:nvPr>
        </p:nvSpPr>
        <p:spPr/>
        <p:txBody>
          <a:bodyPr/>
          <a:lstStyle/>
          <a:p>
            <a:r>
              <a:rPr lang="en-AU" dirty="0"/>
              <a:t>Why Spark is fast</a:t>
            </a:r>
          </a:p>
        </p:txBody>
      </p:sp>
      <p:pic>
        <p:nvPicPr>
          <p:cNvPr id="3" name="Picture 2">
            <a:extLst>
              <a:ext uri="{FF2B5EF4-FFF2-40B4-BE49-F238E27FC236}">
                <a16:creationId xmlns:a16="http://schemas.microsoft.com/office/drawing/2014/main" id="{47772DCC-C0A1-4A09-9476-84EC5F01CFFB}"/>
              </a:ext>
            </a:extLst>
          </p:cNvPr>
          <p:cNvPicPr>
            <a:picLocks noChangeAspect="1"/>
          </p:cNvPicPr>
          <p:nvPr/>
        </p:nvPicPr>
        <p:blipFill>
          <a:blip r:embed="rId3"/>
          <a:stretch>
            <a:fillRect/>
          </a:stretch>
        </p:blipFill>
        <p:spPr>
          <a:xfrm>
            <a:off x="2702449" y="1837767"/>
            <a:ext cx="671521" cy="741365"/>
          </a:xfrm>
          <a:prstGeom prst="rect">
            <a:avLst/>
          </a:prstGeom>
        </p:spPr>
      </p:pic>
      <p:sp>
        <p:nvSpPr>
          <p:cNvPr id="7" name="TextBox 6">
            <a:extLst>
              <a:ext uri="{FF2B5EF4-FFF2-40B4-BE49-F238E27FC236}">
                <a16:creationId xmlns:a16="http://schemas.microsoft.com/office/drawing/2014/main" id="{3970A19B-9E25-4CBA-A11D-9CE940295918}"/>
              </a:ext>
            </a:extLst>
          </p:cNvPr>
          <p:cNvSpPr txBox="1"/>
          <p:nvPr/>
        </p:nvSpPr>
        <p:spPr>
          <a:xfrm>
            <a:off x="39646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pic>
        <p:nvPicPr>
          <p:cNvPr id="12" name="Picture 11">
            <a:extLst>
              <a:ext uri="{FF2B5EF4-FFF2-40B4-BE49-F238E27FC236}">
                <a16:creationId xmlns:a16="http://schemas.microsoft.com/office/drawing/2014/main" id="{C055D804-C24F-4105-8DD6-0C56852F053B}"/>
              </a:ext>
            </a:extLst>
          </p:cNvPr>
          <p:cNvPicPr>
            <a:picLocks noChangeAspect="1"/>
          </p:cNvPicPr>
          <p:nvPr/>
        </p:nvPicPr>
        <p:blipFill>
          <a:blip r:embed="rId4"/>
          <a:stretch>
            <a:fillRect/>
          </a:stretch>
        </p:blipFill>
        <p:spPr>
          <a:xfrm>
            <a:off x="5215041" y="4022190"/>
            <a:ext cx="1008112" cy="587967"/>
          </a:xfrm>
          <a:prstGeom prst="rect">
            <a:avLst/>
          </a:prstGeom>
        </p:spPr>
      </p:pic>
      <p:pic>
        <p:nvPicPr>
          <p:cNvPr id="13" name="Picture 12">
            <a:extLst>
              <a:ext uri="{FF2B5EF4-FFF2-40B4-BE49-F238E27FC236}">
                <a16:creationId xmlns:a16="http://schemas.microsoft.com/office/drawing/2014/main" id="{D7DE12B2-7508-4D05-8FAD-7BCEC01265BB}"/>
              </a:ext>
            </a:extLst>
          </p:cNvPr>
          <p:cNvPicPr>
            <a:picLocks noChangeAspect="1"/>
          </p:cNvPicPr>
          <p:nvPr/>
        </p:nvPicPr>
        <p:blipFill>
          <a:blip r:embed="rId4"/>
          <a:stretch>
            <a:fillRect/>
          </a:stretch>
        </p:blipFill>
        <p:spPr>
          <a:xfrm>
            <a:off x="7861426" y="4022190"/>
            <a:ext cx="1008112" cy="587967"/>
          </a:xfrm>
          <a:prstGeom prst="rect">
            <a:avLst/>
          </a:prstGeom>
        </p:spPr>
      </p:pic>
      <p:pic>
        <p:nvPicPr>
          <p:cNvPr id="14" name="Picture 13">
            <a:extLst>
              <a:ext uri="{FF2B5EF4-FFF2-40B4-BE49-F238E27FC236}">
                <a16:creationId xmlns:a16="http://schemas.microsoft.com/office/drawing/2014/main" id="{85256265-D442-45F7-986A-D62C5A97D323}"/>
              </a:ext>
            </a:extLst>
          </p:cNvPr>
          <p:cNvPicPr>
            <a:picLocks noChangeAspect="1"/>
          </p:cNvPicPr>
          <p:nvPr/>
        </p:nvPicPr>
        <p:blipFill>
          <a:blip r:embed="rId4"/>
          <a:stretch>
            <a:fillRect/>
          </a:stretch>
        </p:blipFill>
        <p:spPr>
          <a:xfrm>
            <a:off x="10620844" y="4022189"/>
            <a:ext cx="1008112" cy="587967"/>
          </a:xfrm>
          <a:prstGeom prst="rect">
            <a:avLst/>
          </a:prstGeom>
        </p:spPr>
      </p:pic>
      <p:sp>
        <p:nvSpPr>
          <p:cNvPr id="15" name="Arrow: Right 14">
            <a:extLst>
              <a:ext uri="{FF2B5EF4-FFF2-40B4-BE49-F238E27FC236}">
                <a16:creationId xmlns:a16="http://schemas.microsoft.com/office/drawing/2014/main" id="{BB27B627-3DFF-4F99-971D-B1C2841DEB19}"/>
              </a:ext>
            </a:extLst>
          </p:cNvPr>
          <p:cNvSpPr/>
          <p:nvPr/>
        </p:nvSpPr>
        <p:spPr bwMode="auto">
          <a:xfrm>
            <a:off x="37070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5FB998D1-B87B-4F7F-9CEB-4E743B5D3ED1}"/>
              </a:ext>
            </a:extLst>
          </p:cNvPr>
          <p:cNvPicPr>
            <a:picLocks noChangeAspect="1"/>
          </p:cNvPicPr>
          <p:nvPr/>
        </p:nvPicPr>
        <p:blipFill>
          <a:blip r:embed="rId3"/>
          <a:stretch>
            <a:fillRect/>
          </a:stretch>
        </p:blipFill>
        <p:spPr>
          <a:xfrm>
            <a:off x="5426149" y="1837767"/>
            <a:ext cx="671521" cy="741365"/>
          </a:xfrm>
          <a:prstGeom prst="rect">
            <a:avLst/>
          </a:prstGeom>
        </p:spPr>
      </p:pic>
      <p:sp>
        <p:nvSpPr>
          <p:cNvPr id="17" name="TextBox 16">
            <a:extLst>
              <a:ext uri="{FF2B5EF4-FFF2-40B4-BE49-F238E27FC236}">
                <a16:creationId xmlns:a16="http://schemas.microsoft.com/office/drawing/2014/main" id="{B4E1B64E-C0A5-4DCB-ABC9-9D1236EC0E1E}"/>
              </a:ext>
            </a:extLst>
          </p:cNvPr>
          <p:cNvSpPr txBox="1"/>
          <p:nvPr/>
        </p:nvSpPr>
        <p:spPr>
          <a:xfrm>
            <a:off x="66883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18" name="Arrow: Right 17">
            <a:extLst>
              <a:ext uri="{FF2B5EF4-FFF2-40B4-BE49-F238E27FC236}">
                <a16:creationId xmlns:a16="http://schemas.microsoft.com/office/drawing/2014/main" id="{FE196ADF-1ABE-4EA8-B5CC-53EAA5699F1E}"/>
              </a:ext>
            </a:extLst>
          </p:cNvPr>
          <p:cNvSpPr/>
          <p:nvPr/>
        </p:nvSpPr>
        <p:spPr bwMode="auto">
          <a:xfrm>
            <a:off x="64307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3333505E-DF12-43A9-AAF4-1AC3311E0CA9}"/>
              </a:ext>
            </a:extLst>
          </p:cNvPr>
          <p:cNvPicPr>
            <a:picLocks noChangeAspect="1"/>
          </p:cNvPicPr>
          <p:nvPr/>
        </p:nvPicPr>
        <p:blipFill>
          <a:blip r:embed="rId3"/>
          <a:stretch>
            <a:fillRect/>
          </a:stretch>
        </p:blipFill>
        <p:spPr>
          <a:xfrm>
            <a:off x="8149849" y="1856174"/>
            <a:ext cx="671521" cy="741365"/>
          </a:xfrm>
          <a:prstGeom prst="rect">
            <a:avLst/>
          </a:prstGeom>
        </p:spPr>
      </p:pic>
      <p:sp>
        <p:nvSpPr>
          <p:cNvPr id="20" name="TextBox 19">
            <a:extLst>
              <a:ext uri="{FF2B5EF4-FFF2-40B4-BE49-F238E27FC236}">
                <a16:creationId xmlns:a16="http://schemas.microsoft.com/office/drawing/2014/main" id="{B61F036B-5586-4051-BD7C-C0D45662F5CD}"/>
              </a:ext>
            </a:extLst>
          </p:cNvPr>
          <p:cNvSpPr txBox="1"/>
          <p:nvPr/>
        </p:nvSpPr>
        <p:spPr>
          <a:xfrm>
            <a:off x="9412023" y="173177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1" name="Arrow: Right 20">
            <a:extLst>
              <a:ext uri="{FF2B5EF4-FFF2-40B4-BE49-F238E27FC236}">
                <a16:creationId xmlns:a16="http://schemas.microsoft.com/office/drawing/2014/main" id="{7B284056-2E21-4E62-AF09-F9CAE16C8699}"/>
              </a:ext>
            </a:extLst>
          </p:cNvPr>
          <p:cNvSpPr/>
          <p:nvPr/>
        </p:nvSpPr>
        <p:spPr bwMode="auto">
          <a:xfrm>
            <a:off x="9154431" y="213053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F8507C0C-7A16-40D1-BB47-390282BAA5F7}"/>
              </a:ext>
            </a:extLst>
          </p:cNvPr>
          <p:cNvPicPr>
            <a:picLocks noChangeAspect="1"/>
          </p:cNvPicPr>
          <p:nvPr/>
        </p:nvPicPr>
        <p:blipFill>
          <a:blip r:embed="rId3"/>
          <a:stretch>
            <a:fillRect/>
          </a:stretch>
        </p:blipFill>
        <p:spPr>
          <a:xfrm>
            <a:off x="10798080" y="1856173"/>
            <a:ext cx="671521" cy="741365"/>
          </a:xfrm>
          <a:prstGeom prst="rect">
            <a:avLst/>
          </a:prstGeom>
        </p:spPr>
      </p:pic>
      <p:pic>
        <p:nvPicPr>
          <p:cNvPr id="23" name="Picture 22">
            <a:extLst>
              <a:ext uri="{FF2B5EF4-FFF2-40B4-BE49-F238E27FC236}">
                <a16:creationId xmlns:a16="http://schemas.microsoft.com/office/drawing/2014/main" id="{535D3CFD-8B41-4DFE-81DC-6B3174FBF7A9}"/>
              </a:ext>
            </a:extLst>
          </p:cNvPr>
          <p:cNvPicPr>
            <a:picLocks noChangeAspect="1"/>
          </p:cNvPicPr>
          <p:nvPr/>
        </p:nvPicPr>
        <p:blipFill>
          <a:blip r:embed="rId3"/>
          <a:stretch>
            <a:fillRect/>
          </a:stretch>
        </p:blipFill>
        <p:spPr>
          <a:xfrm>
            <a:off x="2676398" y="3927084"/>
            <a:ext cx="671521" cy="741365"/>
          </a:xfrm>
          <a:prstGeom prst="rect">
            <a:avLst/>
          </a:prstGeom>
        </p:spPr>
      </p:pic>
      <p:sp>
        <p:nvSpPr>
          <p:cNvPr id="24" name="TextBox 23">
            <a:extLst>
              <a:ext uri="{FF2B5EF4-FFF2-40B4-BE49-F238E27FC236}">
                <a16:creationId xmlns:a16="http://schemas.microsoft.com/office/drawing/2014/main" id="{86933CA2-A8D1-4250-B63A-640D8A0534EF}"/>
              </a:ext>
            </a:extLst>
          </p:cNvPr>
          <p:cNvSpPr txBox="1"/>
          <p:nvPr/>
        </p:nvSpPr>
        <p:spPr>
          <a:xfrm>
            <a:off x="39385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5" name="Arrow: Right 24">
            <a:extLst>
              <a:ext uri="{FF2B5EF4-FFF2-40B4-BE49-F238E27FC236}">
                <a16:creationId xmlns:a16="http://schemas.microsoft.com/office/drawing/2014/main" id="{AD4814A0-D06C-40DE-8A45-9AC8566A4A42}"/>
              </a:ext>
            </a:extLst>
          </p:cNvPr>
          <p:cNvSpPr/>
          <p:nvPr/>
        </p:nvSpPr>
        <p:spPr bwMode="auto">
          <a:xfrm>
            <a:off x="36809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A2338703-FB3B-4676-BF5D-9298C4C0CBF6}"/>
              </a:ext>
            </a:extLst>
          </p:cNvPr>
          <p:cNvSpPr txBox="1"/>
          <p:nvPr/>
        </p:nvSpPr>
        <p:spPr>
          <a:xfrm>
            <a:off x="66622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8" name="Arrow: Right 27">
            <a:extLst>
              <a:ext uri="{FF2B5EF4-FFF2-40B4-BE49-F238E27FC236}">
                <a16:creationId xmlns:a16="http://schemas.microsoft.com/office/drawing/2014/main" id="{F6A66483-167D-4E43-898F-1F9C9E7E99A4}"/>
              </a:ext>
            </a:extLst>
          </p:cNvPr>
          <p:cNvSpPr/>
          <p:nvPr/>
        </p:nvSpPr>
        <p:spPr bwMode="auto">
          <a:xfrm>
            <a:off x="64046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D75867E8-DF42-45C4-932A-D12D43C2E1D0}"/>
              </a:ext>
            </a:extLst>
          </p:cNvPr>
          <p:cNvSpPr txBox="1"/>
          <p:nvPr/>
        </p:nvSpPr>
        <p:spPr>
          <a:xfrm>
            <a:off x="9385972" y="3821088"/>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31" name="Arrow: Right 30">
            <a:extLst>
              <a:ext uri="{FF2B5EF4-FFF2-40B4-BE49-F238E27FC236}">
                <a16:creationId xmlns:a16="http://schemas.microsoft.com/office/drawing/2014/main" id="{9D629CD5-103C-4A21-8CBA-768DCB2EF969}"/>
              </a:ext>
            </a:extLst>
          </p:cNvPr>
          <p:cNvSpPr/>
          <p:nvPr/>
        </p:nvSpPr>
        <p:spPr bwMode="auto">
          <a:xfrm>
            <a:off x="9128380" y="4219854"/>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18" descr="Image result for mapreduce logo">
            <a:extLst>
              <a:ext uri="{FF2B5EF4-FFF2-40B4-BE49-F238E27FC236}">
                <a16:creationId xmlns:a16="http://schemas.microsoft.com/office/drawing/2014/main" id="{E0E2C7A2-1002-421C-B700-8A8EB387FF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216" y="1871346"/>
            <a:ext cx="1692676" cy="5183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mage result for apache spark">
            <a:extLst>
              <a:ext uri="{FF2B5EF4-FFF2-40B4-BE49-F238E27FC236}">
                <a16:creationId xmlns:a16="http://schemas.microsoft.com/office/drawing/2014/main" id="{D13DF4AE-8720-4643-9696-20BD8D1FE5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194" y="3922885"/>
            <a:ext cx="1409551" cy="74976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05DF312D-FFCE-4D11-AA47-EDFCCFDCDC28}"/>
              </a:ext>
            </a:extLst>
          </p:cNvPr>
          <p:cNvSpPr txBox="1"/>
          <p:nvPr/>
        </p:nvSpPr>
        <p:spPr>
          <a:xfrm>
            <a:off x="2595487"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7" name="TextBox 36">
            <a:extLst>
              <a:ext uri="{FF2B5EF4-FFF2-40B4-BE49-F238E27FC236}">
                <a16:creationId xmlns:a16="http://schemas.microsoft.com/office/drawing/2014/main" id="{51582871-4FA4-4DEE-B795-7390A579BD18}"/>
              </a:ext>
            </a:extLst>
          </p:cNvPr>
          <p:cNvSpPr txBox="1"/>
          <p:nvPr/>
        </p:nvSpPr>
        <p:spPr>
          <a:xfrm>
            <a:off x="53349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8" name="TextBox 37">
            <a:extLst>
              <a:ext uri="{FF2B5EF4-FFF2-40B4-BE49-F238E27FC236}">
                <a16:creationId xmlns:a16="http://schemas.microsoft.com/office/drawing/2014/main" id="{99B369E6-1BB3-49B9-8E8B-BF42F9E8730E}"/>
              </a:ext>
            </a:extLst>
          </p:cNvPr>
          <p:cNvSpPr txBox="1"/>
          <p:nvPr/>
        </p:nvSpPr>
        <p:spPr>
          <a:xfrm>
            <a:off x="80586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9" name="TextBox 38">
            <a:extLst>
              <a:ext uri="{FF2B5EF4-FFF2-40B4-BE49-F238E27FC236}">
                <a16:creationId xmlns:a16="http://schemas.microsoft.com/office/drawing/2014/main" id="{4A8630D7-42A8-44BE-9B7B-B6391D023838}"/>
              </a:ext>
            </a:extLst>
          </p:cNvPr>
          <p:cNvSpPr txBox="1"/>
          <p:nvPr/>
        </p:nvSpPr>
        <p:spPr>
          <a:xfrm>
            <a:off x="10697924"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40" name="TextBox 39">
            <a:extLst>
              <a:ext uri="{FF2B5EF4-FFF2-40B4-BE49-F238E27FC236}">
                <a16:creationId xmlns:a16="http://schemas.microsoft.com/office/drawing/2014/main" id="{CE16F16E-A54F-46DC-8740-5A00C16BFB07}"/>
              </a:ext>
            </a:extLst>
          </p:cNvPr>
          <p:cNvSpPr txBox="1"/>
          <p:nvPr/>
        </p:nvSpPr>
        <p:spPr>
          <a:xfrm>
            <a:off x="2595487" y="4780397"/>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6" name="TextBox 35">
            <a:extLst>
              <a:ext uri="{FF2B5EF4-FFF2-40B4-BE49-F238E27FC236}">
                <a16:creationId xmlns:a16="http://schemas.microsoft.com/office/drawing/2014/main" id="{670AADB6-170E-4DCA-8AC7-2816D109B855}"/>
              </a:ext>
            </a:extLst>
          </p:cNvPr>
          <p:cNvSpPr txBox="1"/>
          <p:nvPr/>
        </p:nvSpPr>
        <p:spPr>
          <a:xfrm>
            <a:off x="6269238" y="3176291"/>
            <a:ext cx="909544"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Cache</a:t>
            </a:r>
          </a:p>
        </p:txBody>
      </p:sp>
      <p:sp>
        <p:nvSpPr>
          <p:cNvPr id="4" name="Speech Bubble: Rectangle 3">
            <a:extLst>
              <a:ext uri="{FF2B5EF4-FFF2-40B4-BE49-F238E27FC236}">
                <a16:creationId xmlns:a16="http://schemas.microsoft.com/office/drawing/2014/main" id="{15CA40FF-30E8-4DEB-98DA-653976AEB803}"/>
              </a:ext>
            </a:extLst>
          </p:cNvPr>
          <p:cNvSpPr/>
          <p:nvPr/>
        </p:nvSpPr>
        <p:spPr bwMode="auto">
          <a:xfrm>
            <a:off x="7609566" y="3176290"/>
            <a:ext cx="1399119" cy="638395"/>
          </a:xfrm>
          <a:prstGeom prst="wedgeRectCallout">
            <a:avLst>
              <a:gd name="adj1" fmla="val -22500"/>
              <a:gd name="adj2" fmla="val 93808"/>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AU" sz="2800" dirty="0">
                <a:gradFill>
                  <a:gsLst>
                    <a:gs pos="0">
                      <a:srgbClr val="FFFFFF"/>
                    </a:gs>
                    <a:gs pos="100000">
                      <a:srgbClr val="FFFFFF"/>
                    </a:gs>
                  </a:gsLst>
                  <a:lin ang="5400000" scaled="0"/>
                </a:gradFill>
                <a:ea typeface="Segoe UI" pitchFamily="34" charset="0"/>
                <a:cs typeface="Segoe UI" pitchFamily="34" charset="0"/>
              </a:rPr>
              <a:t>Cache</a:t>
            </a:r>
          </a:p>
        </p:txBody>
      </p:sp>
      <p:grpSp>
        <p:nvGrpSpPr>
          <p:cNvPr id="6" name="Group 5">
            <a:extLst>
              <a:ext uri="{FF2B5EF4-FFF2-40B4-BE49-F238E27FC236}">
                <a16:creationId xmlns:a16="http://schemas.microsoft.com/office/drawing/2014/main" id="{DD376938-161D-453C-90C1-20B62B1680BA}"/>
              </a:ext>
            </a:extLst>
          </p:cNvPr>
          <p:cNvGrpSpPr/>
          <p:nvPr/>
        </p:nvGrpSpPr>
        <p:grpSpPr>
          <a:xfrm>
            <a:off x="3726173" y="1558668"/>
            <a:ext cx="6164472" cy="3704086"/>
            <a:chOff x="2342316" y="2018003"/>
            <a:chExt cx="4292040" cy="2415363"/>
          </a:xfrm>
        </p:grpSpPr>
        <p:sp>
          <p:nvSpPr>
            <p:cNvPr id="5" name="Rectangle 4">
              <a:extLst>
                <a:ext uri="{FF2B5EF4-FFF2-40B4-BE49-F238E27FC236}">
                  <a16:creationId xmlns:a16="http://schemas.microsoft.com/office/drawing/2014/main" id="{7EAC4783-CA55-4AEB-9B38-8FB56C289CDB}"/>
                </a:ext>
              </a:extLst>
            </p:cNvPr>
            <p:cNvSpPr/>
            <p:nvPr/>
          </p:nvSpPr>
          <p:spPr bwMode="auto">
            <a:xfrm>
              <a:off x="2342316" y="2018003"/>
              <a:ext cx="3729303" cy="2415363"/>
            </a:xfrm>
            <a:prstGeom prst="rect">
              <a:avLst/>
            </a:prstGeom>
            <a:ln>
              <a:headEnd type="none" w="med" len="med"/>
              <a:tailEnd type="none" w="med" len="med"/>
            </a:ln>
            <a:effectLst>
              <a:glow rad="800100">
                <a:schemeClr val="accent1">
                  <a:satMod val="175000"/>
                  <a:alpha val="14000"/>
                </a:schemeClr>
              </a:glo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2" descr="http://spark.apache.org/images/logistic-regression.png">
              <a:extLst>
                <a:ext uri="{FF2B5EF4-FFF2-40B4-BE49-F238E27FC236}">
                  <a16:creationId xmlns:a16="http://schemas.microsoft.com/office/drawing/2014/main" id="{4A8C652A-A913-4774-A23A-DA4FA68E28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38833" y="2183239"/>
              <a:ext cx="3478390" cy="1794849"/>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F61376B7-FF32-480F-B2A9-BF0E5C83EC16}"/>
                </a:ext>
              </a:extLst>
            </p:cNvPr>
            <p:cNvSpPr txBox="1"/>
            <p:nvPr/>
          </p:nvSpPr>
          <p:spPr>
            <a:xfrm>
              <a:off x="2476997" y="3924992"/>
              <a:ext cx="4157359" cy="420209"/>
            </a:xfrm>
            <a:prstGeom prst="rect">
              <a:avLst/>
            </a:prstGeom>
            <a:noFill/>
          </p:spPr>
          <p:txBody>
            <a:bodyPr wrap="square" lIns="182880" tIns="146304" rIns="182880" bIns="146304" rtlCol="0">
              <a:spAutoFit/>
            </a:bodyPr>
            <a:lstStyle/>
            <a:p>
              <a:pPr>
                <a:lnSpc>
                  <a:spcPct val="90000"/>
                </a:lnSpc>
                <a:spcAft>
                  <a:spcPts val="600"/>
                </a:spcAft>
              </a:pPr>
              <a:r>
                <a:rPr lang="en-AU" sz="2000" b="1" dirty="0">
                  <a:gradFill>
                    <a:gsLst>
                      <a:gs pos="2917">
                        <a:schemeClr val="tx1"/>
                      </a:gs>
                      <a:gs pos="30000">
                        <a:schemeClr val="tx1"/>
                      </a:gs>
                    </a:gsLst>
                    <a:lin ang="5400000" scaled="0"/>
                  </a:gradFill>
                </a:rPr>
                <a:t>Logistic regression in Hadoop vs Spark</a:t>
              </a:r>
            </a:p>
          </p:txBody>
        </p:sp>
      </p:grpSp>
      <p:sp>
        <p:nvSpPr>
          <p:cNvPr id="43" name="TextBox 42">
            <a:extLst>
              <a:ext uri="{FF2B5EF4-FFF2-40B4-BE49-F238E27FC236}">
                <a16:creationId xmlns:a16="http://schemas.microsoft.com/office/drawing/2014/main" id="{21E2FE52-26CB-4DC9-B3C4-5B872C58D399}"/>
              </a:ext>
            </a:extLst>
          </p:cNvPr>
          <p:cNvSpPr txBox="1"/>
          <p:nvPr/>
        </p:nvSpPr>
        <p:spPr>
          <a:xfrm>
            <a:off x="212730" y="5996241"/>
            <a:ext cx="4151439" cy="422873"/>
          </a:xfrm>
          <a:prstGeom prst="rect">
            <a:avLst/>
          </a:prstGeom>
          <a:noFill/>
        </p:spPr>
        <p:txBody>
          <a:bodyPr wrap="square" lIns="182880" tIns="146304" rIns="182880" bIns="146304" rtlCol="0">
            <a:spAutoFit/>
          </a:bodyPr>
          <a:lstStyle/>
          <a:p>
            <a:pPr>
              <a:lnSpc>
                <a:spcPct val="90000"/>
              </a:lnSpc>
              <a:spcAft>
                <a:spcPts val="600"/>
              </a:spcAft>
            </a:pPr>
            <a:r>
              <a:rPr lang="en-AU" sz="920" dirty="0"/>
              <a:t>Source: http://spark.apache.org/</a:t>
            </a:r>
          </a:p>
        </p:txBody>
      </p:sp>
    </p:spTree>
    <p:extLst>
      <p:ext uri="{BB962C8B-B14F-4D97-AF65-F5344CB8AC3E}">
        <p14:creationId xmlns:p14="http://schemas.microsoft.com/office/powerpoint/2010/main" val="4229896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0EA3A-4F54-469D-B3F9-C11EFE64F42D}"/>
              </a:ext>
            </a:extLst>
          </p:cNvPr>
          <p:cNvSpPr>
            <a:spLocks noGrp="1"/>
          </p:cNvSpPr>
          <p:nvPr>
            <p:ph type="title"/>
          </p:nvPr>
        </p:nvSpPr>
        <p:spPr/>
        <p:txBody>
          <a:bodyPr/>
          <a:lstStyle/>
          <a:p>
            <a:r>
              <a:rPr lang="en-AU" dirty="0"/>
              <a:t>Apache Spark: APIs</a:t>
            </a:r>
          </a:p>
        </p:txBody>
      </p:sp>
      <p:sp>
        <p:nvSpPr>
          <p:cNvPr id="3" name="Text Placeholder 2">
            <a:extLst>
              <a:ext uri="{FF2B5EF4-FFF2-40B4-BE49-F238E27FC236}">
                <a16:creationId xmlns:a16="http://schemas.microsoft.com/office/drawing/2014/main" id="{9E43E079-B58F-4785-A558-6398BD5E31B8}"/>
              </a:ext>
            </a:extLst>
          </p:cNvPr>
          <p:cNvSpPr>
            <a:spLocks noGrp="1"/>
          </p:cNvSpPr>
          <p:nvPr>
            <p:ph type="body" sz="quarter" idx="10"/>
          </p:nvPr>
        </p:nvSpPr>
        <p:spPr>
          <a:xfrm>
            <a:off x="274639" y="1211287"/>
            <a:ext cx="5486399" cy="4524315"/>
          </a:xfrm>
        </p:spPr>
        <p:txBody>
          <a:bodyPr/>
          <a:lstStyle/>
          <a:p>
            <a:r>
              <a:rPr lang="en-US" dirty="0"/>
              <a:t>RDDs</a:t>
            </a:r>
          </a:p>
          <a:p>
            <a:pPr lvl="1"/>
            <a:r>
              <a:rPr lang="en-US" dirty="0"/>
              <a:t>Core building block of data processing pipelines</a:t>
            </a:r>
          </a:p>
          <a:p>
            <a:r>
              <a:rPr lang="en-US" dirty="0" err="1"/>
              <a:t>DataFrames</a:t>
            </a:r>
            <a:endParaRPr lang="en-US" dirty="0"/>
          </a:p>
          <a:p>
            <a:pPr lvl="1"/>
            <a:r>
              <a:rPr lang="en-US" dirty="0"/>
              <a:t>High level APIs that take advantage of query optimizer</a:t>
            </a:r>
          </a:p>
          <a:p>
            <a:r>
              <a:rPr lang="en-US" dirty="0"/>
              <a:t>Datasets</a:t>
            </a:r>
          </a:p>
          <a:p>
            <a:pPr lvl="1"/>
            <a:r>
              <a:rPr lang="en-US" dirty="0"/>
              <a:t>Data Frames with user objects and custom code</a:t>
            </a:r>
          </a:p>
          <a:p>
            <a:endParaRPr lang="en-AU" dirty="0"/>
          </a:p>
        </p:txBody>
      </p:sp>
      <p:sp>
        <p:nvSpPr>
          <p:cNvPr id="5" name="Rectangle 4">
            <a:extLst>
              <a:ext uri="{FF2B5EF4-FFF2-40B4-BE49-F238E27FC236}">
                <a16:creationId xmlns:a16="http://schemas.microsoft.com/office/drawing/2014/main" id="{3375CD19-0393-46C9-9E58-C8060F345AA5}"/>
              </a:ext>
            </a:extLst>
          </p:cNvPr>
          <p:cNvSpPr/>
          <p:nvPr/>
        </p:nvSpPr>
        <p:spPr>
          <a:xfrm>
            <a:off x="6584461" y="1987182"/>
            <a:ext cx="1629837" cy="805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tructured Streaming</a:t>
            </a:r>
          </a:p>
        </p:txBody>
      </p:sp>
      <p:sp>
        <p:nvSpPr>
          <p:cNvPr id="6" name="Rectangle 5">
            <a:extLst>
              <a:ext uri="{FF2B5EF4-FFF2-40B4-BE49-F238E27FC236}">
                <a16:creationId xmlns:a16="http://schemas.microsoft.com/office/drawing/2014/main" id="{591A1EA7-04EF-4826-8A0D-56E9238EC1DC}"/>
              </a:ext>
            </a:extLst>
          </p:cNvPr>
          <p:cNvSpPr/>
          <p:nvPr/>
        </p:nvSpPr>
        <p:spPr>
          <a:xfrm>
            <a:off x="8290303" y="1987182"/>
            <a:ext cx="1629837" cy="805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Advanced Analytics</a:t>
            </a:r>
          </a:p>
        </p:txBody>
      </p:sp>
      <p:sp>
        <p:nvSpPr>
          <p:cNvPr id="7" name="Rectangle 6">
            <a:extLst>
              <a:ext uri="{FF2B5EF4-FFF2-40B4-BE49-F238E27FC236}">
                <a16:creationId xmlns:a16="http://schemas.microsoft.com/office/drawing/2014/main" id="{C46D20FE-EFF5-4F1D-A465-94CD24D29949}"/>
              </a:ext>
            </a:extLst>
          </p:cNvPr>
          <p:cNvSpPr/>
          <p:nvPr/>
        </p:nvSpPr>
        <p:spPr>
          <a:xfrm>
            <a:off x="9996145" y="1987182"/>
            <a:ext cx="1629837" cy="8050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Libraries &amp; Ecosystem</a:t>
            </a:r>
          </a:p>
        </p:txBody>
      </p:sp>
      <p:sp>
        <p:nvSpPr>
          <p:cNvPr id="8" name="Rectangle 7">
            <a:extLst>
              <a:ext uri="{FF2B5EF4-FFF2-40B4-BE49-F238E27FC236}">
                <a16:creationId xmlns:a16="http://schemas.microsoft.com/office/drawing/2014/main" id="{462AA5DA-C178-46A6-AFC4-B80246473D0E}"/>
              </a:ext>
            </a:extLst>
          </p:cNvPr>
          <p:cNvSpPr/>
          <p:nvPr/>
        </p:nvSpPr>
        <p:spPr>
          <a:xfrm>
            <a:off x="6584462" y="4084460"/>
            <a:ext cx="5041520" cy="1063096"/>
          </a:xfrm>
          <a:prstGeom prst="rect">
            <a:avLst/>
          </a:prstGeom>
        </p:spPr>
        <p:style>
          <a:lnRef idx="3">
            <a:schemeClr val="lt1"/>
          </a:lnRef>
          <a:fillRef idx="1">
            <a:schemeClr val="accent2"/>
          </a:fillRef>
          <a:effectRef idx="1">
            <a:schemeClr val="accent2"/>
          </a:effectRef>
          <a:fontRef idx="minor">
            <a:schemeClr val="lt1"/>
          </a:fontRef>
        </p:style>
        <p:txBody>
          <a:bodyPr rtlCol="0" anchor="t"/>
          <a:lstStyle/>
          <a:p>
            <a:pPr algn="ctr"/>
            <a:r>
              <a:rPr lang="en-AU" b="1" dirty="0"/>
              <a:t>Low Level APIs</a:t>
            </a:r>
          </a:p>
        </p:txBody>
      </p:sp>
      <p:sp>
        <p:nvSpPr>
          <p:cNvPr id="9" name="Rectangle 8">
            <a:extLst>
              <a:ext uri="{FF2B5EF4-FFF2-40B4-BE49-F238E27FC236}">
                <a16:creationId xmlns:a16="http://schemas.microsoft.com/office/drawing/2014/main" id="{ED0CF396-746E-4002-85AF-58FCA6EA6B41}"/>
              </a:ext>
            </a:extLst>
          </p:cNvPr>
          <p:cNvSpPr/>
          <p:nvPr/>
        </p:nvSpPr>
        <p:spPr>
          <a:xfrm>
            <a:off x="6584462" y="2935760"/>
            <a:ext cx="5041520" cy="1011901"/>
          </a:xfrm>
          <a:prstGeom prst="rect">
            <a:avLst/>
          </a:prstGeom>
        </p:spPr>
        <p:style>
          <a:lnRef idx="3">
            <a:schemeClr val="lt1"/>
          </a:lnRef>
          <a:fillRef idx="1">
            <a:schemeClr val="accent2"/>
          </a:fillRef>
          <a:effectRef idx="1">
            <a:schemeClr val="accent2"/>
          </a:effectRef>
          <a:fontRef idx="minor">
            <a:schemeClr val="lt1"/>
          </a:fontRef>
        </p:style>
        <p:txBody>
          <a:bodyPr rtlCol="0" anchor="t"/>
          <a:lstStyle/>
          <a:p>
            <a:pPr algn="ctr"/>
            <a:r>
              <a:rPr lang="en-AU" b="1" dirty="0"/>
              <a:t>Structure APIs</a:t>
            </a:r>
          </a:p>
        </p:txBody>
      </p:sp>
      <p:sp>
        <p:nvSpPr>
          <p:cNvPr id="10" name="TextBox 9">
            <a:extLst>
              <a:ext uri="{FF2B5EF4-FFF2-40B4-BE49-F238E27FC236}">
                <a16:creationId xmlns:a16="http://schemas.microsoft.com/office/drawing/2014/main" id="{AD036B37-45F8-4FDE-BA99-69F3605346AA}"/>
              </a:ext>
            </a:extLst>
          </p:cNvPr>
          <p:cNvSpPr txBox="1"/>
          <p:nvPr/>
        </p:nvSpPr>
        <p:spPr>
          <a:xfrm>
            <a:off x="6816081" y="3313484"/>
            <a:ext cx="1194450" cy="369332"/>
          </a:xfrm>
          <a:prstGeom prst="rect">
            <a:avLst/>
          </a:prstGeom>
          <a:noFill/>
        </p:spPr>
        <p:txBody>
          <a:bodyPr wrap="square" rtlCol="0">
            <a:spAutoFit/>
          </a:bodyPr>
          <a:lstStyle/>
          <a:p>
            <a:r>
              <a:rPr lang="en-AU" dirty="0">
                <a:solidFill>
                  <a:schemeClr val="bg1"/>
                </a:solidFill>
              </a:rPr>
              <a:t>Datasets</a:t>
            </a:r>
          </a:p>
        </p:txBody>
      </p:sp>
      <p:sp>
        <p:nvSpPr>
          <p:cNvPr id="11" name="TextBox 10">
            <a:extLst>
              <a:ext uri="{FF2B5EF4-FFF2-40B4-BE49-F238E27FC236}">
                <a16:creationId xmlns:a16="http://schemas.microsoft.com/office/drawing/2014/main" id="{01FDEE80-841F-40BD-A4CF-D0CEF35EFC25}"/>
              </a:ext>
            </a:extLst>
          </p:cNvPr>
          <p:cNvSpPr txBox="1"/>
          <p:nvPr/>
        </p:nvSpPr>
        <p:spPr>
          <a:xfrm>
            <a:off x="8422243" y="3334367"/>
            <a:ext cx="1365956" cy="369332"/>
          </a:xfrm>
          <a:prstGeom prst="rect">
            <a:avLst/>
          </a:prstGeom>
          <a:noFill/>
        </p:spPr>
        <p:txBody>
          <a:bodyPr wrap="square" rtlCol="0">
            <a:spAutoFit/>
          </a:bodyPr>
          <a:lstStyle/>
          <a:p>
            <a:pPr algn="ctr"/>
            <a:r>
              <a:rPr lang="en-AU" dirty="0" err="1">
                <a:solidFill>
                  <a:schemeClr val="bg1"/>
                </a:solidFill>
              </a:rPr>
              <a:t>DataFrame</a:t>
            </a:r>
            <a:endParaRPr lang="en-AU" dirty="0">
              <a:solidFill>
                <a:schemeClr val="bg1"/>
              </a:solidFill>
            </a:endParaRPr>
          </a:p>
        </p:txBody>
      </p:sp>
      <p:sp>
        <p:nvSpPr>
          <p:cNvPr id="12" name="TextBox 11">
            <a:extLst>
              <a:ext uri="{FF2B5EF4-FFF2-40B4-BE49-F238E27FC236}">
                <a16:creationId xmlns:a16="http://schemas.microsoft.com/office/drawing/2014/main" id="{FDC8EC74-573E-41CA-8E45-A9C371EFB320}"/>
              </a:ext>
            </a:extLst>
          </p:cNvPr>
          <p:cNvSpPr txBox="1"/>
          <p:nvPr/>
        </p:nvSpPr>
        <p:spPr>
          <a:xfrm>
            <a:off x="10434879" y="3313484"/>
            <a:ext cx="888605" cy="369332"/>
          </a:xfrm>
          <a:prstGeom prst="rect">
            <a:avLst/>
          </a:prstGeom>
          <a:noFill/>
        </p:spPr>
        <p:txBody>
          <a:bodyPr wrap="square" rtlCol="0">
            <a:spAutoFit/>
          </a:bodyPr>
          <a:lstStyle/>
          <a:p>
            <a:r>
              <a:rPr lang="en-AU" dirty="0">
                <a:solidFill>
                  <a:schemeClr val="bg1"/>
                </a:solidFill>
              </a:rPr>
              <a:t>SQL</a:t>
            </a:r>
          </a:p>
        </p:txBody>
      </p:sp>
      <p:sp>
        <p:nvSpPr>
          <p:cNvPr id="13" name="TextBox 12">
            <a:extLst>
              <a:ext uri="{FF2B5EF4-FFF2-40B4-BE49-F238E27FC236}">
                <a16:creationId xmlns:a16="http://schemas.microsoft.com/office/drawing/2014/main" id="{F9F35C5E-132D-42BD-9AF8-23093F62F0F2}"/>
              </a:ext>
            </a:extLst>
          </p:cNvPr>
          <p:cNvSpPr txBox="1"/>
          <p:nvPr/>
        </p:nvSpPr>
        <p:spPr>
          <a:xfrm>
            <a:off x="7352297" y="4532690"/>
            <a:ext cx="906418" cy="369332"/>
          </a:xfrm>
          <a:prstGeom prst="rect">
            <a:avLst/>
          </a:prstGeom>
          <a:noFill/>
        </p:spPr>
        <p:txBody>
          <a:bodyPr wrap="square" rtlCol="0">
            <a:spAutoFit/>
          </a:bodyPr>
          <a:lstStyle/>
          <a:p>
            <a:r>
              <a:rPr lang="en-AU" dirty="0">
                <a:solidFill>
                  <a:schemeClr val="bg1"/>
                </a:solidFill>
              </a:rPr>
              <a:t>RDDs</a:t>
            </a:r>
          </a:p>
        </p:txBody>
      </p:sp>
      <p:sp>
        <p:nvSpPr>
          <p:cNvPr id="14" name="TextBox 13">
            <a:extLst>
              <a:ext uri="{FF2B5EF4-FFF2-40B4-BE49-F238E27FC236}">
                <a16:creationId xmlns:a16="http://schemas.microsoft.com/office/drawing/2014/main" id="{59982892-361A-4164-B593-50407D52536B}"/>
              </a:ext>
            </a:extLst>
          </p:cNvPr>
          <p:cNvSpPr txBox="1"/>
          <p:nvPr/>
        </p:nvSpPr>
        <p:spPr>
          <a:xfrm>
            <a:off x="8919592" y="4515131"/>
            <a:ext cx="2408231" cy="369332"/>
          </a:xfrm>
          <a:prstGeom prst="rect">
            <a:avLst/>
          </a:prstGeom>
          <a:noFill/>
        </p:spPr>
        <p:txBody>
          <a:bodyPr wrap="square" rtlCol="0">
            <a:spAutoFit/>
          </a:bodyPr>
          <a:lstStyle/>
          <a:p>
            <a:r>
              <a:rPr lang="en-AU" dirty="0">
                <a:solidFill>
                  <a:schemeClr val="bg1"/>
                </a:solidFill>
              </a:rPr>
              <a:t>Distributed Variables</a:t>
            </a:r>
          </a:p>
        </p:txBody>
      </p:sp>
    </p:spTree>
    <p:extLst>
      <p:ext uri="{BB962C8B-B14F-4D97-AF65-F5344CB8AC3E}">
        <p14:creationId xmlns:p14="http://schemas.microsoft.com/office/powerpoint/2010/main" val="20986821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3F70E-AAF0-4F0A-82B4-6E61443F20CC}"/>
              </a:ext>
            </a:extLst>
          </p:cNvPr>
          <p:cNvSpPr>
            <a:spLocks noGrp="1"/>
          </p:cNvSpPr>
          <p:nvPr>
            <p:ph type="title"/>
          </p:nvPr>
        </p:nvSpPr>
        <p:spPr/>
        <p:txBody>
          <a:bodyPr/>
          <a:lstStyle/>
          <a:p>
            <a:r>
              <a:rPr lang="en-AU" dirty="0"/>
              <a:t>Transformations and Actions</a:t>
            </a:r>
          </a:p>
        </p:txBody>
      </p:sp>
      <p:cxnSp>
        <p:nvCxnSpPr>
          <p:cNvPr id="3" name="Straight Connector 2">
            <a:extLst>
              <a:ext uri="{FF2B5EF4-FFF2-40B4-BE49-F238E27FC236}">
                <a16:creationId xmlns:a16="http://schemas.microsoft.com/office/drawing/2014/main" id="{E74009B1-8F81-484C-B82D-202E86924AA7}"/>
              </a:ext>
            </a:extLst>
          </p:cNvPr>
          <p:cNvCxnSpPr/>
          <p:nvPr/>
        </p:nvCxnSpPr>
        <p:spPr>
          <a:xfrm>
            <a:off x="5089413" y="4037651"/>
            <a:ext cx="0" cy="1309196"/>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4077ED3-096F-4E8F-9188-0A8BFA72408D}"/>
              </a:ext>
            </a:extLst>
          </p:cNvPr>
          <p:cNvCxnSpPr/>
          <p:nvPr/>
        </p:nvCxnSpPr>
        <p:spPr>
          <a:xfrm flipV="1">
            <a:off x="2239360" y="2153030"/>
            <a:ext cx="0" cy="664182"/>
          </a:xfrm>
          <a:prstGeom prst="line">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72AA023-3808-49AF-8F51-7D069CE1AB83}"/>
              </a:ext>
            </a:extLst>
          </p:cNvPr>
          <p:cNvSpPr/>
          <p:nvPr/>
        </p:nvSpPr>
        <p:spPr bwMode="auto">
          <a:xfrm rot="18900000">
            <a:off x="6892634" y="3004280"/>
            <a:ext cx="1204154" cy="1204154"/>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3598" b="1" kern="0" dirty="0">
              <a:solidFill>
                <a:srgbClr val="FFFFFF"/>
              </a:solidFill>
              <a:latin typeface="Segoe UI 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7A650CF2-97DC-460F-84AE-5881A0C19F16}"/>
              </a:ext>
            </a:extLst>
          </p:cNvPr>
          <p:cNvGrpSpPr/>
          <p:nvPr/>
        </p:nvGrpSpPr>
        <p:grpSpPr>
          <a:xfrm>
            <a:off x="3747410" y="3014499"/>
            <a:ext cx="2062447" cy="1178541"/>
            <a:chOff x="4488864" y="4595750"/>
            <a:chExt cx="2022764" cy="1155865"/>
          </a:xfrm>
          <a:solidFill>
            <a:srgbClr val="0070C0"/>
          </a:solidFill>
        </p:grpSpPr>
        <p:sp>
          <p:nvSpPr>
            <p:cNvPr id="7" name="Rounded Rectangle 6">
              <a:extLst>
                <a:ext uri="{FF2B5EF4-FFF2-40B4-BE49-F238E27FC236}">
                  <a16:creationId xmlns:a16="http://schemas.microsoft.com/office/drawing/2014/main" id="{AFDE8B59-82E2-4B70-BDE5-168E69E6FF45}"/>
                </a:ext>
              </a:extLst>
            </p:cNvPr>
            <p:cNvSpPr/>
            <p:nvPr/>
          </p:nvSpPr>
          <p:spPr bwMode="auto">
            <a:xfrm>
              <a:off x="4488864" y="45957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2040" b="1" kern="0" dirty="0">
                  <a:solidFill>
                    <a:srgbClr val="FFFFFF"/>
                  </a:solidFill>
                  <a:latin typeface="Segoe UI Light"/>
                  <a:ea typeface="Segoe UI" pitchFamily="34" charset="0"/>
                  <a:cs typeface="Segoe UI" pitchFamily="34" charset="0"/>
                </a:rPr>
                <a:t>RDD</a:t>
              </a:r>
            </a:p>
          </p:txBody>
        </p:sp>
        <p:sp>
          <p:nvSpPr>
            <p:cNvPr id="8" name="Rounded Rectangle 7">
              <a:extLst>
                <a:ext uri="{FF2B5EF4-FFF2-40B4-BE49-F238E27FC236}">
                  <a16:creationId xmlns:a16="http://schemas.microsoft.com/office/drawing/2014/main" id="{4BC46977-0A4F-4783-B4AB-86C5623241C4}"/>
                </a:ext>
              </a:extLst>
            </p:cNvPr>
            <p:cNvSpPr/>
            <p:nvPr/>
          </p:nvSpPr>
          <p:spPr bwMode="auto">
            <a:xfrm>
              <a:off x="4641264" y="4748150"/>
              <a:ext cx="1413164" cy="546265"/>
            </a:xfrm>
            <a:prstGeom prst="roundRect">
              <a:avLst>
                <a:gd name="adj" fmla="val 1036"/>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2040" b="1" kern="0" dirty="0">
                  <a:solidFill>
                    <a:srgbClr val="FFFFFF"/>
                  </a:solidFill>
                  <a:latin typeface="Segoe UI Light"/>
                  <a:ea typeface="Segoe UI" pitchFamily="34" charset="0"/>
                  <a:cs typeface="Segoe UI" pitchFamily="34" charset="0"/>
                </a:rPr>
                <a:t>RDD</a:t>
              </a:r>
            </a:p>
          </p:txBody>
        </p:sp>
        <p:sp>
          <p:nvSpPr>
            <p:cNvPr id="9" name="Rounded Rectangle 8">
              <a:extLst>
                <a:ext uri="{FF2B5EF4-FFF2-40B4-BE49-F238E27FC236}">
                  <a16:creationId xmlns:a16="http://schemas.microsoft.com/office/drawing/2014/main" id="{3DE5A3FD-8C87-494F-AFD9-29AF241BF73C}"/>
                </a:ext>
              </a:extLst>
            </p:cNvPr>
            <p:cNvSpPr/>
            <p:nvPr/>
          </p:nvSpPr>
          <p:spPr bwMode="auto">
            <a:xfrm>
              <a:off x="4793664" y="49005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2040" b="1" kern="0" dirty="0">
                  <a:solidFill>
                    <a:srgbClr val="FFFFFF"/>
                  </a:solidFill>
                  <a:latin typeface="Segoe UI Light"/>
                  <a:ea typeface="Segoe UI" pitchFamily="34" charset="0"/>
                  <a:cs typeface="Segoe UI" pitchFamily="34" charset="0"/>
                </a:rPr>
                <a:t>RDD</a:t>
              </a:r>
            </a:p>
          </p:txBody>
        </p:sp>
        <p:sp>
          <p:nvSpPr>
            <p:cNvPr id="10" name="Rounded Rectangle 9">
              <a:extLst>
                <a:ext uri="{FF2B5EF4-FFF2-40B4-BE49-F238E27FC236}">
                  <a16:creationId xmlns:a16="http://schemas.microsoft.com/office/drawing/2014/main" id="{E8B7E740-D60E-4D10-A669-E23FAD1EEA27}"/>
                </a:ext>
              </a:extLst>
            </p:cNvPr>
            <p:cNvSpPr/>
            <p:nvPr/>
          </p:nvSpPr>
          <p:spPr bwMode="auto">
            <a:xfrm>
              <a:off x="4946064" y="50529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2040" b="1" kern="0" dirty="0">
                  <a:solidFill>
                    <a:srgbClr val="FFFFFF"/>
                  </a:solidFill>
                  <a:latin typeface="Segoe UI Light"/>
                  <a:ea typeface="Segoe UI" pitchFamily="34" charset="0"/>
                  <a:cs typeface="Segoe UI" pitchFamily="34" charset="0"/>
                </a:rPr>
                <a:t>RDD</a:t>
              </a:r>
            </a:p>
          </p:txBody>
        </p:sp>
        <p:sp>
          <p:nvSpPr>
            <p:cNvPr id="11" name="Rounded Rectangle 10">
              <a:extLst>
                <a:ext uri="{FF2B5EF4-FFF2-40B4-BE49-F238E27FC236}">
                  <a16:creationId xmlns:a16="http://schemas.microsoft.com/office/drawing/2014/main" id="{EF03A5AB-16CD-4625-86D8-9E4C59AA686A}"/>
                </a:ext>
              </a:extLst>
            </p:cNvPr>
            <p:cNvSpPr/>
            <p:nvPr/>
          </p:nvSpPr>
          <p:spPr bwMode="auto">
            <a:xfrm>
              <a:off x="5098464" y="5205350"/>
              <a:ext cx="1413164" cy="546265"/>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1598" kern="0" dirty="0">
                  <a:solidFill>
                    <a:srgbClr val="FFFFFF"/>
                  </a:solidFill>
                  <a:latin typeface="Segoe UI Light"/>
                  <a:ea typeface="Segoe UI" pitchFamily="34" charset="0"/>
                  <a:cs typeface="Segoe UI" pitchFamily="34" charset="0"/>
                </a:rPr>
                <a:t>RDD</a:t>
              </a:r>
            </a:p>
          </p:txBody>
        </p:sp>
      </p:grpSp>
      <p:sp>
        <p:nvSpPr>
          <p:cNvPr id="12" name="Rectangle 11">
            <a:extLst>
              <a:ext uri="{FF2B5EF4-FFF2-40B4-BE49-F238E27FC236}">
                <a16:creationId xmlns:a16="http://schemas.microsoft.com/office/drawing/2014/main" id="{F9439DEC-C272-4C8B-BD21-047D44CD36BA}"/>
              </a:ext>
            </a:extLst>
          </p:cNvPr>
          <p:cNvSpPr/>
          <p:nvPr/>
        </p:nvSpPr>
        <p:spPr bwMode="auto">
          <a:xfrm rot="18900000">
            <a:off x="1637980" y="3006974"/>
            <a:ext cx="1204154" cy="120415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3598" b="1" kern="0" dirty="0">
              <a:solidFill>
                <a:srgbClr val="FFFFFF"/>
              </a:solidFill>
              <a:latin typeface="Segoe UI Light"/>
              <a:ea typeface="Segoe UI" pitchFamily="34" charset="0"/>
              <a:cs typeface="Segoe UI" pitchFamily="34" charset="0"/>
            </a:endParaRPr>
          </a:p>
        </p:txBody>
      </p:sp>
      <p:sp>
        <p:nvSpPr>
          <p:cNvPr id="13" name="TextBox 12">
            <a:extLst>
              <a:ext uri="{FF2B5EF4-FFF2-40B4-BE49-F238E27FC236}">
                <a16:creationId xmlns:a16="http://schemas.microsoft.com/office/drawing/2014/main" id="{A15736E8-5F88-439A-B04C-0D5AABA4502F}"/>
              </a:ext>
            </a:extLst>
          </p:cNvPr>
          <p:cNvSpPr txBox="1"/>
          <p:nvPr/>
        </p:nvSpPr>
        <p:spPr>
          <a:xfrm>
            <a:off x="1390461" y="3442030"/>
            <a:ext cx="1703788" cy="310780"/>
          </a:xfrm>
          <a:prstGeom prst="rect">
            <a:avLst/>
          </a:prstGeom>
          <a:noFill/>
        </p:spPr>
        <p:txBody>
          <a:bodyPr wrap="none" lIns="186468" tIns="149175" rIns="186468" bIns="149175" rtlCol="0" anchor="ctr">
            <a:noAutofit/>
          </a:bodyPr>
          <a:lstStyle/>
          <a:p>
            <a:pPr algn="ctr" defTabSz="932239">
              <a:lnSpc>
                <a:spcPct val="90000"/>
              </a:lnSpc>
              <a:spcAft>
                <a:spcPts val="612"/>
              </a:spcAft>
            </a:pPr>
            <a:r>
              <a:rPr lang="en-US" sz="1598" kern="0" dirty="0">
                <a:solidFill>
                  <a:srgbClr val="FFFFFF"/>
                </a:solidFill>
                <a:latin typeface="Segoe UI Light"/>
              </a:rPr>
              <a:t>Transformations</a:t>
            </a:r>
          </a:p>
        </p:txBody>
      </p:sp>
      <p:cxnSp>
        <p:nvCxnSpPr>
          <p:cNvPr id="14" name="Straight Arrow Connector 13">
            <a:extLst>
              <a:ext uri="{FF2B5EF4-FFF2-40B4-BE49-F238E27FC236}">
                <a16:creationId xmlns:a16="http://schemas.microsoft.com/office/drawing/2014/main" id="{B5CB7737-5E4E-4A1C-8F38-95073A8FC57F}"/>
              </a:ext>
            </a:extLst>
          </p:cNvPr>
          <p:cNvCxnSpPr/>
          <p:nvPr/>
        </p:nvCxnSpPr>
        <p:spPr>
          <a:xfrm>
            <a:off x="5805834" y="3604701"/>
            <a:ext cx="83547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ounded Rectangle 33">
            <a:extLst>
              <a:ext uri="{FF2B5EF4-FFF2-40B4-BE49-F238E27FC236}">
                <a16:creationId xmlns:a16="http://schemas.microsoft.com/office/drawing/2014/main" id="{42F35873-4599-4587-B242-C96EE95D3DD2}"/>
              </a:ext>
            </a:extLst>
          </p:cNvPr>
          <p:cNvSpPr/>
          <p:nvPr/>
        </p:nvSpPr>
        <p:spPr bwMode="auto">
          <a:xfrm>
            <a:off x="9251837" y="3331184"/>
            <a:ext cx="1440886" cy="556982"/>
          </a:xfrm>
          <a:prstGeom prst="roundRect">
            <a:avLst>
              <a:gd name="adj" fmla="val 0"/>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pPr>
            <a:r>
              <a:rPr lang="en-US" sz="1598" kern="0" dirty="0">
                <a:solidFill>
                  <a:srgbClr val="FFFFFF"/>
                </a:solidFill>
                <a:latin typeface="Segoe UI Light"/>
                <a:ea typeface="Segoe UI" pitchFamily="34" charset="0"/>
                <a:cs typeface="Segoe UI" pitchFamily="34" charset="0"/>
              </a:rPr>
              <a:t>Value</a:t>
            </a:r>
          </a:p>
        </p:txBody>
      </p:sp>
      <p:sp>
        <p:nvSpPr>
          <p:cNvPr id="16" name="TextBox 15">
            <a:extLst>
              <a:ext uri="{FF2B5EF4-FFF2-40B4-BE49-F238E27FC236}">
                <a16:creationId xmlns:a16="http://schemas.microsoft.com/office/drawing/2014/main" id="{97C1C1CE-5B9F-4C1D-B58F-A25D56ED0F49}"/>
              </a:ext>
            </a:extLst>
          </p:cNvPr>
          <p:cNvSpPr txBox="1"/>
          <p:nvPr/>
        </p:nvSpPr>
        <p:spPr>
          <a:xfrm>
            <a:off x="7033575" y="3450966"/>
            <a:ext cx="922271" cy="310780"/>
          </a:xfrm>
          <a:prstGeom prst="rect">
            <a:avLst/>
          </a:prstGeom>
          <a:solidFill>
            <a:srgbClr val="002060"/>
          </a:solidFill>
        </p:spPr>
        <p:txBody>
          <a:bodyPr wrap="none" lIns="186468" tIns="149175" rIns="186468" bIns="149175" rtlCol="0" anchor="ctr">
            <a:noAutofit/>
          </a:bodyPr>
          <a:lstStyle/>
          <a:p>
            <a:pPr algn="ctr" defTabSz="932239">
              <a:lnSpc>
                <a:spcPct val="90000"/>
              </a:lnSpc>
              <a:spcAft>
                <a:spcPts val="612"/>
              </a:spcAft>
            </a:pPr>
            <a:r>
              <a:rPr lang="en-US" sz="1598" kern="0" dirty="0">
                <a:solidFill>
                  <a:srgbClr val="FFFFFF"/>
                </a:solidFill>
                <a:latin typeface="Segoe UI Light"/>
              </a:rPr>
              <a:t>Actions</a:t>
            </a:r>
          </a:p>
        </p:txBody>
      </p:sp>
      <p:cxnSp>
        <p:nvCxnSpPr>
          <p:cNvPr id="17" name="Straight Arrow Connector 16">
            <a:extLst>
              <a:ext uri="{FF2B5EF4-FFF2-40B4-BE49-F238E27FC236}">
                <a16:creationId xmlns:a16="http://schemas.microsoft.com/office/drawing/2014/main" id="{1A0CF441-2191-4C7D-830E-9F5C44389C8F}"/>
              </a:ext>
            </a:extLst>
          </p:cNvPr>
          <p:cNvCxnSpPr/>
          <p:nvPr/>
        </p:nvCxnSpPr>
        <p:spPr>
          <a:xfrm>
            <a:off x="8370774" y="3611067"/>
            <a:ext cx="835471" cy="0"/>
          </a:xfrm>
          <a:prstGeom prst="straightConnector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4">
            <a:extLst>
              <a:ext uri="{FF2B5EF4-FFF2-40B4-BE49-F238E27FC236}">
                <a16:creationId xmlns:a16="http://schemas.microsoft.com/office/drawing/2014/main" id="{EFC51629-3FC9-40AA-B2A7-3CEEFE03C05E}"/>
              </a:ext>
            </a:extLst>
          </p:cNvPr>
          <p:cNvCxnSpPr>
            <a:endCxn id="7" idx="0"/>
          </p:cNvCxnSpPr>
          <p:nvPr/>
        </p:nvCxnSpPr>
        <p:spPr>
          <a:xfrm>
            <a:off x="2240746" y="2171867"/>
            <a:ext cx="2227108" cy="842632"/>
          </a:xfrm>
          <a:prstGeom prst="bentConnector2">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34">
            <a:extLst>
              <a:ext uri="{FF2B5EF4-FFF2-40B4-BE49-F238E27FC236}">
                <a16:creationId xmlns:a16="http://schemas.microsoft.com/office/drawing/2014/main" id="{424DB73B-B7CC-4262-8834-53980C31EA96}"/>
              </a:ext>
            </a:extLst>
          </p:cNvPr>
          <p:cNvCxnSpPr/>
          <p:nvPr/>
        </p:nvCxnSpPr>
        <p:spPr>
          <a:xfrm rot="10800000">
            <a:off x="2240948" y="4466944"/>
            <a:ext cx="2864768" cy="864158"/>
          </a:xfrm>
          <a:prstGeom prst="bentConnector3">
            <a:avLst>
              <a:gd name="adj1" fmla="val 100081"/>
            </a:avLst>
          </a:prstGeom>
          <a:ln w="3810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9642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3F70E-AAF0-4F0A-82B4-6E61443F20CC}"/>
              </a:ext>
            </a:extLst>
          </p:cNvPr>
          <p:cNvSpPr>
            <a:spLocks noGrp="1"/>
          </p:cNvSpPr>
          <p:nvPr>
            <p:ph type="title"/>
          </p:nvPr>
        </p:nvSpPr>
        <p:spPr/>
        <p:txBody>
          <a:bodyPr/>
          <a:lstStyle/>
          <a:p>
            <a:r>
              <a:rPr lang="en-AU" dirty="0"/>
              <a:t>Transformations and Actions</a:t>
            </a:r>
          </a:p>
        </p:txBody>
      </p:sp>
      <p:graphicFrame>
        <p:nvGraphicFramePr>
          <p:cNvPr id="20" name="Table 19">
            <a:extLst>
              <a:ext uri="{FF2B5EF4-FFF2-40B4-BE49-F238E27FC236}">
                <a16:creationId xmlns:a16="http://schemas.microsoft.com/office/drawing/2014/main" id="{DB4855B9-26F5-49EE-BA13-29851CD5C5AB}"/>
              </a:ext>
            </a:extLst>
          </p:cNvPr>
          <p:cNvGraphicFramePr>
            <a:graphicFrameLocks noGrp="1"/>
          </p:cNvGraphicFramePr>
          <p:nvPr>
            <p:extLst>
              <p:ext uri="{D42A27DB-BD31-4B8C-83A1-F6EECF244321}">
                <p14:modId xmlns:p14="http://schemas.microsoft.com/office/powerpoint/2010/main" val="493463816"/>
              </p:ext>
            </p:extLst>
          </p:nvPr>
        </p:nvGraphicFramePr>
        <p:xfrm>
          <a:off x="2072745" y="1769070"/>
          <a:ext cx="8290984" cy="3708400"/>
        </p:xfrm>
        <a:graphic>
          <a:graphicData uri="http://schemas.openxmlformats.org/drawingml/2006/table">
            <a:tbl>
              <a:tblPr firstRow="1" bandRow="1">
                <a:tableStyleId>{5C22544A-7EE6-4342-B048-85BDC9FD1C3A}</a:tableStyleId>
              </a:tblPr>
              <a:tblGrid>
                <a:gridCol w="4145492">
                  <a:extLst>
                    <a:ext uri="{9D8B030D-6E8A-4147-A177-3AD203B41FA5}">
                      <a16:colId xmlns:a16="http://schemas.microsoft.com/office/drawing/2014/main" val="890166521"/>
                    </a:ext>
                  </a:extLst>
                </a:gridCol>
                <a:gridCol w="4145492">
                  <a:extLst>
                    <a:ext uri="{9D8B030D-6E8A-4147-A177-3AD203B41FA5}">
                      <a16:colId xmlns:a16="http://schemas.microsoft.com/office/drawing/2014/main" val="1922967574"/>
                    </a:ext>
                  </a:extLst>
                </a:gridCol>
              </a:tblGrid>
              <a:tr h="370840">
                <a:tc>
                  <a:txBody>
                    <a:bodyPr/>
                    <a:lstStyle/>
                    <a:p>
                      <a:r>
                        <a:rPr lang="en-US" dirty="0"/>
                        <a:t>Transformations</a:t>
                      </a:r>
                    </a:p>
                  </a:txBody>
                  <a:tcPr/>
                </a:tc>
                <a:tc>
                  <a:txBody>
                    <a:bodyPr/>
                    <a:lstStyle/>
                    <a:p>
                      <a:r>
                        <a:rPr lang="en-US" dirty="0"/>
                        <a:t>Actions</a:t>
                      </a:r>
                    </a:p>
                  </a:txBody>
                  <a:tcPr/>
                </a:tc>
                <a:extLst>
                  <a:ext uri="{0D108BD9-81ED-4DB2-BD59-A6C34878D82A}">
                    <a16:rowId xmlns:a16="http://schemas.microsoft.com/office/drawing/2014/main" val="1078613505"/>
                  </a:ext>
                </a:extLst>
              </a:tr>
              <a:tr h="370840">
                <a:tc>
                  <a:txBody>
                    <a:bodyPr/>
                    <a:lstStyle/>
                    <a:p>
                      <a:r>
                        <a:rPr lang="en-US" b="1" dirty="0">
                          <a:latin typeface="Courier New" panose="02070309020205020404" pitchFamily="49" charset="0"/>
                          <a:cs typeface="Courier New" panose="02070309020205020404" pitchFamily="49" charset="0"/>
                        </a:rPr>
                        <a:t>select</a:t>
                      </a:r>
                    </a:p>
                  </a:txBody>
                  <a:tcPr/>
                </a:tc>
                <a:tc>
                  <a:txBody>
                    <a:bodyPr/>
                    <a:lstStyle/>
                    <a:p>
                      <a:r>
                        <a:rPr lang="en-US" b="1" dirty="0">
                          <a:latin typeface="Courier New" panose="02070309020205020404" pitchFamily="49" charset="0"/>
                          <a:cs typeface="Courier New" panose="02070309020205020404" pitchFamily="49" charset="0"/>
                        </a:rPr>
                        <a:t>show</a:t>
                      </a:r>
                    </a:p>
                  </a:txBody>
                  <a:tcPr/>
                </a:tc>
                <a:extLst>
                  <a:ext uri="{0D108BD9-81ED-4DB2-BD59-A6C34878D82A}">
                    <a16:rowId xmlns:a16="http://schemas.microsoft.com/office/drawing/2014/main" val="1867539072"/>
                  </a:ext>
                </a:extLst>
              </a:tr>
              <a:tr h="370840">
                <a:tc>
                  <a:txBody>
                    <a:bodyPr/>
                    <a:lstStyle/>
                    <a:p>
                      <a:r>
                        <a:rPr lang="en-US" b="1" dirty="0">
                          <a:latin typeface="Courier New" panose="02070309020205020404" pitchFamily="49" charset="0"/>
                          <a:cs typeface="Courier New" panose="02070309020205020404" pitchFamily="49" charset="0"/>
                        </a:rPr>
                        <a:t>distinct</a:t>
                      </a:r>
                    </a:p>
                  </a:txBody>
                  <a:tcPr/>
                </a:tc>
                <a:tc>
                  <a:txBody>
                    <a:bodyPr/>
                    <a:lstStyle/>
                    <a:p>
                      <a:r>
                        <a:rPr lang="en-US" b="1" dirty="0">
                          <a:latin typeface="Courier New" panose="02070309020205020404" pitchFamily="49" charset="0"/>
                          <a:cs typeface="Courier New" panose="02070309020205020404" pitchFamily="49" charset="0"/>
                        </a:rPr>
                        <a:t>count</a:t>
                      </a:r>
                    </a:p>
                  </a:txBody>
                  <a:tcPr/>
                </a:tc>
                <a:extLst>
                  <a:ext uri="{0D108BD9-81ED-4DB2-BD59-A6C34878D82A}">
                    <a16:rowId xmlns:a16="http://schemas.microsoft.com/office/drawing/2014/main" val="3983620822"/>
                  </a:ext>
                </a:extLst>
              </a:tr>
              <a:tr h="370840">
                <a:tc>
                  <a:txBody>
                    <a:bodyPr/>
                    <a:lstStyle/>
                    <a:p>
                      <a:r>
                        <a:rPr lang="en-US" b="1" dirty="0" err="1">
                          <a:latin typeface="Courier New" panose="02070309020205020404" pitchFamily="49" charset="0"/>
                          <a:cs typeface="Courier New" panose="02070309020205020404" pitchFamily="49" charset="0"/>
                        </a:rPr>
                        <a:t>groupBy</a:t>
                      </a:r>
                      <a:endParaRPr lang="en-US" b="1" dirty="0">
                        <a:latin typeface="Courier New" panose="02070309020205020404" pitchFamily="49" charset="0"/>
                        <a:cs typeface="Courier New" panose="02070309020205020404" pitchFamily="49" charset="0"/>
                      </a:endParaRPr>
                    </a:p>
                  </a:txBody>
                  <a:tcPr/>
                </a:tc>
                <a:tc>
                  <a:txBody>
                    <a:bodyPr/>
                    <a:lstStyle/>
                    <a:p>
                      <a:r>
                        <a:rPr lang="en-US" b="1" dirty="0">
                          <a:latin typeface="Courier New" panose="02070309020205020404" pitchFamily="49" charset="0"/>
                          <a:cs typeface="Courier New" panose="02070309020205020404" pitchFamily="49" charset="0"/>
                        </a:rPr>
                        <a:t>collect</a:t>
                      </a:r>
                    </a:p>
                  </a:txBody>
                  <a:tcPr/>
                </a:tc>
                <a:extLst>
                  <a:ext uri="{0D108BD9-81ED-4DB2-BD59-A6C34878D82A}">
                    <a16:rowId xmlns:a16="http://schemas.microsoft.com/office/drawing/2014/main" val="1389851741"/>
                  </a:ext>
                </a:extLst>
              </a:tr>
              <a:tr h="370840">
                <a:tc>
                  <a:txBody>
                    <a:bodyPr/>
                    <a:lstStyle/>
                    <a:p>
                      <a:r>
                        <a:rPr lang="en-US" b="1" dirty="0">
                          <a:latin typeface="Courier New" panose="02070309020205020404" pitchFamily="49" charset="0"/>
                          <a:cs typeface="Courier New" panose="02070309020205020404" pitchFamily="49" charset="0"/>
                        </a:rPr>
                        <a:t>sum</a:t>
                      </a:r>
                    </a:p>
                  </a:txBody>
                  <a:tcPr/>
                </a:tc>
                <a:tc>
                  <a:txBody>
                    <a:bodyPr/>
                    <a:lstStyle/>
                    <a:p>
                      <a:r>
                        <a:rPr lang="en-US" b="1" dirty="0">
                          <a:latin typeface="Courier New" panose="02070309020205020404" pitchFamily="49" charset="0"/>
                          <a:cs typeface="Courier New" panose="02070309020205020404" pitchFamily="49" charset="0"/>
                        </a:rPr>
                        <a:t>save</a:t>
                      </a:r>
                    </a:p>
                  </a:txBody>
                  <a:tcPr/>
                </a:tc>
                <a:extLst>
                  <a:ext uri="{0D108BD9-81ED-4DB2-BD59-A6C34878D82A}">
                    <a16:rowId xmlns:a16="http://schemas.microsoft.com/office/drawing/2014/main" val="2220678196"/>
                  </a:ext>
                </a:extLst>
              </a:tr>
              <a:tr h="370840">
                <a:tc>
                  <a:txBody>
                    <a:bodyPr/>
                    <a:lstStyle/>
                    <a:p>
                      <a:r>
                        <a:rPr lang="en-US" b="1" dirty="0" err="1">
                          <a:latin typeface="Courier New" panose="02070309020205020404" pitchFamily="49" charset="0"/>
                          <a:cs typeface="Courier New" panose="02070309020205020404" pitchFamily="49" charset="0"/>
                        </a:rPr>
                        <a:t>orderBy</a:t>
                      </a:r>
                      <a:endParaRPr lang="en-US" b="1" dirty="0">
                        <a:latin typeface="Courier New" panose="02070309020205020404" pitchFamily="49" charset="0"/>
                        <a:cs typeface="Courier New" panose="02070309020205020404" pitchFamily="49" charset="0"/>
                      </a:endParaRPr>
                    </a:p>
                  </a:txBody>
                  <a:tcPr/>
                </a:tc>
                <a:tc>
                  <a:txBody>
                    <a:bodyPr/>
                    <a:lstStyle/>
                    <a:p>
                      <a:r>
                        <a:rPr lang="en-US" b="1" dirty="0">
                          <a:latin typeface="Courier New" panose="02070309020205020404" pitchFamily="49" charset="0"/>
                          <a:cs typeface="Courier New" panose="02070309020205020404" pitchFamily="49" charset="0"/>
                        </a:rPr>
                        <a:t>first</a:t>
                      </a:r>
                    </a:p>
                  </a:txBody>
                  <a:tcPr/>
                </a:tc>
                <a:extLst>
                  <a:ext uri="{0D108BD9-81ED-4DB2-BD59-A6C34878D82A}">
                    <a16:rowId xmlns:a16="http://schemas.microsoft.com/office/drawing/2014/main" val="3268218767"/>
                  </a:ext>
                </a:extLst>
              </a:tr>
              <a:tr h="370840">
                <a:tc>
                  <a:txBody>
                    <a:bodyPr/>
                    <a:lstStyle/>
                    <a:p>
                      <a:r>
                        <a:rPr lang="en-US" b="1" dirty="0">
                          <a:latin typeface="Courier New" panose="02070309020205020404" pitchFamily="49" charset="0"/>
                          <a:cs typeface="Courier New" panose="02070309020205020404" pitchFamily="49" charset="0"/>
                        </a:rPr>
                        <a:t>filter</a:t>
                      </a:r>
                    </a:p>
                  </a:txBody>
                  <a:tcPr/>
                </a:tc>
                <a:tc>
                  <a:txBody>
                    <a:bodyPr/>
                    <a:lstStyle/>
                    <a:p>
                      <a:endParaRPr lang="en-US" b="1"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3677721172"/>
                  </a:ext>
                </a:extLst>
              </a:tr>
              <a:tr h="370840">
                <a:tc>
                  <a:txBody>
                    <a:bodyPr/>
                    <a:lstStyle/>
                    <a:p>
                      <a:r>
                        <a:rPr lang="en-US" b="1" dirty="0">
                          <a:latin typeface="Courier New" panose="02070309020205020404" pitchFamily="49" charset="0"/>
                          <a:cs typeface="Courier New" panose="02070309020205020404" pitchFamily="49" charset="0"/>
                        </a:rPr>
                        <a:t>limit</a:t>
                      </a:r>
                    </a:p>
                  </a:txBody>
                  <a:tcPr/>
                </a:tc>
                <a:tc>
                  <a:txBody>
                    <a:bodyPr/>
                    <a:lstStyle/>
                    <a:p>
                      <a:endParaRPr lang="en-US" b="1"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1045914422"/>
                  </a:ext>
                </a:extLst>
              </a:tr>
              <a:tr h="370840">
                <a:tc>
                  <a:txBody>
                    <a:bodyPr/>
                    <a:lstStyle/>
                    <a:p>
                      <a:r>
                        <a:rPr lang="en-US" b="1" dirty="0">
                          <a:latin typeface="Courier New" panose="02070309020205020404" pitchFamily="49" charset="0"/>
                          <a:cs typeface="Courier New" panose="02070309020205020404" pitchFamily="49" charset="0"/>
                        </a:rPr>
                        <a:t>summarize</a:t>
                      </a:r>
                    </a:p>
                  </a:txBody>
                  <a:tcPr/>
                </a:tc>
                <a:tc>
                  <a:txBody>
                    <a:bodyPr/>
                    <a:lstStyle/>
                    <a:p>
                      <a:endParaRPr lang="en-US" b="1"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2007120708"/>
                  </a:ext>
                </a:extLst>
              </a:tr>
              <a:tr h="370840">
                <a:tc>
                  <a:txBody>
                    <a:bodyPr/>
                    <a:lstStyle/>
                    <a:p>
                      <a:r>
                        <a:rPr lang="en-US" b="1" dirty="0">
                          <a:latin typeface="Courier New" panose="02070309020205020404" pitchFamily="49" charset="0"/>
                          <a:cs typeface="Courier New" panose="02070309020205020404" pitchFamily="49" charset="0"/>
                        </a:rPr>
                        <a:t>… and much more</a:t>
                      </a:r>
                    </a:p>
                  </a:txBody>
                  <a:tcPr/>
                </a:tc>
                <a:tc>
                  <a:txBody>
                    <a:bodyPr/>
                    <a:lstStyle/>
                    <a:p>
                      <a:endParaRPr lang="en-US" b="1" dirty="0">
                        <a:latin typeface="Courier New" panose="02070309020205020404" pitchFamily="49" charset="0"/>
                        <a:cs typeface="Courier New" panose="02070309020205020404" pitchFamily="49" charset="0"/>
                      </a:endParaRPr>
                    </a:p>
                  </a:txBody>
                  <a:tcPr/>
                </a:tc>
                <a:extLst>
                  <a:ext uri="{0D108BD9-81ED-4DB2-BD59-A6C34878D82A}">
                    <a16:rowId xmlns:a16="http://schemas.microsoft.com/office/drawing/2014/main" val="146623977"/>
                  </a:ext>
                </a:extLst>
              </a:tr>
            </a:tbl>
          </a:graphicData>
        </a:graphic>
      </p:graphicFrame>
    </p:spTree>
    <p:extLst>
      <p:ext uri="{BB962C8B-B14F-4D97-AF65-F5344CB8AC3E}">
        <p14:creationId xmlns:p14="http://schemas.microsoft.com/office/powerpoint/2010/main" val="10212497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DFD41-9C99-43EF-AFE4-F8018DC90728}"/>
              </a:ext>
            </a:extLst>
          </p:cNvPr>
          <p:cNvSpPr>
            <a:spLocks noGrp="1"/>
          </p:cNvSpPr>
          <p:nvPr>
            <p:ph type="title"/>
          </p:nvPr>
        </p:nvSpPr>
        <p:spPr/>
        <p:txBody>
          <a:bodyPr/>
          <a:lstStyle/>
          <a:p>
            <a:r>
              <a:rPr lang="en-AU" dirty="0"/>
              <a:t>Inside a Spark Application</a:t>
            </a:r>
          </a:p>
        </p:txBody>
      </p:sp>
      <p:sp>
        <p:nvSpPr>
          <p:cNvPr id="5" name="Rectangle 4">
            <a:extLst>
              <a:ext uri="{FF2B5EF4-FFF2-40B4-BE49-F238E27FC236}">
                <a16:creationId xmlns:a16="http://schemas.microsoft.com/office/drawing/2014/main" id="{F8D1CBBC-67BA-40BD-8A6B-53CCCCF5D3FF}"/>
              </a:ext>
            </a:extLst>
          </p:cNvPr>
          <p:cNvSpPr/>
          <p:nvPr/>
        </p:nvSpPr>
        <p:spPr>
          <a:xfrm>
            <a:off x="3158927" y="1532441"/>
            <a:ext cx="2094090" cy="24043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b="1" dirty="0">
                <a:solidFill>
                  <a:schemeClr val="tx1"/>
                </a:solidFill>
              </a:rPr>
              <a:t>Driver</a:t>
            </a:r>
          </a:p>
        </p:txBody>
      </p:sp>
      <p:sp>
        <p:nvSpPr>
          <p:cNvPr id="6" name="Rectangle 5">
            <a:extLst>
              <a:ext uri="{FF2B5EF4-FFF2-40B4-BE49-F238E27FC236}">
                <a16:creationId xmlns:a16="http://schemas.microsoft.com/office/drawing/2014/main" id="{DEC59CD6-6F7E-441F-91EB-BDD269DC6480}"/>
              </a:ext>
            </a:extLst>
          </p:cNvPr>
          <p:cNvSpPr/>
          <p:nvPr/>
        </p:nvSpPr>
        <p:spPr>
          <a:xfrm>
            <a:off x="3153283" y="4521224"/>
            <a:ext cx="6149623" cy="14276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b="1" dirty="0">
                <a:solidFill>
                  <a:schemeClr val="tx1"/>
                </a:solidFill>
              </a:rPr>
              <a:t>Cluster Manager</a:t>
            </a:r>
          </a:p>
        </p:txBody>
      </p:sp>
      <p:sp>
        <p:nvSpPr>
          <p:cNvPr id="7" name="Rectangle 6">
            <a:extLst>
              <a:ext uri="{FF2B5EF4-FFF2-40B4-BE49-F238E27FC236}">
                <a16:creationId xmlns:a16="http://schemas.microsoft.com/office/drawing/2014/main" id="{8D20A8B5-58D6-4528-9EA1-C337ADD4425A}"/>
              </a:ext>
            </a:extLst>
          </p:cNvPr>
          <p:cNvSpPr/>
          <p:nvPr/>
        </p:nvSpPr>
        <p:spPr>
          <a:xfrm>
            <a:off x="5670428" y="1558691"/>
            <a:ext cx="1140454" cy="23631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b="1" dirty="0">
                <a:solidFill>
                  <a:schemeClr val="tx1"/>
                </a:solidFill>
              </a:rPr>
              <a:t>Executor</a:t>
            </a:r>
          </a:p>
        </p:txBody>
      </p:sp>
      <p:sp>
        <p:nvSpPr>
          <p:cNvPr id="8" name="Rectangle 7">
            <a:extLst>
              <a:ext uri="{FF2B5EF4-FFF2-40B4-BE49-F238E27FC236}">
                <a16:creationId xmlns:a16="http://schemas.microsoft.com/office/drawing/2014/main" id="{6991CA05-0768-4455-B17F-E23F8DA58DE4}"/>
              </a:ext>
            </a:extLst>
          </p:cNvPr>
          <p:cNvSpPr/>
          <p:nvPr/>
        </p:nvSpPr>
        <p:spPr>
          <a:xfrm>
            <a:off x="3291571" y="2006403"/>
            <a:ext cx="1873956" cy="6165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park Session</a:t>
            </a:r>
          </a:p>
        </p:txBody>
      </p:sp>
      <p:sp>
        <p:nvSpPr>
          <p:cNvPr id="9" name="Rectangle 8">
            <a:extLst>
              <a:ext uri="{FF2B5EF4-FFF2-40B4-BE49-F238E27FC236}">
                <a16:creationId xmlns:a16="http://schemas.microsoft.com/office/drawing/2014/main" id="{04042AD3-3FA4-4BAB-85D7-E165992D7D5F}"/>
              </a:ext>
            </a:extLst>
          </p:cNvPr>
          <p:cNvSpPr/>
          <p:nvPr/>
        </p:nvSpPr>
        <p:spPr>
          <a:xfrm>
            <a:off x="3268994" y="3213141"/>
            <a:ext cx="1873956" cy="627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User code</a:t>
            </a:r>
          </a:p>
        </p:txBody>
      </p:sp>
      <p:sp>
        <p:nvSpPr>
          <p:cNvPr id="10" name="Arrow: Left-Right 9">
            <a:extLst>
              <a:ext uri="{FF2B5EF4-FFF2-40B4-BE49-F238E27FC236}">
                <a16:creationId xmlns:a16="http://schemas.microsoft.com/office/drawing/2014/main" id="{19608D9A-231B-4F6D-A1AE-D0610934F78B}"/>
              </a:ext>
            </a:extLst>
          </p:cNvPr>
          <p:cNvSpPr/>
          <p:nvPr/>
        </p:nvSpPr>
        <p:spPr>
          <a:xfrm rot="16200000">
            <a:off x="3987383" y="2807858"/>
            <a:ext cx="482333" cy="23707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Arrow: Left-Right 10">
            <a:extLst>
              <a:ext uri="{FF2B5EF4-FFF2-40B4-BE49-F238E27FC236}">
                <a16:creationId xmlns:a16="http://schemas.microsoft.com/office/drawing/2014/main" id="{2867E144-450F-4214-925A-76C3D5DB924B}"/>
              </a:ext>
            </a:extLst>
          </p:cNvPr>
          <p:cNvSpPr/>
          <p:nvPr/>
        </p:nvSpPr>
        <p:spPr>
          <a:xfrm rot="16200000">
            <a:off x="3987384" y="4104963"/>
            <a:ext cx="482333" cy="23707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Arrow: Left-Right 11">
            <a:extLst>
              <a:ext uri="{FF2B5EF4-FFF2-40B4-BE49-F238E27FC236}">
                <a16:creationId xmlns:a16="http://schemas.microsoft.com/office/drawing/2014/main" id="{0BFB4490-437C-4373-8BF1-D1981B398FB7}"/>
              </a:ext>
            </a:extLst>
          </p:cNvPr>
          <p:cNvSpPr/>
          <p:nvPr/>
        </p:nvSpPr>
        <p:spPr>
          <a:xfrm rot="16200000">
            <a:off x="7249875" y="4111353"/>
            <a:ext cx="482333" cy="23707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Picture 2" descr="Image result for apache yarn">
            <a:extLst>
              <a:ext uri="{FF2B5EF4-FFF2-40B4-BE49-F238E27FC236}">
                <a16:creationId xmlns:a16="http://schemas.microsoft.com/office/drawing/2014/main" id="{2E1307A0-4EF7-41D1-89C3-E8D0713D0F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1067" y="4895587"/>
            <a:ext cx="1395590" cy="88661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Image result for apache mesos">
            <a:extLst>
              <a:ext uri="{FF2B5EF4-FFF2-40B4-BE49-F238E27FC236}">
                <a16:creationId xmlns:a16="http://schemas.microsoft.com/office/drawing/2014/main" id="{E1CE2800-35A3-4BC0-9BB6-164889232E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6787" y="5047838"/>
            <a:ext cx="1464736" cy="51734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C11ACC6-DEB4-40E7-81FC-20E4383997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7051" y="4974978"/>
            <a:ext cx="1246564" cy="663066"/>
          </a:xfrm>
          <a:prstGeom prst="rect">
            <a:avLst/>
          </a:prstGeom>
        </p:spPr>
      </p:pic>
      <p:sp>
        <p:nvSpPr>
          <p:cNvPr id="16" name="Rectangle 15">
            <a:extLst>
              <a:ext uri="{FF2B5EF4-FFF2-40B4-BE49-F238E27FC236}">
                <a16:creationId xmlns:a16="http://schemas.microsoft.com/office/drawing/2014/main" id="{6D1C67BE-3D54-48E0-AFF0-A17B1DF8971C}"/>
              </a:ext>
            </a:extLst>
          </p:cNvPr>
          <p:cNvSpPr/>
          <p:nvPr/>
        </p:nvSpPr>
        <p:spPr>
          <a:xfrm>
            <a:off x="6929417" y="1553046"/>
            <a:ext cx="1140454" cy="23631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b="1" dirty="0">
                <a:solidFill>
                  <a:schemeClr val="tx1"/>
                </a:solidFill>
              </a:rPr>
              <a:t>Executor</a:t>
            </a:r>
          </a:p>
        </p:txBody>
      </p:sp>
      <p:sp>
        <p:nvSpPr>
          <p:cNvPr id="17" name="Rectangle 16">
            <a:extLst>
              <a:ext uri="{FF2B5EF4-FFF2-40B4-BE49-F238E27FC236}">
                <a16:creationId xmlns:a16="http://schemas.microsoft.com/office/drawing/2014/main" id="{ADB1C80E-6EBB-4210-A7D0-4D12EAE4C9AC}"/>
              </a:ext>
            </a:extLst>
          </p:cNvPr>
          <p:cNvSpPr/>
          <p:nvPr/>
        </p:nvSpPr>
        <p:spPr>
          <a:xfrm>
            <a:off x="8162453" y="1553046"/>
            <a:ext cx="1140454" cy="23631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b="1" dirty="0">
                <a:solidFill>
                  <a:schemeClr val="tx1"/>
                </a:solidFill>
              </a:rPr>
              <a:t>Executor</a:t>
            </a:r>
          </a:p>
        </p:txBody>
      </p:sp>
      <p:sp>
        <p:nvSpPr>
          <p:cNvPr id="18" name="Rectangle 17">
            <a:extLst>
              <a:ext uri="{FF2B5EF4-FFF2-40B4-BE49-F238E27FC236}">
                <a16:creationId xmlns:a16="http://schemas.microsoft.com/office/drawing/2014/main" id="{9741BF4C-063B-4AF1-94DF-6F48BE0B3A7A}"/>
              </a:ext>
            </a:extLst>
          </p:cNvPr>
          <p:cNvSpPr/>
          <p:nvPr/>
        </p:nvSpPr>
        <p:spPr>
          <a:xfrm>
            <a:off x="5780774" y="2050975"/>
            <a:ext cx="3420534" cy="1290108"/>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dirty="0">
                <a:solidFill>
                  <a:schemeClr val="tx1"/>
                </a:solidFill>
              </a:rPr>
              <a:t>Distributed Data Structure</a:t>
            </a:r>
          </a:p>
        </p:txBody>
      </p:sp>
      <p:sp>
        <p:nvSpPr>
          <p:cNvPr id="19" name="Rectangle 18">
            <a:extLst>
              <a:ext uri="{FF2B5EF4-FFF2-40B4-BE49-F238E27FC236}">
                <a16:creationId xmlns:a16="http://schemas.microsoft.com/office/drawing/2014/main" id="{50FE47DE-C3EB-4F37-9752-053D7FDFA7F0}"/>
              </a:ext>
            </a:extLst>
          </p:cNvPr>
          <p:cNvSpPr/>
          <p:nvPr/>
        </p:nvSpPr>
        <p:spPr>
          <a:xfrm>
            <a:off x="5863321" y="2428218"/>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0" name="Rectangle 19">
            <a:extLst>
              <a:ext uri="{FF2B5EF4-FFF2-40B4-BE49-F238E27FC236}">
                <a16:creationId xmlns:a16="http://schemas.microsoft.com/office/drawing/2014/main" id="{DD2DE3D1-FE2D-4836-8875-2632BB340869}"/>
              </a:ext>
            </a:extLst>
          </p:cNvPr>
          <p:cNvSpPr/>
          <p:nvPr/>
        </p:nvSpPr>
        <p:spPr>
          <a:xfrm>
            <a:off x="7095222" y="2438493"/>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1" name="Rectangle 20">
            <a:extLst>
              <a:ext uri="{FF2B5EF4-FFF2-40B4-BE49-F238E27FC236}">
                <a16:creationId xmlns:a16="http://schemas.microsoft.com/office/drawing/2014/main" id="{BDADD7D7-B9A4-452F-B8DA-8641F2B09592}"/>
              </a:ext>
            </a:extLst>
          </p:cNvPr>
          <p:cNvSpPr/>
          <p:nvPr/>
        </p:nvSpPr>
        <p:spPr>
          <a:xfrm>
            <a:off x="8246688" y="2438492"/>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2" name="Rectangle 21">
            <a:extLst>
              <a:ext uri="{FF2B5EF4-FFF2-40B4-BE49-F238E27FC236}">
                <a16:creationId xmlns:a16="http://schemas.microsoft.com/office/drawing/2014/main" id="{64506581-4DDD-4856-9108-778D34E5E0D1}"/>
              </a:ext>
            </a:extLst>
          </p:cNvPr>
          <p:cNvSpPr/>
          <p:nvPr/>
        </p:nvSpPr>
        <p:spPr>
          <a:xfrm>
            <a:off x="5864733" y="2818125"/>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3" name="Rectangle 22">
            <a:extLst>
              <a:ext uri="{FF2B5EF4-FFF2-40B4-BE49-F238E27FC236}">
                <a16:creationId xmlns:a16="http://schemas.microsoft.com/office/drawing/2014/main" id="{361CA62A-4A00-4804-B850-17D57A166608}"/>
              </a:ext>
            </a:extLst>
          </p:cNvPr>
          <p:cNvSpPr/>
          <p:nvPr/>
        </p:nvSpPr>
        <p:spPr>
          <a:xfrm>
            <a:off x="7096634" y="2828400"/>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4" name="Rectangle 23">
            <a:extLst>
              <a:ext uri="{FF2B5EF4-FFF2-40B4-BE49-F238E27FC236}">
                <a16:creationId xmlns:a16="http://schemas.microsoft.com/office/drawing/2014/main" id="{AE4AAB61-940B-4C7A-B128-A2250E8BB634}"/>
              </a:ext>
            </a:extLst>
          </p:cNvPr>
          <p:cNvSpPr/>
          <p:nvPr/>
        </p:nvSpPr>
        <p:spPr>
          <a:xfrm>
            <a:off x="8248100" y="2828399"/>
            <a:ext cx="862190" cy="326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dirty="0"/>
              <a:t>Partition</a:t>
            </a:r>
          </a:p>
        </p:txBody>
      </p:sp>
      <p:sp>
        <p:nvSpPr>
          <p:cNvPr id="25" name="Arrow: Left-Right 24">
            <a:extLst>
              <a:ext uri="{FF2B5EF4-FFF2-40B4-BE49-F238E27FC236}">
                <a16:creationId xmlns:a16="http://schemas.microsoft.com/office/drawing/2014/main" id="{DD882299-DEC8-4957-819E-92FCAD339F52}"/>
              </a:ext>
            </a:extLst>
          </p:cNvPr>
          <p:cNvSpPr/>
          <p:nvPr/>
        </p:nvSpPr>
        <p:spPr>
          <a:xfrm>
            <a:off x="5248074" y="2204132"/>
            <a:ext cx="390744" cy="16566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Arrow: Left-Right 25">
            <a:extLst>
              <a:ext uri="{FF2B5EF4-FFF2-40B4-BE49-F238E27FC236}">
                <a16:creationId xmlns:a16="http://schemas.microsoft.com/office/drawing/2014/main" id="{44931EFC-7B67-43A8-8458-782F182AFBA9}"/>
              </a:ext>
            </a:extLst>
          </p:cNvPr>
          <p:cNvSpPr/>
          <p:nvPr/>
        </p:nvSpPr>
        <p:spPr>
          <a:xfrm rot="16200000">
            <a:off x="8490240" y="4111353"/>
            <a:ext cx="482333" cy="23707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Arrow: Left-Right 26">
            <a:extLst>
              <a:ext uri="{FF2B5EF4-FFF2-40B4-BE49-F238E27FC236}">
                <a16:creationId xmlns:a16="http://schemas.microsoft.com/office/drawing/2014/main" id="{0B19A64D-1141-4799-A117-A7945D15475F}"/>
              </a:ext>
            </a:extLst>
          </p:cNvPr>
          <p:cNvSpPr/>
          <p:nvPr/>
        </p:nvSpPr>
        <p:spPr>
          <a:xfrm rot="16200000">
            <a:off x="6019167" y="4129224"/>
            <a:ext cx="482333" cy="23707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2849049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8855E-8E5D-4E33-A6F6-30092BB1C540}"/>
              </a:ext>
            </a:extLst>
          </p:cNvPr>
          <p:cNvSpPr>
            <a:spLocks noGrp="1"/>
          </p:cNvSpPr>
          <p:nvPr>
            <p:ph type="title"/>
          </p:nvPr>
        </p:nvSpPr>
        <p:spPr>
          <a:xfrm>
            <a:off x="274638" y="2125662"/>
            <a:ext cx="11887200" cy="1846659"/>
          </a:xfrm>
        </p:spPr>
        <p:txBody>
          <a:bodyPr/>
          <a:lstStyle/>
          <a:p>
            <a:r>
              <a:rPr lang="en-AU" dirty="0"/>
              <a:t>Azure Databricks</a:t>
            </a:r>
            <a:br>
              <a:rPr lang="en-AU" dirty="0"/>
            </a:br>
            <a:r>
              <a:rPr lang="en-AU" sz="4400" dirty="0"/>
              <a:t>Spark as a managed service on Azure</a:t>
            </a:r>
            <a:endParaRPr lang="en-AU" dirty="0"/>
          </a:p>
        </p:txBody>
      </p:sp>
      <p:pic>
        <p:nvPicPr>
          <p:cNvPr id="1026" name="Picture 2" descr="Image result for azure databricks">
            <a:extLst>
              <a:ext uri="{FF2B5EF4-FFF2-40B4-BE49-F238E27FC236}">
                <a16:creationId xmlns:a16="http://schemas.microsoft.com/office/drawing/2014/main" id="{E162CF20-8A2B-4CD1-B116-48D6A2CC7F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483" y="4217342"/>
            <a:ext cx="3127873" cy="16421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8089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1DC87-6FFB-4CEE-930B-1A2A04F650AE}"/>
              </a:ext>
            </a:extLst>
          </p:cNvPr>
          <p:cNvSpPr>
            <a:spLocks noGrp="1"/>
          </p:cNvSpPr>
          <p:nvPr>
            <p:ph type="title"/>
          </p:nvPr>
        </p:nvSpPr>
        <p:spPr/>
        <p:txBody>
          <a:bodyPr/>
          <a:lstStyle/>
          <a:p>
            <a:r>
              <a:rPr lang="en-AU" dirty="0"/>
              <a:t>Azure Databricks</a:t>
            </a:r>
          </a:p>
        </p:txBody>
      </p:sp>
      <p:sp>
        <p:nvSpPr>
          <p:cNvPr id="3" name="Text Placeholder 2">
            <a:extLst>
              <a:ext uri="{FF2B5EF4-FFF2-40B4-BE49-F238E27FC236}">
                <a16:creationId xmlns:a16="http://schemas.microsoft.com/office/drawing/2014/main" id="{CC0EC82D-97BA-4440-AADA-DA6F813A32A3}"/>
              </a:ext>
            </a:extLst>
          </p:cNvPr>
          <p:cNvSpPr>
            <a:spLocks noGrp="1"/>
          </p:cNvSpPr>
          <p:nvPr>
            <p:ph type="body" sz="quarter" idx="10"/>
          </p:nvPr>
        </p:nvSpPr>
        <p:spPr>
          <a:xfrm>
            <a:off x="274638" y="1212850"/>
            <a:ext cx="11888787" cy="4881336"/>
          </a:xfrm>
        </p:spPr>
        <p:txBody>
          <a:bodyPr/>
          <a:lstStyle/>
          <a:p>
            <a:r>
              <a:rPr lang="en-AU" b="1" dirty="0">
                <a:solidFill>
                  <a:schemeClr val="tx2"/>
                </a:solidFill>
              </a:rPr>
              <a:t>Managed Apache Spark platform optimized for Azure</a:t>
            </a:r>
          </a:p>
          <a:p>
            <a:r>
              <a:rPr lang="en-AU" dirty="0"/>
              <a:t>First party service</a:t>
            </a:r>
          </a:p>
          <a:p>
            <a:pPr marL="685800" lvl="1" indent="-457200">
              <a:buFont typeface="Arial" panose="020B0604020202020204" pitchFamily="34" charset="0"/>
              <a:buChar char="•"/>
            </a:pPr>
            <a:r>
              <a:rPr lang="en-AU" dirty="0"/>
              <a:t>	Not an Azure Marketplace or 3</a:t>
            </a:r>
            <a:r>
              <a:rPr lang="en-AU" baseline="30000" dirty="0"/>
              <a:t>rd</a:t>
            </a:r>
            <a:r>
              <a:rPr lang="en-AU" dirty="0"/>
              <a:t> party hosted service</a:t>
            </a:r>
          </a:p>
          <a:p>
            <a:r>
              <a:rPr lang="en-AU" dirty="0"/>
              <a:t>Azure Integration</a:t>
            </a:r>
          </a:p>
          <a:p>
            <a:pPr marL="800100" lvl="1" indent="-571500">
              <a:buFont typeface="Arial" panose="020B0604020202020204" pitchFamily="34" charset="0"/>
              <a:buChar char="•"/>
            </a:pPr>
            <a:r>
              <a:rPr lang="en-AU" dirty="0"/>
              <a:t>Azure Active Directory</a:t>
            </a:r>
            <a:endParaRPr lang="en-AU" sz="3600" dirty="0"/>
          </a:p>
          <a:p>
            <a:pPr marL="800100" lvl="1" indent="-571500">
              <a:buFont typeface="Arial" panose="020B0604020202020204" pitchFamily="34" charset="0"/>
              <a:buChar char="•"/>
            </a:pPr>
            <a:r>
              <a:rPr lang="en-AU" sz="2800" dirty="0"/>
              <a:t>Azure data connectors</a:t>
            </a:r>
          </a:p>
          <a:p>
            <a:pPr marL="800100" lvl="1" indent="-571500">
              <a:buFont typeface="Arial" panose="020B0604020202020204" pitchFamily="34" charset="0"/>
              <a:buChar char="•"/>
            </a:pPr>
            <a:r>
              <a:rPr lang="en-AU" sz="2800" dirty="0"/>
              <a:t>Azure Billing</a:t>
            </a:r>
            <a:endParaRPr lang="en-AU" dirty="0"/>
          </a:p>
          <a:p>
            <a:pPr marL="800100" lvl="1" indent="-571500">
              <a:buFont typeface="Arial" panose="020B0604020202020204" pitchFamily="34" charset="0"/>
              <a:buChar char="•"/>
            </a:pPr>
            <a:r>
              <a:rPr lang="en-AU" sz="2800" dirty="0"/>
              <a:t>Power BI</a:t>
            </a:r>
          </a:p>
          <a:p>
            <a:endParaRPr lang="en-AU" dirty="0"/>
          </a:p>
        </p:txBody>
      </p:sp>
      <p:sp>
        <p:nvSpPr>
          <p:cNvPr id="4" name="Freeform: Shape 1">
            <a:extLst>
              <a:ext uri="{FF2B5EF4-FFF2-40B4-BE49-F238E27FC236}">
                <a16:creationId xmlns:a16="http://schemas.microsoft.com/office/drawing/2014/main" id="{7E004467-35D3-4AB4-8E84-3705255C08D6}"/>
              </a:ext>
            </a:extLst>
          </p:cNvPr>
          <p:cNvSpPr/>
          <p:nvPr/>
        </p:nvSpPr>
        <p:spPr bwMode="auto">
          <a:xfrm>
            <a:off x="7012187" y="3713286"/>
            <a:ext cx="5067141" cy="2806889"/>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 name="MS cloud text">
            <a:extLst>
              <a:ext uri="{FF2B5EF4-FFF2-40B4-BE49-F238E27FC236}">
                <a16:creationId xmlns:a16="http://schemas.microsoft.com/office/drawing/2014/main" id="{C9022B0B-F460-4F8C-B4C6-8735E0F6FFD5}"/>
              </a:ext>
            </a:extLst>
          </p:cNvPr>
          <p:cNvSpPr txBox="1">
            <a:spLocks/>
          </p:cNvSpPr>
          <p:nvPr/>
        </p:nvSpPr>
        <p:spPr>
          <a:xfrm>
            <a:off x="7180381" y="5682860"/>
            <a:ext cx="5067141" cy="837316"/>
          </a:xfrm>
          <a:prstGeom prst="rect">
            <a:avLst/>
          </a:prstGeom>
        </p:spPr>
        <p:txBody>
          <a:bodyPr vert="horz" wrap="square" lIns="146283" tIns="91427" rIns="146283" bIns="91427"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914224">
              <a:defRPr/>
            </a:pPr>
            <a:r>
              <a:rPr lang="en-US" sz="3672" kern="0" dirty="0">
                <a:solidFill>
                  <a:srgbClr val="002050"/>
                </a:solidFill>
                <a:latin typeface="Segoe UI Semilight"/>
                <a:cs typeface="Segoe UI Semilight" panose="020B0402040204020203" pitchFamily="34" charset="0"/>
              </a:rPr>
              <a:t>Microsoft Azure</a:t>
            </a:r>
            <a:endParaRPr lang="en-US" sz="3672" kern="0" dirty="0">
              <a:solidFill>
                <a:srgbClr val="002050"/>
              </a:solidFill>
              <a:latin typeface="Segoe UI Light"/>
              <a:cs typeface="Segoe UI Semilight" panose="020B0402040204020203" pitchFamily="34" charset="0"/>
            </a:endParaRPr>
          </a:p>
        </p:txBody>
      </p:sp>
      <p:pic>
        <p:nvPicPr>
          <p:cNvPr id="6" name="Picture 4" descr="Image result for databricks icon">
            <a:extLst>
              <a:ext uri="{FF2B5EF4-FFF2-40B4-BE49-F238E27FC236}">
                <a16:creationId xmlns:a16="http://schemas.microsoft.com/office/drawing/2014/main" id="{57BE47EA-FCEA-4184-8D5D-D3DBC37160C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98497" y="4818734"/>
            <a:ext cx="2630909" cy="447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265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42" presetClass="path" presetSubtype="0" decel="100000" fill="hold" grpId="1" nodeType="withEffect">
                                  <p:stCondLst>
                                    <p:cond delay="300"/>
                                  </p:stCondLst>
                                  <p:childTnLst>
                                    <p:animMotion origin="layout" path="M 4.79167E-6 2.22222E-6 L 4.79167E-6 0.09629 " pathEditMode="relative" rAng="0" ptsTypes="AA">
                                      <p:cBhvr>
                                        <p:cTn id="9" dur="700" spd="-100000" fill="hold"/>
                                        <p:tgtEl>
                                          <p:spTgt spid="5"/>
                                        </p:tgtEl>
                                        <p:attrNameLst>
                                          <p:attrName>ppt_x</p:attrName>
                                          <p:attrName>ppt_y</p:attrName>
                                        </p:attrNameLst>
                                      </p:cBhvr>
                                      <p:rCtr x="0" y="48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738664"/>
          </a:xfrm>
        </p:spPr>
        <p:txBody>
          <a:bodyPr/>
          <a:lstStyle/>
          <a:p>
            <a:r>
              <a:rPr lang="en-US" dirty="0"/>
              <a:t>Hello Azure Databricks!</a:t>
            </a:r>
          </a:p>
        </p:txBody>
      </p:sp>
    </p:spTree>
    <p:extLst>
      <p:ext uri="{BB962C8B-B14F-4D97-AF65-F5344CB8AC3E}">
        <p14:creationId xmlns:p14="http://schemas.microsoft.com/office/powerpoint/2010/main" val="4917774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6B38F-3FD6-4C9B-95BA-BE62BE80B2BE}"/>
              </a:ext>
            </a:extLst>
          </p:cNvPr>
          <p:cNvSpPr>
            <a:spLocks noGrp="1"/>
          </p:cNvSpPr>
          <p:nvPr>
            <p:ph type="title"/>
          </p:nvPr>
        </p:nvSpPr>
        <p:spPr/>
        <p:txBody>
          <a:bodyPr/>
          <a:lstStyle/>
          <a:p>
            <a:r>
              <a:rPr lang="en-US" dirty="0"/>
              <a:t>Hidden Technical Debt in ML Systems</a:t>
            </a:r>
          </a:p>
        </p:txBody>
      </p:sp>
      <p:pic>
        <p:nvPicPr>
          <p:cNvPr id="4" name="Picture 3">
            <a:extLst>
              <a:ext uri="{FF2B5EF4-FFF2-40B4-BE49-F238E27FC236}">
                <a16:creationId xmlns:a16="http://schemas.microsoft.com/office/drawing/2014/main" id="{8B9AA387-FE56-40B4-9DC6-46066987FE8C}"/>
              </a:ext>
            </a:extLst>
          </p:cNvPr>
          <p:cNvPicPr>
            <a:picLocks noChangeAspect="1"/>
          </p:cNvPicPr>
          <p:nvPr/>
        </p:nvPicPr>
        <p:blipFill>
          <a:blip r:embed="rId3"/>
          <a:stretch>
            <a:fillRect/>
          </a:stretch>
        </p:blipFill>
        <p:spPr>
          <a:xfrm>
            <a:off x="1417103" y="1769070"/>
            <a:ext cx="9602267" cy="3240360"/>
          </a:xfrm>
          <a:prstGeom prst="rect">
            <a:avLst/>
          </a:prstGeom>
        </p:spPr>
      </p:pic>
      <p:sp>
        <p:nvSpPr>
          <p:cNvPr id="5" name="TextBox 4">
            <a:extLst>
              <a:ext uri="{FF2B5EF4-FFF2-40B4-BE49-F238E27FC236}">
                <a16:creationId xmlns:a16="http://schemas.microsoft.com/office/drawing/2014/main" id="{5AC7169F-8325-4C43-BA67-E0C233424447}"/>
              </a:ext>
            </a:extLst>
          </p:cNvPr>
          <p:cNvSpPr txBox="1"/>
          <p:nvPr/>
        </p:nvSpPr>
        <p:spPr>
          <a:xfrm>
            <a:off x="274639" y="6305574"/>
            <a:ext cx="9353714"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https://papers.nips.cc/paper/5656-hidden-technical-debt-in-machine-learning-systems.pdf</a:t>
            </a:r>
          </a:p>
        </p:txBody>
      </p:sp>
    </p:spTree>
    <p:extLst>
      <p:ext uri="{BB962C8B-B14F-4D97-AF65-F5344CB8AC3E}">
        <p14:creationId xmlns:p14="http://schemas.microsoft.com/office/powerpoint/2010/main" val="148569287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Freeform 4"/>
          <p:cNvSpPr>
            <a:spLocks noChangeArrowheads="1"/>
          </p:cNvSpPr>
          <p:nvPr/>
        </p:nvSpPr>
        <p:spPr bwMode="auto">
          <a:xfrm>
            <a:off x="2795950" y="1382924"/>
            <a:ext cx="6689599" cy="4651432"/>
          </a:xfrm>
          <a:prstGeom prst="rect">
            <a:avLst/>
          </a:prstGeom>
          <a:solidFill>
            <a:srgbClr val="FBFDFF"/>
          </a:solidFill>
          <a:ln w="19050" cap="flat">
            <a:solidFill>
              <a:schemeClr val="accent1"/>
            </a:solidFill>
            <a:prstDash val="solid"/>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78" name="Freeform 4"/>
          <p:cNvSpPr>
            <a:spLocks noChangeArrowheads="1"/>
          </p:cNvSpPr>
          <p:nvPr/>
        </p:nvSpPr>
        <p:spPr bwMode="auto">
          <a:xfrm>
            <a:off x="2894765" y="4674280"/>
            <a:ext cx="6476412" cy="1238853"/>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640" name="Group 639"/>
          <p:cNvGrpSpPr/>
          <p:nvPr/>
        </p:nvGrpSpPr>
        <p:grpSpPr>
          <a:xfrm>
            <a:off x="3643109" y="5068257"/>
            <a:ext cx="419207" cy="486076"/>
            <a:chOff x="1271588" y="5613400"/>
            <a:chExt cx="517525" cy="600076"/>
          </a:xfrm>
          <a:solidFill>
            <a:schemeClr val="accent1"/>
          </a:solidFill>
        </p:grpSpPr>
        <p:sp>
          <p:nvSpPr>
            <p:cNvPr id="641" name="Freeform 83"/>
            <p:cNvSpPr>
              <a:spLocks noChangeArrowheads="1"/>
            </p:cNvSpPr>
            <p:nvPr/>
          </p:nvSpPr>
          <p:spPr bwMode="auto">
            <a:xfrm>
              <a:off x="1368425" y="5705476"/>
              <a:ext cx="420688" cy="508000"/>
            </a:xfrm>
            <a:custGeom>
              <a:avLst/>
              <a:gdLst>
                <a:gd name="T0" fmla="*/ 934 w 1168"/>
                <a:gd name="T1" fmla="*/ 687 h 1410"/>
                <a:gd name="T2" fmla="*/ 760 w 1168"/>
                <a:gd name="T3" fmla="*/ 687 h 1410"/>
                <a:gd name="T4" fmla="*/ 585 w 1168"/>
                <a:gd name="T5" fmla="*/ 529 h 1410"/>
                <a:gd name="T6" fmla="*/ 416 w 1168"/>
                <a:gd name="T7" fmla="*/ 687 h 1410"/>
                <a:gd name="T8" fmla="*/ 234 w 1168"/>
                <a:gd name="T9" fmla="*/ 687 h 1410"/>
                <a:gd name="T10" fmla="*/ 46 w 1168"/>
                <a:gd name="T11" fmla="*/ 462 h 1410"/>
                <a:gd name="T12" fmla="*/ 234 w 1168"/>
                <a:gd name="T13" fmla="*/ 238 h 1410"/>
                <a:gd name="T14" fmla="*/ 552 w 1168"/>
                <a:gd name="T15" fmla="*/ 238 h 1410"/>
                <a:gd name="T16" fmla="*/ 552 w 1168"/>
                <a:gd name="T17" fmla="*/ 422 h 1410"/>
                <a:gd name="T18" fmla="*/ 1147 w 1168"/>
                <a:gd name="T19" fmla="*/ 422 h 1410"/>
                <a:gd name="T20" fmla="*/ 1147 w 1168"/>
                <a:gd name="T21" fmla="*/ 0 h 1410"/>
                <a:gd name="T22" fmla="*/ 552 w 1168"/>
                <a:gd name="T23" fmla="*/ 0 h 1410"/>
                <a:gd name="T24" fmla="*/ 552 w 1168"/>
                <a:gd name="T25" fmla="*/ 192 h 1410"/>
                <a:gd name="T26" fmla="*/ 234 w 1168"/>
                <a:gd name="T27" fmla="*/ 192 h 1410"/>
                <a:gd name="T28" fmla="*/ 0 w 1168"/>
                <a:gd name="T29" fmla="*/ 459 h 1410"/>
                <a:gd name="T30" fmla="*/ 234 w 1168"/>
                <a:gd name="T31" fmla="*/ 728 h 1410"/>
                <a:gd name="T32" fmla="*/ 420 w 1168"/>
                <a:gd name="T33" fmla="*/ 728 h 1410"/>
                <a:gd name="T34" fmla="*/ 593 w 1168"/>
                <a:gd name="T35" fmla="*/ 873 h 1410"/>
                <a:gd name="T36" fmla="*/ 760 w 1168"/>
                <a:gd name="T37" fmla="*/ 728 h 1410"/>
                <a:gd name="T38" fmla="*/ 934 w 1168"/>
                <a:gd name="T39" fmla="*/ 728 h 1410"/>
                <a:gd name="T40" fmla="*/ 1121 w 1168"/>
                <a:gd name="T41" fmla="*/ 954 h 1410"/>
                <a:gd name="T42" fmla="*/ 1121 w 1168"/>
                <a:gd name="T43" fmla="*/ 962 h 1410"/>
                <a:gd name="T44" fmla="*/ 934 w 1168"/>
                <a:gd name="T45" fmla="*/ 1186 h 1410"/>
                <a:gd name="T46" fmla="*/ 615 w 1168"/>
                <a:gd name="T47" fmla="*/ 1186 h 1410"/>
                <a:gd name="T48" fmla="*/ 615 w 1168"/>
                <a:gd name="T49" fmla="*/ 997 h 1410"/>
                <a:gd name="T50" fmla="*/ 22 w 1168"/>
                <a:gd name="T51" fmla="*/ 997 h 1410"/>
                <a:gd name="T52" fmla="*/ 22 w 1168"/>
                <a:gd name="T53" fmla="*/ 1409 h 1410"/>
                <a:gd name="T54" fmla="*/ 615 w 1168"/>
                <a:gd name="T55" fmla="*/ 1409 h 1410"/>
                <a:gd name="T56" fmla="*/ 615 w 1168"/>
                <a:gd name="T57" fmla="*/ 1236 h 1410"/>
                <a:gd name="T58" fmla="*/ 934 w 1168"/>
                <a:gd name="T59" fmla="*/ 1236 h 1410"/>
                <a:gd name="T60" fmla="*/ 1167 w 1168"/>
                <a:gd name="T61" fmla="*/ 967 h 1410"/>
                <a:gd name="T62" fmla="*/ 1167 w 1168"/>
                <a:gd name="T63" fmla="*/ 960 h 1410"/>
                <a:gd name="T64" fmla="*/ 934 w 1168"/>
                <a:gd name="T65" fmla="*/ 687 h 1410"/>
                <a:gd name="T66" fmla="*/ 1103 w 1168"/>
                <a:gd name="T67" fmla="*/ 376 h 1410"/>
                <a:gd name="T68" fmla="*/ 1026 w 1168"/>
                <a:gd name="T69" fmla="*/ 376 h 1410"/>
                <a:gd name="T70" fmla="*/ 1026 w 1168"/>
                <a:gd name="T71" fmla="*/ 46 h 1410"/>
                <a:gd name="T72" fmla="*/ 1103 w 1168"/>
                <a:gd name="T73" fmla="*/ 46 h 1410"/>
                <a:gd name="T74" fmla="*/ 1103 w 1168"/>
                <a:gd name="T75" fmla="*/ 376 h 1410"/>
                <a:gd name="T76" fmla="*/ 980 w 1168"/>
                <a:gd name="T77" fmla="*/ 44 h 1410"/>
                <a:gd name="T78" fmla="*/ 980 w 1168"/>
                <a:gd name="T79" fmla="*/ 376 h 1410"/>
                <a:gd name="T80" fmla="*/ 596 w 1168"/>
                <a:gd name="T81" fmla="*/ 376 h 1410"/>
                <a:gd name="T82" fmla="*/ 596 w 1168"/>
                <a:gd name="T83" fmla="*/ 44 h 1410"/>
                <a:gd name="T84" fmla="*/ 980 w 1168"/>
                <a:gd name="T85" fmla="*/ 44 h 1410"/>
                <a:gd name="T86" fmla="*/ 574 w 1168"/>
                <a:gd name="T87" fmla="*/ 798 h 1410"/>
                <a:gd name="T88" fmla="*/ 510 w 1168"/>
                <a:gd name="T89" fmla="*/ 746 h 1410"/>
                <a:gd name="T90" fmla="*/ 538 w 1168"/>
                <a:gd name="T91" fmla="*/ 711 h 1410"/>
                <a:gd name="T92" fmla="*/ 569 w 1168"/>
                <a:gd name="T93" fmla="*/ 737 h 1410"/>
                <a:gd name="T94" fmla="*/ 644 w 1168"/>
                <a:gd name="T95" fmla="*/ 643 h 1410"/>
                <a:gd name="T96" fmla="*/ 679 w 1168"/>
                <a:gd name="T97" fmla="*/ 669 h 1410"/>
                <a:gd name="T98" fmla="*/ 574 w 1168"/>
                <a:gd name="T99" fmla="*/ 798 h 1410"/>
                <a:gd name="T100" fmla="*/ 68 w 1168"/>
                <a:gd name="T101" fmla="*/ 1045 h 1410"/>
                <a:gd name="T102" fmla="*/ 145 w 1168"/>
                <a:gd name="T103" fmla="*/ 1045 h 1410"/>
                <a:gd name="T104" fmla="*/ 145 w 1168"/>
                <a:gd name="T105" fmla="*/ 1372 h 1410"/>
                <a:gd name="T106" fmla="*/ 68 w 1168"/>
                <a:gd name="T107" fmla="*/ 1372 h 1410"/>
                <a:gd name="T108" fmla="*/ 68 w 1168"/>
                <a:gd name="T109" fmla="*/ 1045 h 1410"/>
                <a:gd name="T110" fmla="*/ 573 w 1168"/>
                <a:gd name="T111" fmla="*/ 1372 h 1410"/>
                <a:gd name="T112" fmla="*/ 188 w 1168"/>
                <a:gd name="T113" fmla="*/ 1372 h 1410"/>
                <a:gd name="T114" fmla="*/ 188 w 1168"/>
                <a:gd name="T115" fmla="*/ 1045 h 1410"/>
                <a:gd name="T116" fmla="*/ 573 w 1168"/>
                <a:gd name="T117" fmla="*/ 1045 h 1410"/>
                <a:gd name="T118" fmla="*/ 573 w 1168"/>
                <a:gd name="T119" fmla="*/ 137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1410">
                  <a:moveTo>
                    <a:pt x="934" y="687"/>
                  </a:moveTo>
                  <a:lnTo>
                    <a:pt x="760" y="687"/>
                  </a:lnTo>
                  <a:cubicBezTo>
                    <a:pt x="751" y="599"/>
                    <a:pt x="676" y="529"/>
                    <a:pt x="585" y="529"/>
                  </a:cubicBezTo>
                  <a:cubicBezTo>
                    <a:pt x="497" y="532"/>
                    <a:pt x="423" y="599"/>
                    <a:pt x="416" y="687"/>
                  </a:cubicBezTo>
                  <a:lnTo>
                    <a:pt x="234" y="687"/>
                  </a:lnTo>
                  <a:cubicBezTo>
                    <a:pt x="129" y="687"/>
                    <a:pt x="46" y="586"/>
                    <a:pt x="46" y="462"/>
                  </a:cubicBezTo>
                  <a:cubicBezTo>
                    <a:pt x="46" y="339"/>
                    <a:pt x="132" y="238"/>
                    <a:pt x="234" y="238"/>
                  </a:cubicBezTo>
                  <a:lnTo>
                    <a:pt x="552" y="238"/>
                  </a:lnTo>
                  <a:lnTo>
                    <a:pt x="552" y="422"/>
                  </a:lnTo>
                  <a:lnTo>
                    <a:pt x="1147" y="422"/>
                  </a:lnTo>
                  <a:lnTo>
                    <a:pt x="1147" y="0"/>
                  </a:lnTo>
                  <a:lnTo>
                    <a:pt x="552" y="0"/>
                  </a:lnTo>
                  <a:lnTo>
                    <a:pt x="552" y="192"/>
                  </a:lnTo>
                  <a:lnTo>
                    <a:pt x="234" y="192"/>
                  </a:lnTo>
                  <a:cubicBezTo>
                    <a:pt x="105" y="192"/>
                    <a:pt x="0" y="311"/>
                    <a:pt x="0" y="459"/>
                  </a:cubicBezTo>
                  <a:cubicBezTo>
                    <a:pt x="0" y="607"/>
                    <a:pt x="105" y="728"/>
                    <a:pt x="234" y="728"/>
                  </a:cubicBezTo>
                  <a:lnTo>
                    <a:pt x="420" y="728"/>
                  </a:lnTo>
                  <a:cubicBezTo>
                    <a:pt x="433" y="811"/>
                    <a:pt x="504" y="875"/>
                    <a:pt x="593" y="873"/>
                  </a:cubicBezTo>
                  <a:cubicBezTo>
                    <a:pt x="679" y="870"/>
                    <a:pt x="746" y="809"/>
                    <a:pt x="760" y="728"/>
                  </a:cubicBezTo>
                  <a:lnTo>
                    <a:pt x="934" y="728"/>
                  </a:lnTo>
                  <a:cubicBezTo>
                    <a:pt x="1039" y="728"/>
                    <a:pt x="1121" y="831"/>
                    <a:pt x="1121" y="954"/>
                  </a:cubicBezTo>
                  <a:lnTo>
                    <a:pt x="1121" y="962"/>
                  </a:lnTo>
                  <a:cubicBezTo>
                    <a:pt x="1121" y="1085"/>
                    <a:pt x="1037" y="1186"/>
                    <a:pt x="934" y="1186"/>
                  </a:cubicBezTo>
                  <a:lnTo>
                    <a:pt x="615" y="1186"/>
                  </a:lnTo>
                  <a:lnTo>
                    <a:pt x="615" y="997"/>
                  </a:lnTo>
                  <a:lnTo>
                    <a:pt x="22" y="997"/>
                  </a:lnTo>
                  <a:lnTo>
                    <a:pt x="22" y="1409"/>
                  </a:lnTo>
                  <a:lnTo>
                    <a:pt x="615" y="1409"/>
                  </a:lnTo>
                  <a:lnTo>
                    <a:pt x="615" y="1236"/>
                  </a:lnTo>
                  <a:lnTo>
                    <a:pt x="934" y="1236"/>
                  </a:lnTo>
                  <a:cubicBezTo>
                    <a:pt x="1062" y="1236"/>
                    <a:pt x="1167" y="1115"/>
                    <a:pt x="1167" y="967"/>
                  </a:cubicBezTo>
                  <a:lnTo>
                    <a:pt x="1167" y="960"/>
                  </a:lnTo>
                  <a:cubicBezTo>
                    <a:pt x="1167" y="809"/>
                    <a:pt x="1062" y="687"/>
                    <a:pt x="934" y="687"/>
                  </a:cubicBezTo>
                  <a:close/>
                  <a:moveTo>
                    <a:pt x="1103" y="376"/>
                  </a:moveTo>
                  <a:lnTo>
                    <a:pt x="1026" y="376"/>
                  </a:lnTo>
                  <a:lnTo>
                    <a:pt x="1026" y="46"/>
                  </a:lnTo>
                  <a:lnTo>
                    <a:pt x="1103" y="46"/>
                  </a:lnTo>
                  <a:lnTo>
                    <a:pt x="1103" y="376"/>
                  </a:lnTo>
                  <a:close/>
                  <a:moveTo>
                    <a:pt x="980" y="44"/>
                  </a:moveTo>
                  <a:lnTo>
                    <a:pt x="980" y="376"/>
                  </a:lnTo>
                  <a:lnTo>
                    <a:pt x="596" y="376"/>
                  </a:lnTo>
                  <a:lnTo>
                    <a:pt x="596" y="44"/>
                  </a:lnTo>
                  <a:lnTo>
                    <a:pt x="980" y="44"/>
                  </a:lnTo>
                  <a:close/>
                  <a:moveTo>
                    <a:pt x="574" y="798"/>
                  </a:moveTo>
                  <a:lnTo>
                    <a:pt x="510" y="746"/>
                  </a:lnTo>
                  <a:lnTo>
                    <a:pt x="538" y="711"/>
                  </a:lnTo>
                  <a:lnTo>
                    <a:pt x="569" y="737"/>
                  </a:lnTo>
                  <a:lnTo>
                    <a:pt x="644" y="643"/>
                  </a:lnTo>
                  <a:lnTo>
                    <a:pt x="679" y="669"/>
                  </a:lnTo>
                  <a:lnTo>
                    <a:pt x="574" y="798"/>
                  </a:lnTo>
                  <a:close/>
                  <a:moveTo>
                    <a:pt x="68" y="1045"/>
                  </a:moveTo>
                  <a:lnTo>
                    <a:pt x="145" y="1045"/>
                  </a:lnTo>
                  <a:lnTo>
                    <a:pt x="145" y="1372"/>
                  </a:lnTo>
                  <a:lnTo>
                    <a:pt x="68" y="1372"/>
                  </a:lnTo>
                  <a:lnTo>
                    <a:pt x="68" y="1045"/>
                  </a:lnTo>
                  <a:close/>
                  <a:moveTo>
                    <a:pt x="573" y="1372"/>
                  </a:moveTo>
                  <a:lnTo>
                    <a:pt x="188" y="1372"/>
                  </a:lnTo>
                  <a:lnTo>
                    <a:pt x="188" y="1045"/>
                  </a:lnTo>
                  <a:lnTo>
                    <a:pt x="573" y="1045"/>
                  </a:lnTo>
                  <a:lnTo>
                    <a:pt x="573" y="1372"/>
                  </a:ln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2" name="Freeform 84"/>
            <p:cNvSpPr>
              <a:spLocks noChangeArrowheads="1"/>
            </p:cNvSpPr>
            <p:nvPr/>
          </p:nvSpPr>
          <p:spPr bwMode="auto">
            <a:xfrm>
              <a:off x="1271588" y="5715000"/>
              <a:ext cx="50800" cy="50800"/>
            </a:xfrm>
            <a:custGeom>
              <a:avLst/>
              <a:gdLst>
                <a:gd name="T0" fmla="*/ 70 w 143"/>
                <a:gd name="T1" fmla="*/ 0 h 143"/>
                <a:gd name="T2" fmla="*/ 0 w 143"/>
                <a:gd name="T3" fmla="*/ 72 h 143"/>
                <a:gd name="T4" fmla="*/ 70 w 143"/>
                <a:gd name="T5" fmla="*/ 142 h 143"/>
                <a:gd name="T6" fmla="*/ 70 w 143"/>
                <a:gd name="T7" fmla="*/ 142 h 143"/>
                <a:gd name="T8" fmla="*/ 70 w 143"/>
                <a:gd name="T9" fmla="*/ 142 h 143"/>
                <a:gd name="T10" fmla="*/ 140 w 143"/>
                <a:gd name="T11" fmla="*/ 70 h 143"/>
                <a:gd name="T12" fmla="*/ 70 w 143"/>
                <a:gd name="T13" fmla="*/ 0 h 143"/>
                <a:gd name="T14" fmla="*/ 72 w 143"/>
                <a:gd name="T15" fmla="*/ 99 h 143"/>
                <a:gd name="T16" fmla="*/ 72 w 143"/>
                <a:gd name="T17" fmla="*/ 99 h 143"/>
                <a:gd name="T18" fmla="*/ 43 w 143"/>
                <a:gd name="T19" fmla="*/ 72 h 143"/>
                <a:gd name="T20" fmla="*/ 70 w 143"/>
                <a:gd name="T21" fmla="*/ 42 h 143"/>
                <a:gd name="T22" fmla="*/ 70 w 143"/>
                <a:gd name="T23" fmla="*/ 42 h 143"/>
                <a:gd name="T24" fmla="*/ 96 w 143"/>
                <a:gd name="T25" fmla="*/ 70 h 143"/>
                <a:gd name="T26" fmla="*/ 72 w 143"/>
                <a:gd name="T27"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143">
                  <a:moveTo>
                    <a:pt x="70" y="0"/>
                  </a:moveTo>
                  <a:cubicBezTo>
                    <a:pt x="30" y="0"/>
                    <a:pt x="0" y="31"/>
                    <a:pt x="0" y="72"/>
                  </a:cubicBezTo>
                  <a:cubicBezTo>
                    <a:pt x="0" y="110"/>
                    <a:pt x="32" y="142"/>
                    <a:pt x="70" y="142"/>
                  </a:cubicBezTo>
                  <a:lnTo>
                    <a:pt x="70" y="142"/>
                  </a:lnTo>
                  <a:lnTo>
                    <a:pt x="70" y="142"/>
                  </a:lnTo>
                  <a:cubicBezTo>
                    <a:pt x="111" y="142"/>
                    <a:pt x="140" y="110"/>
                    <a:pt x="140" y="70"/>
                  </a:cubicBezTo>
                  <a:cubicBezTo>
                    <a:pt x="142" y="31"/>
                    <a:pt x="111" y="0"/>
                    <a:pt x="70" y="0"/>
                  </a:cubicBezTo>
                  <a:close/>
                  <a:moveTo>
                    <a:pt x="72" y="99"/>
                  </a:moveTo>
                  <a:lnTo>
                    <a:pt x="72" y="99"/>
                  </a:lnTo>
                  <a:cubicBezTo>
                    <a:pt x="56" y="99"/>
                    <a:pt x="47" y="85"/>
                    <a:pt x="43" y="72"/>
                  </a:cubicBezTo>
                  <a:cubicBezTo>
                    <a:pt x="43" y="55"/>
                    <a:pt x="54" y="46"/>
                    <a:pt x="70" y="42"/>
                  </a:cubicBezTo>
                  <a:lnTo>
                    <a:pt x="70" y="42"/>
                  </a:lnTo>
                  <a:cubicBezTo>
                    <a:pt x="87" y="42"/>
                    <a:pt x="96" y="55"/>
                    <a:pt x="96" y="70"/>
                  </a:cubicBezTo>
                  <a:cubicBezTo>
                    <a:pt x="100" y="85"/>
                    <a:pt x="89" y="99"/>
                    <a:pt x="72" y="9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3" name="Freeform 85"/>
            <p:cNvSpPr>
              <a:spLocks noChangeArrowheads="1"/>
            </p:cNvSpPr>
            <p:nvPr/>
          </p:nvSpPr>
          <p:spPr bwMode="auto">
            <a:xfrm>
              <a:off x="1363663" y="5613400"/>
              <a:ext cx="69850" cy="68263"/>
            </a:xfrm>
            <a:custGeom>
              <a:avLst/>
              <a:gdLst>
                <a:gd name="T0" fmla="*/ 70 w 192"/>
                <a:gd name="T1" fmla="*/ 190 h 191"/>
                <a:gd name="T2" fmla="*/ 79 w 192"/>
                <a:gd name="T3" fmla="*/ 190 h 191"/>
                <a:gd name="T4" fmla="*/ 114 w 192"/>
                <a:gd name="T5" fmla="*/ 190 h 191"/>
                <a:gd name="T6" fmla="*/ 121 w 192"/>
                <a:gd name="T7" fmla="*/ 190 h 191"/>
                <a:gd name="T8" fmla="*/ 191 w 192"/>
                <a:gd name="T9" fmla="*/ 120 h 191"/>
                <a:gd name="T10" fmla="*/ 191 w 192"/>
                <a:gd name="T11" fmla="*/ 112 h 191"/>
                <a:gd name="T12" fmla="*/ 191 w 192"/>
                <a:gd name="T13" fmla="*/ 77 h 191"/>
                <a:gd name="T14" fmla="*/ 191 w 192"/>
                <a:gd name="T15" fmla="*/ 70 h 191"/>
                <a:gd name="T16" fmla="*/ 121 w 192"/>
                <a:gd name="T17" fmla="*/ 0 h 191"/>
                <a:gd name="T18" fmla="*/ 114 w 192"/>
                <a:gd name="T19" fmla="*/ 0 h 191"/>
                <a:gd name="T20" fmla="*/ 79 w 192"/>
                <a:gd name="T21" fmla="*/ 0 h 191"/>
                <a:gd name="T22" fmla="*/ 70 w 192"/>
                <a:gd name="T23" fmla="*/ 0 h 191"/>
                <a:gd name="T24" fmla="*/ 0 w 192"/>
                <a:gd name="T25" fmla="*/ 70 h 191"/>
                <a:gd name="T26" fmla="*/ 0 w 192"/>
                <a:gd name="T27" fmla="*/ 77 h 191"/>
                <a:gd name="T28" fmla="*/ 0 w 192"/>
                <a:gd name="T29" fmla="*/ 112 h 191"/>
                <a:gd name="T30" fmla="*/ 0 w 192"/>
                <a:gd name="T31" fmla="*/ 120 h 191"/>
                <a:gd name="T32" fmla="*/ 70 w 192"/>
                <a:gd name="T33" fmla="*/ 190 h 191"/>
                <a:gd name="T34" fmla="*/ 97 w 192"/>
                <a:gd name="T35" fmla="*/ 59 h 191"/>
                <a:gd name="T36" fmla="*/ 132 w 192"/>
                <a:gd name="T37" fmla="*/ 94 h 191"/>
                <a:gd name="T38" fmla="*/ 97 w 192"/>
                <a:gd name="T39" fmla="*/ 129 h 191"/>
                <a:gd name="T40" fmla="*/ 62 w 192"/>
                <a:gd name="T41" fmla="*/ 94 h 191"/>
                <a:gd name="T42" fmla="*/ 97 w 192"/>
                <a:gd name="T43" fmla="*/ 5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191">
                  <a:moveTo>
                    <a:pt x="70" y="190"/>
                  </a:moveTo>
                  <a:lnTo>
                    <a:pt x="79" y="190"/>
                  </a:lnTo>
                  <a:lnTo>
                    <a:pt x="114" y="190"/>
                  </a:lnTo>
                  <a:lnTo>
                    <a:pt x="121" y="190"/>
                  </a:lnTo>
                  <a:cubicBezTo>
                    <a:pt x="121" y="153"/>
                    <a:pt x="153" y="120"/>
                    <a:pt x="191" y="120"/>
                  </a:cubicBezTo>
                  <a:lnTo>
                    <a:pt x="191" y="112"/>
                  </a:lnTo>
                  <a:lnTo>
                    <a:pt x="191" y="77"/>
                  </a:lnTo>
                  <a:lnTo>
                    <a:pt x="191" y="70"/>
                  </a:lnTo>
                  <a:cubicBezTo>
                    <a:pt x="153" y="70"/>
                    <a:pt x="121" y="37"/>
                    <a:pt x="121" y="0"/>
                  </a:cubicBezTo>
                  <a:lnTo>
                    <a:pt x="114" y="0"/>
                  </a:lnTo>
                  <a:lnTo>
                    <a:pt x="79" y="0"/>
                  </a:lnTo>
                  <a:lnTo>
                    <a:pt x="70" y="0"/>
                  </a:lnTo>
                  <a:cubicBezTo>
                    <a:pt x="70" y="37"/>
                    <a:pt x="38" y="70"/>
                    <a:pt x="0" y="70"/>
                  </a:cubicBezTo>
                  <a:lnTo>
                    <a:pt x="0" y="77"/>
                  </a:lnTo>
                  <a:lnTo>
                    <a:pt x="0" y="112"/>
                  </a:lnTo>
                  <a:lnTo>
                    <a:pt x="0" y="120"/>
                  </a:lnTo>
                  <a:cubicBezTo>
                    <a:pt x="38" y="120"/>
                    <a:pt x="70" y="153"/>
                    <a:pt x="70" y="190"/>
                  </a:cubicBezTo>
                  <a:close/>
                  <a:moveTo>
                    <a:pt x="97" y="59"/>
                  </a:moveTo>
                  <a:cubicBezTo>
                    <a:pt x="105" y="72"/>
                    <a:pt x="118" y="85"/>
                    <a:pt x="132" y="94"/>
                  </a:cubicBezTo>
                  <a:cubicBezTo>
                    <a:pt x="118" y="101"/>
                    <a:pt x="105" y="114"/>
                    <a:pt x="97" y="129"/>
                  </a:cubicBezTo>
                  <a:cubicBezTo>
                    <a:pt x="88" y="114"/>
                    <a:pt x="75" y="101"/>
                    <a:pt x="62" y="94"/>
                  </a:cubicBezTo>
                  <a:cubicBezTo>
                    <a:pt x="75" y="85"/>
                    <a:pt x="88" y="76"/>
                    <a:pt x="97" y="59"/>
                  </a:cubicBezTo>
                  <a:close/>
                </a:path>
              </a:pathLst>
            </a:custGeom>
            <a:grpFill/>
            <a:ln>
              <a:noFill/>
            </a:ln>
            <a:effectLst/>
            <a:extLst>
              <a:ext uri="{91240B29-F687-4F45-9708-019B960494DF}">
                <a14:hiddenLine xmlns:a14="http://schemas.microsoft.com/office/drawing/2010/main" w="9525" cap="rnd">
                  <a:solidFill>
                    <a:srgbClr val="00000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645" name="Freeform 86"/>
          <p:cNvSpPr>
            <a:spLocks noChangeArrowheads="1"/>
          </p:cNvSpPr>
          <p:nvPr/>
        </p:nvSpPr>
        <p:spPr bwMode="auto">
          <a:xfrm>
            <a:off x="6784645" y="5077136"/>
            <a:ext cx="622381" cy="402490"/>
          </a:xfrm>
          <a:custGeom>
            <a:avLst/>
            <a:gdLst>
              <a:gd name="T0" fmla="*/ 1728 w 2136"/>
              <a:gd name="T1" fmla="*/ 444 h 1379"/>
              <a:gd name="T2" fmla="*/ 1684 w 2136"/>
              <a:gd name="T3" fmla="*/ 446 h 1379"/>
              <a:gd name="T4" fmla="*/ 1089 w 2136"/>
              <a:gd name="T5" fmla="*/ 0 h 1379"/>
              <a:gd name="T6" fmla="*/ 510 w 2136"/>
              <a:gd name="T7" fmla="*/ 396 h 1379"/>
              <a:gd name="T8" fmla="*/ 462 w 2136"/>
              <a:gd name="T9" fmla="*/ 392 h 1379"/>
              <a:gd name="T10" fmla="*/ 444 w 2136"/>
              <a:gd name="T11" fmla="*/ 392 h 1379"/>
              <a:gd name="T12" fmla="*/ 420 w 2136"/>
              <a:gd name="T13" fmla="*/ 396 h 1379"/>
              <a:gd name="T14" fmla="*/ 416 w 2136"/>
              <a:gd name="T15" fmla="*/ 396 h 1379"/>
              <a:gd name="T16" fmla="*/ 315 w 2136"/>
              <a:gd name="T17" fmla="*/ 416 h 1379"/>
              <a:gd name="T18" fmla="*/ 315 w 2136"/>
              <a:gd name="T19" fmla="*/ 420 h 1379"/>
              <a:gd name="T20" fmla="*/ 0 w 2136"/>
              <a:gd name="T21" fmla="*/ 884 h 1379"/>
              <a:gd name="T22" fmla="*/ 462 w 2136"/>
              <a:gd name="T23" fmla="*/ 1378 h 1379"/>
              <a:gd name="T24" fmla="*/ 1713 w 2136"/>
              <a:gd name="T25" fmla="*/ 1378 h 1379"/>
              <a:gd name="T26" fmla="*/ 2133 w 2136"/>
              <a:gd name="T27" fmla="*/ 882 h 1379"/>
              <a:gd name="T28" fmla="*/ 1728 w 2136"/>
              <a:gd name="T29" fmla="*/ 444 h 1379"/>
              <a:gd name="T30" fmla="*/ 1713 w 2136"/>
              <a:gd name="T31" fmla="*/ 1326 h 1379"/>
              <a:gd name="T32" fmla="*/ 462 w 2136"/>
              <a:gd name="T33" fmla="*/ 1326 h 1379"/>
              <a:gd name="T34" fmla="*/ 55 w 2136"/>
              <a:gd name="T35" fmla="*/ 886 h 1379"/>
              <a:gd name="T36" fmla="*/ 420 w 2136"/>
              <a:gd name="T37" fmla="*/ 450 h 1379"/>
              <a:gd name="T38" fmla="*/ 422 w 2136"/>
              <a:gd name="T39" fmla="*/ 450 h 1379"/>
              <a:gd name="T40" fmla="*/ 444 w 2136"/>
              <a:gd name="T41" fmla="*/ 450 h 1379"/>
              <a:gd name="T42" fmla="*/ 461 w 2136"/>
              <a:gd name="T43" fmla="*/ 450 h 1379"/>
              <a:gd name="T44" fmla="*/ 505 w 2136"/>
              <a:gd name="T45" fmla="*/ 451 h 1379"/>
              <a:gd name="T46" fmla="*/ 505 w 2136"/>
              <a:gd name="T47" fmla="*/ 451 h 1379"/>
              <a:gd name="T48" fmla="*/ 768 w 2136"/>
              <a:gd name="T49" fmla="*/ 602 h 1379"/>
              <a:gd name="T50" fmla="*/ 812 w 2136"/>
              <a:gd name="T51" fmla="*/ 569 h 1379"/>
              <a:gd name="T52" fmla="*/ 562 w 2136"/>
              <a:gd name="T53" fmla="*/ 409 h 1379"/>
              <a:gd name="T54" fmla="*/ 1085 w 2136"/>
              <a:gd name="T55" fmla="*/ 57 h 1379"/>
              <a:gd name="T56" fmla="*/ 1636 w 2136"/>
              <a:gd name="T57" fmla="*/ 485 h 1379"/>
              <a:gd name="T58" fmla="*/ 1641 w 2136"/>
              <a:gd name="T59" fmla="*/ 508 h 1379"/>
              <a:gd name="T60" fmla="*/ 1665 w 2136"/>
              <a:gd name="T61" fmla="*/ 505 h 1379"/>
              <a:gd name="T62" fmla="*/ 1722 w 2136"/>
              <a:gd name="T63" fmla="*/ 501 h 1379"/>
              <a:gd name="T64" fmla="*/ 2076 w 2136"/>
              <a:gd name="T65" fmla="*/ 886 h 1379"/>
              <a:gd name="T66" fmla="*/ 1713 w 2136"/>
              <a:gd name="T67" fmla="*/ 132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36" h="1379">
                <a:moveTo>
                  <a:pt x="1728" y="444"/>
                </a:moveTo>
                <a:cubicBezTo>
                  <a:pt x="1713" y="444"/>
                  <a:pt x="1700" y="444"/>
                  <a:pt x="1684" y="446"/>
                </a:cubicBezTo>
                <a:cubicBezTo>
                  <a:pt x="1606" y="184"/>
                  <a:pt x="1365" y="0"/>
                  <a:pt x="1089" y="0"/>
                </a:cubicBezTo>
                <a:cubicBezTo>
                  <a:pt x="833" y="0"/>
                  <a:pt x="602" y="159"/>
                  <a:pt x="510" y="396"/>
                </a:cubicBezTo>
                <a:cubicBezTo>
                  <a:pt x="496" y="392"/>
                  <a:pt x="479" y="392"/>
                  <a:pt x="462" y="392"/>
                </a:cubicBezTo>
                <a:cubicBezTo>
                  <a:pt x="457" y="392"/>
                  <a:pt x="450" y="392"/>
                  <a:pt x="444" y="392"/>
                </a:cubicBezTo>
                <a:cubicBezTo>
                  <a:pt x="437" y="392"/>
                  <a:pt x="427" y="392"/>
                  <a:pt x="420" y="396"/>
                </a:cubicBezTo>
                <a:lnTo>
                  <a:pt x="416" y="396"/>
                </a:lnTo>
                <a:cubicBezTo>
                  <a:pt x="381" y="398"/>
                  <a:pt x="350" y="407"/>
                  <a:pt x="315" y="416"/>
                </a:cubicBezTo>
                <a:lnTo>
                  <a:pt x="315" y="420"/>
                </a:lnTo>
                <a:cubicBezTo>
                  <a:pt x="135" y="490"/>
                  <a:pt x="0" y="678"/>
                  <a:pt x="0" y="884"/>
                </a:cubicBezTo>
                <a:cubicBezTo>
                  <a:pt x="0" y="1148"/>
                  <a:pt x="216" y="1378"/>
                  <a:pt x="462" y="1378"/>
                </a:cubicBezTo>
                <a:lnTo>
                  <a:pt x="1713" y="1378"/>
                </a:lnTo>
                <a:cubicBezTo>
                  <a:pt x="1940" y="1378"/>
                  <a:pt x="2133" y="1103"/>
                  <a:pt x="2133" y="882"/>
                </a:cubicBezTo>
                <a:cubicBezTo>
                  <a:pt x="2135" y="650"/>
                  <a:pt x="1945" y="444"/>
                  <a:pt x="1728" y="444"/>
                </a:cubicBezTo>
                <a:close/>
                <a:moveTo>
                  <a:pt x="1713" y="1326"/>
                </a:moveTo>
                <a:lnTo>
                  <a:pt x="462" y="1326"/>
                </a:lnTo>
                <a:cubicBezTo>
                  <a:pt x="245" y="1326"/>
                  <a:pt x="55" y="1120"/>
                  <a:pt x="55" y="886"/>
                </a:cubicBezTo>
                <a:cubicBezTo>
                  <a:pt x="55" y="667"/>
                  <a:pt x="221" y="474"/>
                  <a:pt x="420" y="450"/>
                </a:cubicBezTo>
                <a:lnTo>
                  <a:pt x="422" y="450"/>
                </a:lnTo>
                <a:cubicBezTo>
                  <a:pt x="427" y="450"/>
                  <a:pt x="437" y="450"/>
                  <a:pt x="444" y="450"/>
                </a:cubicBezTo>
                <a:cubicBezTo>
                  <a:pt x="450" y="450"/>
                  <a:pt x="455" y="450"/>
                  <a:pt x="461" y="450"/>
                </a:cubicBezTo>
                <a:cubicBezTo>
                  <a:pt x="475" y="450"/>
                  <a:pt x="490" y="450"/>
                  <a:pt x="505" y="451"/>
                </a:cubicBezTo>
                <a:lnTo>
                  <a:pt x="505" y="451"/>
                </a:lnTo>
                <a:cubicBezTo>
                  <a:pt x="610" y="466"/>
                  <a:pt x="704" y="516"/>
                  <a:pt x="768" y="602"/>
                </a:cubicBezTo>
                <a:lnTo>
                  <a:pt x="812" y="569"/>
                </a:lnTo>
                <a:cubicBezTo>
                  <a:pt x="748" y="486"/>
                  <a:pt x="661" y="431"/>
                  <a:pt x="562" y="409"/>
                </a:cubicBezTo>
                <a:cubicBezTo>
                  <a:pt x="648" y="197"/>
                  <a:pt x="855" y="57"/>
                  <a:pt x="1085" y="57"/>
                </a:cubicBezTo>
                <a:cubicBezTo>
                  <a:pt x="1347" y="57"/>
                  <a:pt x="1571" y="234"/>
                  <a:pt x="1636" y="485"/>
                </a:cubicBezTo>
                <a:lnTo>
                  <a:pt x="1641" y="508"/>
                </a:lnTo>
                <a:lnTo>
                  <a:pt x="1665" y="505"/>
                </a:lnTo>
                <a:cubicBezTo>
                  <a:pt x="1687" y="503"/>
                  <a:pt x="1706" y="501"/>
                  <a:pt x="1722" y="501"/>
                </a:cubicBezTo>
                <a:cubicBezTo>
                  <a:pt x="1910" y="501"/>
                  <a:pt x="2076" y="680"/>
                  <a:pt x="2076" y="886"/>
                </a:cubicBezTo>
                <a:cubicBezTo>
                  <a:pt x="2081" y="1079"/>
                  <a:pt x="1910" y="1326"/>
                  <a:pt x="1713" y="1326"/>
                </a:cubicBezTo>
                <a:close/>
              </a:path>
            </a:pathLst>
          </a:custGeom>
          <a:solidFill>
            <a:schemeClr val="accent1"/>
          </a:solidFill>
          <a:ln>
            <a:noFill/>
          </a:ln>
          <a:effectLs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0" name="Rectangle 659">
            <a:extLst>
              <a:ext uri="{FF2B5EF4-FFF2-40B4-BE49-F238E27FC236}">
                <a16:creationId xmlns:a16="http://schemas.microsoft.com/office/drawing/2014/main" id="{4106DE2A-0AB7-43B6-A869-E66C5C3CD8C6}"/>
              </a:ext>
            </a:extLst>
          </p:cNvPr>
          <p:cNvSpPr/>
          <p:nvPr/>
        </p:nvSpPr>
        <p:spPr>
          <a:xfrm>
            <a:off x="2929223" y="4682560"/>
            <a:ext cx="6225048"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O</a:t>
            </a:r>
            <a:r>
              <a:rPr kumimoji="0" lang="en-US" sz="1428" b="0" i="0" u="none" strike="noStrike" kern="1200" cap="none" spc="0" normalizeH="0" baseline="0" noProof="0" dirty="0" err="1">
                <a:ln>
                  <a:noFill/>
                </a:ln>
                <a:solidFill>
                  <a:srgbClr val="0078D6"/>
                </a:solidFill>
                <a:effectLst/>
                <a:uLnTx/>
                <a:uFillTx/>
                <a:latin typeface="Segoe UI" charset="0"/>
                <a:ea typeface="Segoe UI" charset="0"/>
                <a:cs typeface="Segoe UI" charset="0"/>
              </a:rPr>
              <a:t>ptimized</a:t>
            </a: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 Databricks Runtime Engine</a:t>
            </a:r>
          </a:p>
        </p:txBody>
      </p:sp>
      <p:sp>
        <p:nvSpPr>
          <p:cNvPr id="663" name="Rectangle 662">
            <a:extLst>
              <a:ext uri="{FF2B5EF4-FFF2-40B4-BE49-F238E27FC236}">
                <a16:creationId xmlns:a16="http://schemas.microsoft.com/office/drawing/2014/main" id="{4106DE2A-0AB7-43B6-A869-E66C5C3CD8C6}"/>
              </a:ext>
            </a:extLst>
          </p:cNvPr>
          <p:cNvSpPr/>
          <p:nvPr/>
        </p:nvSpPr>
        <p:spPr>
          <a:xfrm>
            <a:off x="3233441" y="5602533"/>
            <a:ext cx="1269795"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BRICKS I/O</a:t>
            </a:r>
          </a:p>
        </p:txBody>
      </p:sp>
      <p:sp>
        <p:nvSpPr>
          <p:cNvPr id="665" name="Rectangle 664">
            <a:extLst>
              <a:ext uri="{FF2B5EF4-FFF2-40B4-BE49-F238E27FC236}">
                <a16:creationId xmlns:a16="http://schemas.microsoft.com/office/drawing/2014/main" id="{4106DE2A-0AB7-43B6-A869-E66C5C3CD8C6}"/>
              </a:ext>
            </a:extLst>
          </p:cNvPr>
          <p:cNvSpPr/>
          <p:nvPr/>
        </p:nvSpPr>
        <p:spPr>
          <a:xfrm>
            <a:off x="6460938" y="5601462"/>
            <a:ext cx="1269795"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SERVERLESS</a:t>
            </a:r>
          </a:p>
        </p:txBody>
      </p:sp>
      <p:sp>
        <p:nvSpPr>
          <p:cNvPr id="576" name="Freeform 2"/>
          <p:cNvSpPr>
            <a:spLocks noChangeArrowheads="1"/>
          </p:cNvSpPr>
          <p:nvPr/>
        </p:nvSpPr>
        <p:spPr bwMode="auto">
          <a:xfrm>
            <a:off x="2894765" y="3164173"/>
            <a:ext cx="6476412" cy="1406291"/>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9" name="Rectangle 658">
            <a:extLst>
              <a:ext uri="{FF2B5EF4-FFF2-40B4-BE49-F238E27FC236}">
                <a16:creationId xmlns:a16="http://schemas.microsoft.com/office/drawing/2014/main" id="{4106DE2A-0AB7-43B6-A869-E66C5C3CD8C6}"/>
              </a:ext>
            </a:extLst>
          </p:cNvPr>
          <p:cNvSpPr/>
          <p:nvPr/>
        </p:nvSpPr>
        <p:spPr>
          <a:xfrm>
            <a:off x="2974223" y="1765820"/>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649" name="TextBox 648"/>
          <p:cNvSpPr txBox="1"/>
          <p:nvPr/>
        </p:nvSpPr>
        <p:spPr>
          <a:xfrm>
            <a:off x="585864" y="3530942"/>
            <a:ext cx="1410450"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Cloud storage</a:t>
            </a:r>
          </a:p>
        </p:txBody>
      </p:sp>
      <p:sp>
        <p:nvSpPr>
          <p:cNvPr id="652" name="TextBox 651"/>
          <p:cNvSpPr txBox="1"/>
          <p:nvPr/>
        </p:nvSpPr>
        <p:spPr>
          <a:xfrm>
            <a:off x="383503" y="4497922"/>
            <a:ext cx="1815172"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sp>
        <p:nvSpPr>
          <p:cNvPr id="655" name="TextBox 654"/>
          <p:cNvSpPr txBox="1"/>
          <p:nvPr/>
        </p:nvSpPr>
        <p:spPr>
          <a:xfrm>
            <a:off x="429536" y="5501767"/>
            <a:ext cx="1723105"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Hadoop storage</a:t>
            </a:r>
          </a:p>
        </p:txBody>
      </p:sp>
      <p:sp>
        <p:nvSpPr>
          <p:cNvPr id="657" name="TextBox 656"/>
          <p:cNvSpPr txBox="1"/>
          <p:nvPr/>
        </p:nvSpPr>
        <p:spPr>
          <a:xfrm>
            <a:off x="383503" y="2534299"/>
            <a:ext cx="1815172"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IoT / streaming data</a:t>
            </a:r>
          </a:p>
        </p:txBody>
      </p:sp>
      <p:sp>
        <p:nvSpPr>
          <p:cNvPr id="735" name="Rectangle 734">
            <a:extLst>
              <a:ext uri="{FF2B5EF4-FFF2-40B4-BE49-F238E27FC236}">
                <a16:creationId xmlns:a16="http://schemas.microsoft.com/office/drawing/2014/main" id="{4106DE2A-0AB7-43B6-A869-E66C5C3CD8C6}"/>
              </a:ext>
            </a:extLst>
          </p:cNvPr>
          <p:cNvSpPr/>
          <p:nvPr/>
        </p:nvSpPr>
        <p:spPr>
          <a:xfrm>
            <a:off x="8011111" y="5593398"/>
            <a:ext cx="1240408"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Rest APIs</a:t>
            </a:r>
          </a:p>
        </p:txBody>
      </p:sp>
      <p:sp>
        <p:nvSpPr>
          <p:cNvPr id="701" name="TextBox 700"/>
          <p:cNvSpPr txBox="1"/>
          <p:nvPr/>
        </p:nvSpPr>
        <p:spPr>
          <a:xfrm>
            <a:off x="10097683" y="2407500"/>
            <a:ext cx="2001572" cy="254262"/>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achine learning models</a:t>
            </a:r>
          </a:p>
        </p:txBody>
      </p:sp>
      <p:sp>
        <p:nvSpPr>
          <p:cNvPr id="699" name="TextBox 698"/>
          <p:cNvSpPr txBox="1"/>
          <p:nvPr/>
        </p:nvSpPr>
        <p:spPr>
          <a:xfrm>
            <a:off x="10511984" y="3455412"/>
            <a:ext cx="1212268" cy="254262"/>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I tools</a:t>
            </a:r>
          </a:p>
        </p:txBody>
      </p:sp>
      <p:sp>
        <p:nvSpPr>
          <p:cNvPr id="700" name="TextBox 699"/>
          <p:cNvSpPr txBox="1"/>
          <p:nvPr/>
        </p:nvSpPr>
        <p:spPr>
          <a:xfrm>
            <a:off x="10417364" y="4693857"/>
            <a:ext cx="1380195" cy="254262"/>
          </a:xfrm>
          <a:prstGeom prst="rect">
            <a:avLst/>
          </a:prstGeom>
          <a:noFill/>
        </p:spPr>
        <p:txBody>
          <a:bodyPr wrap="square" rtlCol="0">
            <a:spAutoFit/>
          </a:bodyPr>
          <a:lstStyle>
            <a:defPPr>
              <a:defRPr lang="en-US"/>
            </a:defPPr>
            <a:lvl1pPr algn="ctr">
              <a:spcAft>
                <a:spcPts val="1600"/>
              </a:spcAft>
              <a:defRPr sz="1200" b="1">
                <a:latin typeface="Source Sans Pro Semibold" charset="0"/>
                <a:ea typeface="Source Sans Pro Semibold" charset="0"/>
                <a:cs typeface="Source Sans Pro Semibold" charset="0"/>
              </a:defRPr>
            </a:lvl1p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xports</a:t>
            </a:r>
          </a:p>
        </p:txBody>
      </p:sp>
      <p:grpSp>
        <p:nvGrpSpPr>
          <p:cNvPr id="704" name="Group 703"/>
          <p:cNvGrpSpPr/>
          <p:nvPr/>
        </p:nvGrpSpPr>
        <p:grpSpPr>
          <a:xfrm>
            <a:off x="10847344" y="1911798"/>
            <a:ext cx="502251" cy="467240"/>
            <a:chOff x="4214813" y="1292225"/>
            <a:chExt cx="2573337" cy="2393950"/>
          </a:xfrm>
          <a:solidFill>
            <a:schemeClr val="accent1"/>
          </a:solidFill>
        </p:grpSpPr>
        <p:sp>
          <p:nvSpPr>
            <p:cNvPr id="705" name="Freeform 1"/>
            <p:cNvSpPr>
              <a:spLocks noChangeArrowheads="1"/>
            </p:cNvSpPr>
            <p:nvPr/>
          </p:nvSpPr>
          <p:spPr bwMode="auto">
            <a:xfrm>
              <a:off x="4214813" y="2047875"/>
              <a:ext cx="309562" cy="641350"/>
            </a:xfrm>
            <a:custGeom>
              <a:avLst/>
              <a:gdLst>
                <a:gd name="T0" fmla="*/ 647 w 861"/>
                <a:gd name="T1" fmla="*/ 1374 h 1783"/>
                <a:gd name="T2" fmla="*/ 645 w 861"/>
                <a:gd name="T3" fmla="*/ 1374 h 1783"/>
                <a:gd name="T4" fmla="*/ 649 w 861"/>
                <a:gd name="T5" fmla="*/ 1374 h 1783"/>
                <a:gd name="T6" fmla="*/ 647 w 861"/>
                <a:gd name="T7" fmla="*/ 1374 h 1783"/>
                <a:gd name="T8" fmla="*/ 593 w 861"/>
                <a:gd name="T9" fmla="*/ 1384 h 1783"/>
                <a:gd name="T10" fmla="*/ 307 w 861"/>
                <a:gd name="T11" fmla="*/ 1112 h 1783"/>
                <a:gd name="T12" fmla="*/ 307 w 861"/>
                <a:gd name="T13" fmla="*/ 393 h 1783"/>
                <a:gd name="T14" fmla="*/ 394 w 861"/>
                <a:gd name="T15" fmla="*/ 133 h 1783"/>
                <a:gd name="T16" fmla="*/ 134 w 861"/>
                <a:gd name="T17" fmla="*/ 47 h 1783"/>
                <a:gd name="T18" fmla="*/ 48 w 861"/>
                <a:gd name="T19" fmla="*/ 307 h 1783"/>
                <a:gd name="T20" fmla="*/ 134 w 861"/>
                <a:gd name="T21" fmla="*/ 393 h 1783"/>
                <a:gd name="T22" fmla="*/ 134 w 861"/>
                <a:gd name="T23" fmla="*/ 1185 h 1783"/>
                <a:gd name="T24" fmla="*/ 464 w 861"/>
                <a:gd name="T25" fmla="*/ 1503 h 1783"/>
                <a:gd name="T26" fmla="*/ 582 w 861"/>
                <a:gd name="T27" fmla="*/ 1748 h 1783"/>
                <a:gd name="T28" fmla="*/ 826 w 861"/>
                <a:gd name="T29" fmla="*/ 1631 h 1783"/>
                <a:gd name="T30" fmla="*/ 708 w 861"/>
                <a:gd name="T31" fmla="*/ 1386 h 1783"/>
                <a:gd name="T32" fmla="*/ 647 w 861"/>
                <a:gd name="T33" fmla="*/ 1374 h 1783"/>
                <a:gd name="T34" fmla="*/ 593 w 861"/>
                <a:gd name="T35" fmla="*/ 1384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1" h="1783">
                  <a:moveTo>
                    <a:pt x="647" y="1374"/>
                  </a:moveTo>
                  <a:cubicBezTo>
                    <a:pt x="646" y="1374"/>
                    <a:pt x="646" y="1374"/>
                    <a:pt x="645" y="1374"/>
                  </a:cubicBezTo>
                  <a:lnTo>
                    <a:pt x="649" y="1374"/>
                  </a:lnTo>
                  <a:cubicBezTo>
                    <a:pt x="648" y="1374"/>
                    <a:pt x="648" y="1374"/>
                    <a:pt x="647" y="1374"/>
                  </a:cubicBezTo>
                  <a:close/>
                  <a:moveTo>
                    <a:pt x="593" y="1384"/>
                  </a:moveTo>
                  <a:lnTo>
                    <a:pt x="307" y="1112"/>
                  </a:lnTo>
                  <a:lnTo>
                    <a:pt x="307" y="393"/>
                  </a:lnTo>
                  <a:cubicBezTo>
                    <a:pt x="402" y="346"/>
                    <a:pt x="441" y="230"/>
                    <a:pt x="394" y="133"/>
                  </a:cubicBezTo>
                  <a:cubicBezTo>
                    <a:pt x="347" y="39"/>
                    <a:pt x="231" y="0"/>
                    <a:pt x="134" y="47"/>
                  </a:cubicBezTo>
                  <a:cubicBezTo>
                    <a:pt x="40" y="94"/>
                    <a:pt x="0" y="210"/>
                    <a:pt x="48" y="307"/>
                  </a:cubicBezTo>
                  <a:cubicBezTo>
                    <a:pt x="66" y="344"/>
                    <a:pt x="97" y="373"/>
                    <a:pt x="134" y="393"/>
                  </a:cubicBezTo>
                  <a:lnTo>
                    <a:pt x="134" y="1185"/>
                  </a:lnTo>
                  <a:lnTo>
                    <a:pt x="464" y="1503"/>
                  </a:lnTo>
                  <a:cubicBezTo>
                    <a:pt x="430" y="1603"/>
                    <a:pt x="482" y="1713"/>
                    <a:pt x="582" y="1748"/>
                  </a:cubicBezTo>
                  <a:cubicBezTo>
                    <a:pt x="681" y="1782"/>
                    <a:pt x="791" y="1730"/>
                    <a:pt x="826" y="1631"/>
                  </a:cubicBezTo>
                  <a:cubicBezTo>
                    <a:pt x="860" y="1531"/>
                    <a:pt x="808" y="1420"/>
                    <a:pt x="708" y="1386"/>
                  </a:cubicBezTo>
                  <a:cubicBezTo>
                    <a:pt x="687" y="1380"/>
                    <a:pt x="668" y="1375"/>
                    <a:pt x="647" y="1374"/>
                  </a:cubicBezTo>
                  <a:cubicBezTo>
                    <a:pt x="628" y="1375"/>
                    <a:pt x="611" y="1378"/>
                    <a:pt x="593" y="1384"/>
                  </a:cubicBezTo>
                  <a:close/>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6" name="Freeform 2"/>
            <p:cNvSpPr>
              <a:spLocks noChangeArrowheads="1"/>
            </p:cNvSpPr>
            <p:nvPr/>
          </p:nvSpPr>
          <p:spPr bwMode="auto">
            <a:xfrm>
              <a:off x="4376738" y="1898650"/>
              <a:ext cx="1389062" cy="1787525"/>
            </a:xfrm>
            <a:custGeom>
              <a:avLst/>
              <a:gdLst>
                <a:gd name="T0" fmla="*/ 3733 w 3857"/>
                <a:gd name="T1" fmla="*/ 4576 h 4964"/>
                <a:gd name="T2" fmla="*/ 3733 w 3857"/>
                <a:gd name="T3" fmla="*/ 2003 h 4964"/>
                <a:gd name="T4" fmla="*/ 3079 w 3857"/>
                <a:gd name="T5" fmla="*/ 1389 h 4964"/>
                <a:gd name="T6" fmla="*/ 1573 w 3857"/>
                <a:gd name="T7" fmla="*/ 1389 h 4964"/>
                <a:gd name="T8" fmla="*/ 373 w 3857"/>
                <a:gd name="T9" fmla="*/ 255 h 4964"/>
                <a:gd name="T10" fmla="*/ 384 w 3857"/>
                <a:gd name="T11" fmla="*/ 192 h 4964"/>
                <a:gd name="T12" fmla="*/ 192 w 3857"/>
                <a:gd name="T13" fmla="*/ 0 h 4964"/>
                <a:gd name="T14" fmla="*/ 0 w 3857"/>
                <a:gd name="T15" fmla="*/ 192 h 4964"/>
                <a:gd name="T16" fmla="*/ 192 w 3857"/>
                <a:gd name="T17" fmla="*/ 385 h 4964"/>
                <a:gd name="T18" fmla="*/ 192 w 3857"/>
                <a:gd name="T19" fmla="*/ 385 h 4964"/>
                <a:gd name="T20" fmla="*/ 250 w 3857"/>
                <a:gd name="T21" fmla="*/ 375 h 4964"/>
                <a:gd name="T22" fmla="*/ 1506 w 3857"/>
                <a:gd name="T23" fmla="*/ 1563 h 4964"/>
                <a:gd name="T24" fmla="*/ 3012 w 3857"/>
                <a:gd name="T25" fmla="*/ 1563 h 4964"/>
                <a:gd name="T26" fmla="*/ 3562 w 3857"/>
                <a:gd name="T27" fmla="*/ 2082 h 4964"/>
                <a:gd name="T28" fmla="*/ 3562 w 3857"/>
                <a:gd name="T29" fmla="*/ 4563 h 4964"/>
                <a:gd name="T30" fmla="*/ 3456 w 3857"/>
                <a:gd name="T31" fmla="*/ 4816 h 4964"/>
                <a:gd name="T32" fmla="*/ 3709 w 3857"/>
                <a:gd name="T33" fmla="*/ 4922 h 4964"/>
                <a:gd name="T34" fmla="*/ 3815 w 3857"/>
                <a:gd name="T35" fmla="*/ 4669 h 4964"/>
                <a:gd name="T36" fmla="*/ 3735 w 3857"/>
                <a:gd name="T37" fmla="*/ 4576 h 4964"/>
                <a:gd name="T38" fmla="*/ 3733 w 3857"/>
                <a:gd name="T39" fmla="*/ 4576 h 4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7" h="4964">
                  <a:moveTo>
                    <a:pt x="3733" y="4576"/>
                  </a:moveTo>
                  <a:lnTo>
                    <a:pt x="3733" y="2003"/>
                  </a:lnTo>
                  <a:lnTo>
                    <a:pt x="3079" y="1389"/>
                  </a:lnTo>
                  <a:lnTo>
                    <a:pt x="1573" y="1389"/>
                  </a:lnTo>
                  <a:lnTo>
                    <a:pt x="373" y="255"/>
                  </a:lnTo>
                  <a:cubicBezTo>
                    <a:pt x="379" y="235"/>
                    <a:pt x="384" y="214"/>
                    <a:pt x="384" y="192"/>
                  </a:cubicBezTo>
                  <a:cubicBezTo>
                    <a:pt x="384" y="86"/>
                    <a:pt x="298" y="0"/>
                    <a:pt x="192" y="0"/>
                  </a:cubicBezTo>
                  <a:cubicBezTo>
                    <a:pt x="85" y="0"/>
                    <a:pt x="0" y="85"/>
                    <a:pt x="0" y="192"/>
                  </a:cubicBezTo>
                  <a:cubicBezTo>
                    <a:pt x="0" y="298"/>
                    <a:pt x="86" y="385"/>
                    <a:pt x="192" y="385"/>
                  </a:cubicBezTo>
                  <a:lnTo>
                    <a:pt x="192" y="385"/>
                  </a:lnTo>
                  <a:cubicBezTo>
                    <a:pt x="212" y="385"/>
                    <a:pt x="231" y="382"/>
                    <a:pt x="250" y="375"/>
                  </a:cubicBezTo>
                  <a:lnTo>
                    <a:pt x="1506" y="1563"/>
                  </a:lnTo>
                  <a:lnTo>
                    <a:pt x="3012" y="1563"/>
                  </a:lnTo>
                  <a:lnTo>
                    <a:pt x="3562" y="2082"/>
                  </a:lnTo>
                  <a:lnTo>
                    <a:pt x="3562" y="4563"/>
                  </a:lnTo>
                  <a:cubicBezTo>
                    <a:pt x="3462" y="4604"/>
                    <a:pt x="3415" y="4716"/>
                    <a:pt x="3456" y="4816"/>
                  </a:cubicBezTo>
                  <a:cubicBezTo>
                    <a:pt x="3497" y="4916"/>
                    <a:pt x="3609" y="4963"/>
                    <a:pt x="3709" y="4922"/>
                  </a:cubicBezTo>
                  <a:cubicBezTo>
                    <a:pt x="3809" y="4881"/>
                    <a:pt x="3856" y="4769"/>
                    <a:pt x="3815" y="4669"/>
                  </a:cubicBezTo>
                  <a:cubicBezTo>
                    <a:pt x="3799" y="4630"/>
                    <a:pt x="3771" y="4597"/>
                    <a:pt x="3735" y="4576"/>
                  </a:cubicBezTo>
                  <a:lnTo>
                    <a:pt x="3733" y="4576"/>
                  </a:lnTo>
                </a:path>
              </a:pathLst>
            </a:custGeom>
            <a:solidFill>
              <a:schemeClr val="accent1"/>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7" name="Freeform 3"/>
            <p:cNvSpPr>
              <a:spLocks noChangeArrowheads="1"/>
            </p:cNvSpPr>
            <p:nvPr/>
          </p:nvSpPr>
          <p:spPr bwMode="auto">
            <a:xfrm>
              <a:off x="4433888" y="2249488"/>
              <a:ext cx="976312" cy="457200"/>
            </a:xfrm>
            <a:custGeom>
              <a:avLst/>
              <a:gdLst>
                <a:gd name="T0" fmla="*/ 2494 w 2714"/>
                <a:gd name="T1" fmla="*/ 854 h 1268"/>
                <a:gd name="T2" fmla="*/ 2321 w 2714"/>
                <a:gd name="T3" fmla="*/ 960 h 1268"/>
                <a:gd name="T4" fmla="*/ 1100 w 2714"/>
                <a:gd name="T5" fmla="*/ 960 h 1268"/>
                <a:gd name="T6" fmla="*/ 401 w 2714"/>
                <a:gd name="T7" fmla="*/ 302 h 1268"/>
                <a:gd name="T8" fmla="*/ 301 w 2714"/>
                <a:gd name="T9" fmla="*/ 44 h 1268"/>
                <a:gd name="T10" fmla="*/ 44 w 2714"/>
                <a:gd name="T11" fmla="*/ 143 h 1268"/>
                <a:gd name="T12" fmla="*/ 143 w 2714"/>
                <a:gd name="T13" fmla="*/ 401 h 1268"/>
                <a:gd name="T14" fmla="*/ 265 w 2714"/>
                <a:gd name="T15" fmla="*/ 413 h 1268"/>
                <a:gd name="T16" fmla="*/ 1030 w 2714"/>
                <a:gd name="T17" fmla="*/ 1135 h 1268"/>
                <a:gd name="T18" fmla="*/ 2323 w 2714"/>
                <a:gd name="T19" fmla="*/ 1135 h 1268"/>
                <a:gd name="T20" fmla="*/ 2581 w 2714"/>
                <a:gd name="T21" fmla="*/ 1218 h 1268"/>
                <a:gd name="T22" fmla="*/ 2664 w 2714"/>
                <a:gd name="T23" fmla="*/ 960 h 1268"/>
                <a:gd name="T24" fmla="*/ 2494 w 2714"/>
                <a:gd name="T25" fmla="*/ 855 h 1268"/>
                <a:gd name="T26" fmla="*/ 2494 w 2714"/>
                <a:gd name="T27" fmla="*/ 85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4" h="1268">
                  <a:moveTo>
                    <a:pt x="2494" y="854"/>
                  </a:moveTo>
                  <a:cubicBezTo>
                    <a:pt x="2421" y="854"/>
                    <a:pt x="2354" y="895"/>
                    <a:pt x="2321" y="960"/>
                  </a:cubicBezTo>
                  <a:lnTo>
                    <a:pt x="1100" y="960"/>
                  </a:lnTo>
                  <a:lnTo>
                    <a:pt x="401" y="302"/>
                  </a:lnTo>
                  <a:cubicBezTo>
                    <a:pt x="445" y="204"/>
                    <a:pt x="401" y="88"/>
                    <a:pt x="301" y="44"/>
                  </a:cubicBezTo>
                  <a:cubicBezTo>
                    <a:pt x="202" y="0"/>
                    <a:pt x="87" y="43"/>
                    <a:pt x="44" y="143"/>
                  </a:cubicBezTo>
                  <a:cubicBezTo>
                    <a:pt x="0" y="242"/>
                    <a:pt x="44" y="357"/>
                    <a:pt x="143" y="401"/>
                  </a:cubicBezTo>
                  <a:cubicBezTo>
                    <a:pt x="180" y="418"/>
                    <a:pt x="225" y="423"/>
                    <a:pt x="265" y="413"/>
                  </a:cubicBezTo>
                  <a:lnTo>
                    <a:pt x="1030" y="1135"/>
                  </a:lnTo>
                  <a:lnTo>
                    <a:pt x="2323" y="1135"/>
                  </a:lnTo>
                  <a:cubicBezTo>
                    <a:pt x="2372" y="1229"/>
                    <a:pt x="2488" y="1267"/>
                    <a:pt x="2581" y="1218"/>
                  </a:cubicBezTo>
                  <a:cubicBezTo>
                    <a:pt x="2676" y="1169"/>
                    <a:pt x="2713" y="1053"/>
                    <a:pt x="2664" y="960"/>
                  </a:cubicBezTo>
                  <a:cubicBezTo>
                    <a:pt x="2632" y="896"/>
                    <a:pt x="2566" y="855"/>
                    <a:pt x="2494" y="855"/>
                  </a:cubicBezTo>
                  <a:lnTo>
                    <a:pt x="2494" y="854"/>
                  </a:lnTo>
                </a:path>
              </a:pathLst>
            </a:custGeom>
            <a:solidFill>
              <a:schemeClr val="accent4"/>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8" name="Freeform 4"/>
            <p:cNvSpPr>
              <a:spLocks noChangeArrowheads="1"/>
            </p:cNvSpPr>
            <p:nvPr/>
          </p:nvSpPr>
          <p:spPr bwMode="auto">
            <a:xfrm>
              <a:off x="4621213" y="1631950"/>
              <a:ext cx="465137" cy="693738"/>
            </a:xfrm>
            <a:custGeom>
              <a:avLst/>
              <a:gdLst>
                <a:gd name="T0" fmla="*/ 190 w 1291"/>
                <a:gd name="T1" fmla="*/ 384 h 1925"/>
                <a:gd name="T2" fmla="*/ 248 w 1291"/>
                <a:gd name="T3" fmla="*/ 374 h 1925"/>
                <a:gd name="T4" fmla="*/ 469 w 1291"/>
                <a:gd name="T5" fmla="*/ 582 h 1925"/>
                <a:gd name="T6" fmla="*/ 469 w 1291"/>
                <a:gd name="T7" fmla="*/ 1246 h 1925"/>
                <a:gd name="T8" fmla="*/ 882 w 1291"/>
                <a:gd name="T9" fmla="*/ 1640 h 1925"/>
                <a:gd name="T10" fmla="*/ 892 w 1291"/>
                <a:gd name="T11" fmla="*/ 1630 h 1925"/>
                <a:gd name="T12" fmla="*/ 996 w 1291"/>
                <a:gd name="T13" fmla="*/ 1883 h 1925"/>
                <a:gd name="T14" fmla="*/ 1249 w 1291"/>
                <a:gd name="T15" fmla="*/ 1779 h 1925"/>
                <a:gd name="T16" fmla="*/ 1145 w 1291"/>
                <a:gd name="T17" fmla="*/ 1526 h 1925"/>
                <a:gd name="T18" fmla="*/ 993 w 1291"/>
                <a:gd name="T19" fmla="*/ 1527 h 1925"/>
                <a:gd name="T20" fmla="*/ 1003 w 1291"/>
                <a:gd name="T21" fmla="*/ 1517 h 1925"/>
                <a:gd name="T22" fmla="*/ 643 w 1291"/>
                <a:gd name="T23" fmla="*/ 1171 h 1925"/>
                <a:gd name="T24" fmla="*/ 643 w 1291"/>
                <a:gd name="T25" fmla="*/ 508 h 1925"/>
                <a:gd name="T26" fmla="*/ 374 w 1291"/>
                <a:gd name="T27" fmla="*/ 255 h 1925"/>
                <a:gd name="T28" fmla="*/ 385 w 1291"/>
                <a:gd name="T29" fmla="*/ 193 h 1925"/>
                <a:gd name="T30" fmla="*/ 193 w 1291"/>
                <a:gd name="T31" fmla="*/ 0 h 1925"/>
                <a:gd name="T32" fmla="*/ 0 w 1291"/>
                <a:gd name="T33" fmla="*/ 193 h 1925"/>
                <a:gd name="T34" fmla="*/ 190 w 1291"/>
                <a:gd name="T35" fmla="*/ 386 h 1925"/>
                <a:gd name="T36" fmla="*/ 190 w 1291"/>
                <a:gd name="T37" fmla="*/ 384 h 1925"/>
                <a:gd name="T38" fmla="*/ 193 w 1291"/>
                <a:gd name="T39" fmla="*/ 386 h 1925"/>
                <a:gd name="T40" fmla="*/ 190 w 1291"/>
                <a:gd name="T41" fmla="*/ 386 h 1925"/>
                <a:gd name="T42" fmla="*/ 190 w 1291"/>
                <a:gd name="T43" fmla="*/ 386 h 1925"/>
                <a:gd name="T44" fmla="*/ 193 w 1291"/>
                <a:gd name="T45" fmla="*/ 386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1" h="1925">
                  <a:moveTo>
                    <a:pt x="190" y="384"/>
                  </a:moveTo>
                  <a:cubicBezTo>
                    <a:pt x="209" y="384"/>
                    <a:pt x="229" y="381"/>
                    <a:pt x="248" y="374"/>
                  </a:cubicBezTo>
                  <a:lnTo>
                    <a:pt x="469" y="582"/>
                  </a:lnTo>
                  <a:lnTo>
                    <a:pt x="469" y="1246"/>
                  </a:lnTo>
                  <a:lnTo>
                    <a:pt x="882" y="1640"/>
                  </a:lnTo>
                  <a:lnTo>
                    <a:pt x="892" y="1630"/>
                  </a:lnTo>
                  <a:cubicBezTo>
                    <a:pt x="851" y="1730"/>
                    <a:pt x="897" y="1842"/>
                    <a:pt x="996" y="1883"/>
                  </a:cubicBezTo>
                  <a:cubicBezTo>
                    <a:pt x="1096" y="1924"/>
                    <a:pt x="1208" y="1878"/>
                    <a:pt x="1249" y="1779"/>
                  </a:cubicBezTo>
                  <a:cubicBezTo>
                    <a:pt x="1290" y="1679"/>
                    <a:pt x="1244" y="1566"/>
                    <a:pt x="1145" y="1526"/>
                  </a:cubicBezTo>
                  <a:cubicBezTo>
                    <a:pt x="1096" y="1506"/>
                    <a:pt x="1040" y="1506"/>
                    <a:pt x="993" y="1527"/>
                  </a:cubicBezTo>
                  <a:lnTo>
                    <a:pt x="1003" y="1517"/>
                  </a:lnTo>
                  <a:lnTo>
                    <a:pt x="643" y="1171"/>
                  </a:lnTo>
                  <a:lnTo>
                    <a:pt x="643" y="508"/>
                  </a:lnTo>
                  <a:lnTo>
                    <a:pt x="374" y="255"/>
                  </a:lnTo>
                  <a:cubicBezTo>
                    <a:pt x="381" y="236"/>
                    <a:pt x="385" y="214"/>
                    <a:pt x="385" y="193"/>
                  </a:cubicBezTo>
                  <a:cubicBezTo>
                    <a:pt x="385" y="87"/>
                    <a:pt x="299" y="0"/>
                    <a:pt x="193" y="0"/>
                  </a:cubicBezTo>
                  <a:cubicBezTo>
                    <a:pt x="87" y="0"/>
                    <a:pt x="0" y="87"/>
                    <a:pt x="0" y="193"/>
                  </a:cubicBezTo>
                  <a:cubicBezTo>
                    <a:pt x="0" y="298"/>
                    <a:pt x="85" y="384"/>
                    <a:pt x="190" y="386"/>
                  </a:cubicBezTo>
                  <a:lnTo>
                    <a:pt x="190" y="384"/>
                  </a:lnTo>
                  <a:close/>
                  <a:moveTo>
                    <a:pt x="193" y="386"/>
                  </a:moveTo>
                  <a:lnTo>
                    <a:pt x="190" y="386"/>
                  </a:lnTo>
                  <a:lnTo>
                    <a:pt x="190" y="386"/>
                  </a:lnTo>
                  <a:cubicBezTo>
                    <a:pt x="191" y="386"/>
                    <a:pt x="192" y="386"/>
                    <a:pt x="193" y="386"/>
                  </a:cubicBezTo>
                  <a:close/>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09" name="Freeform 5"/>
            <p:cNvSpPr>
              <a:spLocks noChangeArrowheads="1"/>
            </p:cNvSpPr>
            <p:nvPr/>
          </p:nvSpPr>
          <p:spPr bwMode="auto">
            <a:xfrm>
              <a:off x="5118100" y="1322388"/>
              <a:ext cx="325438" cy="330200"/>
            </a:xfrm>
            <a:custGeom>
              <a:avLst/>
              <a:gdLst>
                <a:gd name="T0" fmla="*/ 218 w 904"/>
                <a:gd name="T1" fmla="*/ 412 h 916"/>
                <a:gd name="T2" fmla="*/ 266 w 904"/>
                <a:gd name="T3" fmla="*/ 405 h 916"/>
                <a:gd name="T4" fmla="*/ 494 w 904"/>
                <a:gd name="T5" fmla="*/ 619 h 916"/>
                <a:gd name="T6" fmla="*/ 605 w 904"/>
                <a:gd name="T7" fmla="*/ 875 h 916"/>
                <a:gd name="T8" fmla="*/ 862 w 904"/>
                <a:gd name="T9" fmla="*/ 764 h 916"/>
                <a:gd name="T10" fmla="*/ 751 w 904"/>
                <a:gd name="T11" fmla="*/ 508 h 916"/>
                <a:gd name="T12" fmla="*/ 623 w 904"/>
                <a:gd name="T13" fmla="*/ 501 h 916"/>
                <a:gd name="T14" fmla="*/ 398 w 904"/>
                <a:gd name="T15" fmla="*/ 291 h 916"/>
                <a:gd name="T16" fmla="*/ 290 w 904"/>
                <a:gd name="T17" fmla="*/ 39 h 916"/>
                <a:gd name="T18" fmla="*/ 39 w 904"/>
                <a:gd name="T19" fmla="*/ 147 h 916"/>
                <a:gd name="T20" fmla="*/ 147 w 904"/>
                <a:gd name="T21" fmla="*/ 399 h 916"/>
                <a:gd name="T22" fmla="*/ 218 w 904"/>
                <a:gd name="T23" fmla="*/ 412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4" h="916">
                  <a:moveTo>
                    <a:pt x="218" y="412"/>
                  </a:moveTo>
                  <a:cubicBezTo>
                    <a:pt x="235" y="412"/>
                    <a:pt x="251" y="408"/>
                    <a:pt x="266" y="405"/>
                  </a:cubicBezTo>
                  <a:lnTo>
                    <a:pt x="494" y="619"/>
                  </a:lnTo>
                  <a:cubicBezTo>
                    <a:pt x="454" y="720"/>
                    <a:pt x="504" y="834"/>
                    <a:pt x="605" y="875"/>
                  </a:cubicBezTo>
                  <a:cubicBezTo>
                    <a:pt x="707" y="915"/>
                    <a:pt x="821" y="866"/>
                    <a:pt x="862" y="764"/>
                  </a:cubicBezTo>
                  <a:cubicBezTo>
                    <a:pt x="903" y="663"/>
                    <a:pt x="852" y="549"/>
                    <a:pt x="751" y="508"/>
                  </a:cubicBezTo>
                  <a:cubicBezTo>
                    <a:pt x="710" y="492"/>
                    <a:pt x="664" y="490"/>
                    <a:pt x="623" y="501"/>
                  </a:cubicBezTo>
                  <a:lnTo>
                    <a:pt x="398" y="291"/>
                  </a:lnTo>
                  <a:cubicBezTo>
                    <a:pt x="437" y="191"/>
                    <a:pt x="390" y="80"/>
                    <a:pt x="290" y="39"/>
                  </a:cubicBezTo>
                  <a:cubicBezTo>
                    <a:pt x="191" y="0"/>
                    <a:pt x="80" y="48"/>
                    <a:pt x="39" y="147"/>
                  </a:cubicBezTo>
                  <a:cubicBezTo>
                    <a:pt x="0" y="247"/>
                    <a:pt x="47" y="358"/>
                    <a:pt x="147" y="399"/>
                  </a:cubicBezTo>
                  <a:cubicBezTo>
                    <a:pt x="169" y="407"/>
                    <a:pt x="194" y="412"/>
                    <a:pt x="218" y="412"/>
                  </a:cubicBez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0" name="Freeform 6"/>
            <p:cNvSpPr>
              <a:spLocks noChangeArrowheads="1"/>
            </p:cNvSpPr>
            <p:nvPr/>
          </p:nvSpPr>
          <p:spPr bwMode="auto">
            <a:xfrm>
              <a:off x="5194300" y="1292225"/>
              <a:ext cx="577850" cy="565150"/>
            </a:xfrm>
            <a:custGeom>
              <a:avLst/>
              <a:gdLst>
                <a:gd name="T0" fmla="*/ 870 w 1603"/>
                <a:gd name="T1" fmla="*/ 404 h 1570"/>
                <a:gd name="T2" fmla="*/ 939 w 1603"/>
                <a:gd name="T3" fmla="*/ 391 h 1570"/>
                <a:gd name="T4" fmla="*/ 1344 w 1603"/>
                <a:gd name="T5" fmla="*/ 771 h 1570"/>
                <a:gd name="T6" fmla="*/ 797 w 1603"/>
                <a:gd name="T7" fmla="*/ 1262 h 1570"/>
                <a:gd name="T8" fmla="*/ 393 w 1603"/>
                <a:gd name="T9" fmla="*/ 1262 h 1570"/>
                <a:gd name="T10" fmla="*/ 134 w 1603"/>
                <a:gd name="T11" fmla="*/ 1176 h 1570"/>
                <a:gd name="T12" fmla="*/ 47 w 1603"/>
                <a:gd name="T13" fmla="*/ 1436 h 1570"/>
                <a:gd name="T14" fmla="*/ 307 w 1603"/>
                <a:gd name="T15" fmla="*/ 1522 h 1570"/>
                <a:gd name="T16" fmla="*/ 393 w 1603"/>
                <a:gd name="T17" fmla="*/ 1436 h 1570"/>
                <a:gd name="T18" fmla="*/ 865 w 1603"/>
                <a:gd name="T19" fmla="*/ 1436 h 1570"/>
                <a:gd name="T20" fmla="*/ 1602 w 1603"/>
                <a:gd name="T21" fmla="*/ 774 h 1570"/>
                <a:gd name="T22" fmla="*/ 1055 w 1603"/>
                <a:gd name="T23" fmla="*/ 263 h 1570"/>
                <a:gd name="T24" fmla="*/ 919 w 1603"/>
                <a:gd name="T25" fmla="*/ 28 h 1570"/>
                <a:gd name="T26" fmla="*/ 684 w 1603"/>
                <a:gd name="T27" fmla="*/ 164 h 1570"/>
                <a:gd name="T28" fmla="*/ 819 w 1603"/>
                <a:gd name="T29" fmla="*/ 399 h 1570"/>
                <a:gd name="T30" fmla="*/ 870 w 1603"/>
                <a:gd name="T31" fmla="*/ 40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3" h="1570">
                  <a:moveTo>
                    <a:pt x="870" y="404"/>
                  </a:moveTo>
                  <a:cubicBezTo>
                    <a:pt x="895" y="404"/>
                    <a:pt x="917" y="399"/>
                    <a:pt x="939" y="391"/>
                  </a:cubicBezTo>
                  <a:lnTo>
                    <a:pt x="1344" y="771"/>
                  </a:lnTo>
                  <a:lnTo>
                    <a:pt x="797" y="1262"/>
                  </a:lnTo>
                  <a:lnTo>
                    <a:pt x="393" y="1262"/>
                  </a:lnTo>
                  <a:cubicBezTo>
                    <a:pt x="346" y="1168"/>
                    <a:pt x="230" y="1129"/>
                    <a:pt x="134" y="1176"/>
                  </a:cubicBezTo>
                  <a:cubicBezTo>
                    <a:pt x="39" y="1223"/>
                    <a:pt x="0" y="1339"/>
                    <a:pt x="47" y="1436"/>
                  </a:cubicBezTo>
                  <a:cubicBezTo>
                    <a:pt x="94" y="1530"/>
                    <a:pt x="210" y="1569"/>
                    <a:pt x="307" y="1522"/>
                  </a:cubicBezTo>
                  <a:cubicBezTo>
                    <a:pt x="344" y="1504"/>
                    <a:pt x="374" y="1473"/>
                    <a:pt x="393" y="1436"/>
                  </a:cubicBezTo>
                  <a:lnTo>
                    <a:pt x="865" y="1436"/>
                  </a:lnTo>
                  <a:lnTo>
                    <a:pt x="1602" y="774"/>
                  </a:lnTo>
                  <a:lnTo>
                    <a:pt x="1055" y="263"/>
                  </a:lnTo>
                  <a:cubicBezTo>
                    <a:pt x="1082" y="160"/>
                    <a:pt x="1022" y="56"/>
                    <a:pt x="919" y="28"/>
                  </a:cubicBezTo>
                  <a:cubicBezTo>
                    <a:pt x="816" y="0"/>
                    <a:pt x="712" y="61"/>
                    <a:pt x="684" y="164"/>
                  </a:cubicBezTo>
                  <a:cubicBezTo>
                    <a:pt x="656" y="266"/>
                    <a:pt x="717" y="371"/>
                    <a:pt x="819" y="399"/>
                  </a:cubicBezTo>
                  <a:cubicBezTo>
                    <a:pt x="837" y="402"/>
                    <a:pt x="854" y="404"/>
                    <a:pt x="870" y="404"/>
                  </a:cubicBez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1" name="Freeform 7"/>
            <p:cNvSpPr>
              <a:spLocks noChangeArrowheads="1"/>
            </p:cNvSpPr>
            <p:nvPr/>
          </p:nvSpPr>
          <p:spPr bwMode="auto">
            <a:xfrm>
              <a:off x="5251450" y="1489075"/>
              <a:ext cx="728663" cy="593725"/>
            </a:xfrm>
            <a:custGeom>
              <a:avLst/>
              <a:gdLst>
                <a:gd name="T0" fmla="*/ 1708 w 2025"/>
                <a:gd name="T1" fmla="*/ 392 h 1651"/>
                <a:gd name="T2" fmla="*/ 1708 w 2025"/>
                <a:gd name="T3" fmla="*/ 652 h 1651"/>
                <a:gd name="T4" fmla="*/ 974 w 2025"/>
                <a:gd name="T5" fmla="*/ 1329 h 1651"/>
                <a:gd name="T6" fmla="*/ 959 w 2025"/>
                <a:gd name="T7" fmla="*/ 1343 h 1651"/>
                <a:gd name="T8" fmla="*/ 394 w 2025"/>
                <a:gd name="T9" fmla="*/ 1343 h 1651"/>
                <a:gd name="T10" fmla="*/ 134 w 2025"/>
                <a:gd name="T11" fmla="*/ 1256 h 1651"/>
                <a:gd name="T12" fmla="*/ 48 w 2025"/>
                <a:gd name="T13" fmla="*/ 1516 h 1651"/>
                <a:gd name="T14" fmla="*/ 307 w 2025"/>
                <a:gd name="T15" fmla="*/ 1602 h 1651"/>
                <a:gd name="T16" fmla="*/ 394 w 2025"/>
                <a:gd name="T17" fmla="*/ 1516 h 1651"/>
                <a:gd name="T18" fmla="*/ 1029 w 2025"/>
                <a:gd name="T19" fmla="*/ 1516 h 1651"/>
                <a:gd name="T20" fmla="*/ 1882 w 2025"/>
                <a:gd name="T21" fmla="*/ 724 h 1651"/>
                <a:gd name="T22" fmla="*/ 1882 w 2025"/>
                <a:gd name="T23" fmla="*/ 399 h 1651"/>
                <a:gd name="T24" fmla="*/ 1981 w 2025"/>
                <a:gd name="T25" fmla="*/ 142 h 1651"/>
                <a:gd name="T26" fmla="*/ 1725 w 2025"/>
                <a:gd name="T27" fmla="*/ 43 h 1651"/>
                <a:gd name="T28" fmla="*/ 1625 w 2025"/>
                <a:gd name="T29" fmla="*/ 299 h 1651"/>
                <a:gd name="T30" fmla="*/ 1708 w 2025"/>
                <a:gd name="T31" fmla="*/ 392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5" h="1651">
                  <a:moveTo>
                    <a:pt x="1708" y="392"/>
                  </a:moveTo>
                  <a:lnTo>
                    <a:pt x="1708" y="652"/>
                  </a:lnTo>
                  <a:lnTo>
                    <a:pt x="974" y="1329"/>
                  </a:lnTo>
                  <a:lnTo>
                    <a:pt x="959" y="1343"/>
                  </a:lnTo>
                  <a:lnTo>
                    <a:pt x="394" y="1343"/>
                  </a:lnTo>
                  <a:cubicBezTo>
                    <a:pt x="346" y="1248"/>
                    <a:pt x="231" y="1209"/>
                    <a:pt x="134" y="1256"/>
                  </a:cubicBezTo>
                  <a:cubicBezTo>
                    <a:pt x="39" y="1303"/>
                    <a:pt x="0" y="1419"/>
                    <a:pt x="48" y="1516"/>
                  </a:cubicBezTo>
                  <a:cubicBezTo>
                    <a:pt x="95" y="1610"/>
                    <a:pt x="211" y="1650"/>
                    <a:pt x="307" y="1602"/>
                  </a:cubicBezTo>
                  <a:cubicBezTo>
                    <a:pt x="345" y="1584"/>
                    <a:pt x="374" y="1553"/>
                    <a:pt x="394" y="1516"/>
                  </a:cubicBezTo>
                  <a:lnTo>
                    <a:pt x="1029" y="1516"/>
                  </a:lnTo>
                  <a:lnTo>
                    <a:pt x="1882" y="724"/>
                  </a:lnTo>
                  <a:lnTo>
                    <a:pt x="1882" y="399"/>
                  </a:lnTo>
                  <a:cubicBezTo>
                    <a:pt x="1979" y="356"/>
                    <a:pt x="2024" y="242"/>
                    <a:pt x="1981" y="142"/>
                  </a:cubicBezTo>
                  <a:cubicBezTo>
                    <a:pt x="1939" y="44"/>
                    <a:pt x="1824" y="0"/>
                    <a:pt x="1725" y="43"/>
                  </a:cubicBezTo>
                  <a:cubicBezTo>
                    <a:pt x="1627" y="85"/>
                    <a:pt x="1583" y="199"/>
                    <a:pt x="1625" y="299"/>
                  </a:cubicBezTo>
                  <a:cubicBezTo>
                    <a:pt x="1643" y="340"/>
                    <a:pt x="1672" y="371"/>
                    <a:pt x="1708" y="392"/>
                  </a:cubicBezTo>
                </a:path>
              </a:pathLst>
            </a:custGeom>
            <a:solidFill>
              <a:schemeClr val="accent4"/>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2" name="Freeform 8"/>
            <p:cNvSpPr>
              <a:spLocks noChangeArrowheads="1"/>
            </p:cNvSpPr>
            <p:nvPr/>
          </p:nvSpPr>
          <p:spPr bwMode="auto">
            <a:xfrm>
              <a:off x="5748338" y="1885950"/>
              <a:ext cx="200025" cy="439738"/>
            </a:xfrm>
            <a:custGeom>
              <a:avLst/>
              <a:gdLst>
                <a:gd name="T0" fmla="*/ 268 w 556"/>
                <a:gd name="T1" fmla="*/ 406 h 1220"/>
                <a:gd name="T2" fmla="*/ 519 w 556"/>
                <a:gd name="T3" fmla="*/ 287 h 1220"/>
                <a:gd name="T4" fmla="*/ 400 w 556"/>
                <a:gd name="T5" fmla="*/ 35 h 1220"/>
                <a:gd name="T6" fmla="*/ 149 w 556"/>
                <a:gd name="T7" fmla="*/ 155 h 1220"/>
                <a:gd name="T8" fmla="*/ 147 w 556"/>
                <a:gd name="T9" fmla="*/ 282 h 1220"/>
                <a:gd name="T10" fmla="*/ 0 w 556"/>
                <a:gd name="T11" fmla="*/ 421 h 1220"/>
                <a:gd name="T12" fmla="*/ 0 w 556"/>
                <a:gd name="T13" fmla="*/ 854 h 1220"/>
                <a:gd name="T14" fmla="*/ 141 w 556"/>
                <a:gd name="T15" fmla="*/ 981 h 1220"/>
                <a:gd name="T16" fmla="*/ 299 w 556"/>
                <a:gd name="T17" fmla="*/ 1201 h 1220"/>
                <a:gd name="T18" fmla="*/ 519 w 556"/>
                <a:gd name="T19" fmla="*/ 1043 h 1220"/>
                <a:gd name="T20" fmla="*/ 361 w 556"/>
                <a:gd name="T21" fmla="*/ 822 h 1220"/>
                <a:gd name="T22" fmla="*/ 330 w 556"/>
                <a:gd name="T23" fmla="*/ 819 h 1220"/>
                <a:gd name="T24" fmla="*/ 243 w 556"/>
                <a:gd name="T25" fmla="*/ 840 h 1220"/>
                <a:gd name="T26" fmla="*/ 173 w 556"/>
                <a:gd name="T27" fmla="*/ 774 h 1220"/>
                <a:gd name="T28" fmla="*/ 173 w 556"/>
                <a:gd name="T29" fmla="*/ 494 h 1220"/>
                <a:gd name="T30" fmla="*/ 268 w 556"/>
                <a:gd name="T31" fmla="*/ 406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220">
                  <a:moveTo>
                    <a:pt x="268" y="406"/>
                  </a:moveTo>
                  <a:cubicBezTo>
                    <a:pt x="371" y="442"/>
                    <a:pt x="482" y="388"/>
                    <a:pt x="519" y="287"/>
                  </a:cubicBezTo>
                  <a:cubicBezTo>
                    <a:pt x="555" y="184"/>
                    <a:pt x="502" y="73"/>
                    <a:pt x="400" y="35"/>
                  </a:cubicBezTo>
                  <a:cubicBezTo>
                    <a:pt x="297" y="0"/>
                    <a:pt x="186" y="53"/>
                    <a:pt x="149" y="155"/>
                  </a:cubicBezTo>
                  <a:cubicBezTo>
                    <a:pt x="134" y="195"/>
                    <a:pt x="134" y="240"/>
                    <a:pt x="147" y="282"/>
                  </a:cubicBezTo>
                  <a:lnTo>
                    <a:pt x="0" y="421"/>
                  </a:lnTo>
                  <a:lnTo>
                    <a:pt x="0" y="854"/>
                  </a:lnTo>
                  <a:lnTo>
                    <a:pt x="141" y="981"/>
                  </a:lnTo>
                  <a:cubicBezTo>
                    <a:pt x="123" y="1085"/>
                    <a:pt x="195" y="1185"/>
                    <a:pt x="299" y="1201"/>
                  </a:cubicBezTo>
                  <a:cubicBezTo>
                    <a:pt x="404" y="1219"/>
                    <a:pt x="503" y="1147"/>
                    <a:pt x="519" y="1043"/>
                  </a:cubicBezTo>
                  <a:cubicBezTo>
                    <a:pt x="537" y="938"/>
                    <a:pt x="466" y="839"/>
                    <a:pt x="361" y="822"/>
                  </a:cubicBezTo>
                  <a:cubicBezTo>
                    <a:pt x="351" y="821"/>
                    <a:pt x="340" y="819"/>
                    <a:pt x="330" y="819"/>
                  </a:cubicBezTo>
                  <a:cubicBezTo>
                    <a:pt x="301" y="819"/>
                    <a:pt x="270" y="826"/>
                    <a:pt x="243" y="840"/>
                  </a:cubicBezTo>
                  <a:lnTo>
                    <a:pt x="173" y="774"/>
                  </a:lnTo>
                  <a:lnTo>
                    <a:pt x="173" y="494"/>
                  </a:lnTo>
                  <a:lnTo>
                    <a:pt x="268" y="406"/>
                  </a:ln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3" name="Freeform 9"/>
            <p:cNvSpPr>
              <a:spLocks noChangeArrowheads="1"/>
            </p:cNvSpPr>
            <p:nvPr/>
          </p:nvSpPr>
          <p:spPr bwMode="auto">
            <a:xfrm>
              <a:off x="6275388" y="2271713"/>
              <a:ext cx="239712" cy="444500"/>
            </a:xfrm>
            <a:custGeom>
              <a:avLst/>
              <a:gdLst>
                <a:gd name="T0" fmla="*/ 454 w 664"/>
                <a:gd name="T1" fmla="*/ 0 h 1234"/>
                <a:gd name="T2" fmla="*/ 261 w 664"/>
                <a:gd name="T3" fmla="*/ 191 h 1234"/>
                <a:gd name="T4" fmla="*/ 276 w 664"/>
                <a:gd name="T5" fmla="*/ 265 h 1234"/>
                <a:gd name="T6" fmla="*/ 134 w 664"/>
                <a:gd name="T7" fmla="*/ 399 h 1234"/>
                <a:gd name="T8" fmla="*/ 134 w 664"/>
                <a:gd name="T9" fmla="*/ 839 h 1234"/>
                <a:gd name="T10" fmla="*/ 47 w 664"/>
                <a:gd name="T11" fmla="*/ 1099 h 1234"/>
                <a:gd name="T12" fmla="*/ 307 w 664"/>
                <a:gd name="T13" fmla="*/ 1186 h 1234"/>
                <a:gd name="T14" fmla="*/ 393 w 664"/>
                <a:gd name="T15" fmla="*/ 926 h 1234"/>
                <a:gd name="T16" fmla="*/ 307 w 664"/>
                <a:gd name="T17" fmla="*/ 839 h 1234"/>
                <a:gd name="T18" fmla="*/ 307 w 664"/>
                <a:gd name="T19" fmla="*/ 474 h 1234"/>
                <a:gd name="T20" fmla="*/ 406 w 664"/>
                <a:gd name="T21" fmla="*/ 381 h 1234"/>
                <a:gd name="T22" fmla="*/ 638 w 664"/>
                <a:gd name="T23" fmla="*/ 237 h 1234"/>
                <a:gd name="T24" fmla="*/ 495 w 664"/>
                <a:gd name="T25" fmla="*/ 5 h 1234"/>
                <a:gd name="T26" fmla="*/ 454 w 664"/>
                <a:gd name="T2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1234">
                  <a:moveTo>
                    <a:pt x="454" y="0"/>
                  </a:moveTo>
                  <a:cubicBezTo>
                    <a:pt x="348" y="0"/>
                    <a:pt x="261" y="85"/>
                    <a:pt x="261" y="191"/>
                  </a:cubicBezTo>
                  <a:cubicBezTo>
                    <a:pt x="261" y="216"/>
                    <a:pt x="266" y="240"/>
                    <a:pt x="276" y="265"/>
                  </a:cubicBezTo>
                  <a:lnTo>
                    <a:pt x="134" y="399"/>
                  </a:lnTo>
                  <a:lnTo>
                    <a:pt x="134" y="839"/>
                  </a:lnTo>
                  <a:cubicBezTo>
                    <a:pt x="39" y="887"/>
                    <a:pt x="0" y="1003"/>
                    <a:pt x="47" y="1099"/>
                  </a:cubicBezTo>
                  <a:cubicBezTo>
                    <a:pt x="94" y="1194"/>
                    <a:pt x="210" y="1233"/>
                    <a:pt x="307" y="1186"/>
                  </a:cubicBezTo>
                  <a:cubicBezTo>
                    <a:pt x="401" y="1138"/>
                    <a:pt x="441" y="1022"/>
                    <a:pt x="393" y="926"/>
                  </a:cubicBezTo>
                  <a:cubicBezTo>
                    <a:pt x="375" y="888"/>
                    <a:pt x="344" y="859"/>
                    <a:pt x="307" y="839"/>
                  </a:cubicBezTo>
                  <a:lnTo>
                    <a:pt x="307" y="474"/>
                  </a:lnTo>
                  <a:lnTo>
                    <a:pt x="406" y="381"/>
                  </a:lnTo>
                  <a:cubicBezTo>
                    <a:pt x="509" y="405"/>
                    <a:pt x="614" y="341"/>
                    <a:pt x="638" y="237"/>
                  </a:cubicBezTo>
                  <a:cubicBezTo>
                    <a:pt x="663" y="132"/>
                    <a:pt x="599" y="29"/>
                    <a:pt x="495" y="5"/>
                  </a:cubicBezTo>
                  <a:cubicBezTo>
                    <a:pt x="480" y="2"/>
                    <a:pt x="467" y="0"/>
                    <a:pt x="454" y="0"/>
                  </a:cubicBez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4" name="Freeform 10"/>
            <p:cNvSpPr>
              <a:spLocks noChangeArrowheads="1"/>
            </p:cNvSpPr>
            <p:nvPr/>
          </p:nvSpPr>
          <p:spPr bwMode="auto">
            <a:xfrm>
              <a:off x="4929188" y="1463675"/>
              <a:ext cx="998537" cy="1862138"/>
            </a:xfrm>
            <a:custGeom>
              <a:avLst/>
              <a:gdLst>
                <a:gd name="T0" fmla="*/ 2640 w 2773"/>
                <a:gd name="T1" fmla="*/ 2836 h 5172"/>
                <a:gd name="T2" fmla="*/ 1770 w 2773"/>
                <a:gd name="T3" fmla="*/ 2026 h 5172"/>
                <a:gd name="T4" fmla="*/ 997 w 2773"/>
                <a:gd name="T5" fmla="*/ 2026 h 5172"/>
                <a:gd name="T6" fmla="*/ 305 w 2773"/>
                <a:gd name="T7" fmla="*/ 1380 h 5172"/>
                <a:gd name="T8" fmla="*/ 305 w 2773"/>
                <a:gd name="T9" fmla="*/ 390 h 5172"/>
                <a:gd name="T10" fmla="*/ 390 w 2773"/>
                <a:gd name="T11" fmla="*/ 132 h 5172"/>
                <a:gd name="T12" fmla="*/ 132 w 2773"/>
                <a:gd name="T13" fmla="*/ 47 h 5172"/>
                <a:gd name="T14" fmla="*/ 47 w 2773"/>
                <a:gd name="T15" fmla="*/ 305 h 5172"/>
                <a:gd name="T16" fmla="*/ 132 w 2773"/>
                <a:gd name="T17" fmla="*/ 390 h 5172"/>
                <a:gd name="T18" fmla="*/ 132 w 2773"/>
                <a:gd name="T19" fmla="*/ 1453 h 5172"/>
                <a:gd name="T20" fmla="*/ 925 w 2773"/>
                <a:gd name="T21" fmla="*/ 2198 h 5172"/>
                <a:gd name="T22" fmla="*/ 1699 w 2773"/>
                <a:gd name="T23" fmla="*/ 2198 h 5172"/>
                <a:gd name="T24" fmla="*/ 2465 w 2773"/>
                <a:gd name="T25" fmla="*/ 2910 h 5172"/>
                <a:gd name="T26" fmla="*/ 2465 w 2773"/>
                <a:gd name="T27" fmla="*/ 4778 h 5172"/>
                <a:gd name="T28" fmla="*/ 2379 w 2773"/>
                <a:gd name="T29" fmla="*/ 5037 h 5172"/>
                <a:gd name="T30" fmla="*/ 2638 w 2773"/>
                <a:gd name="T31" fmla="*/ 5124 h 5172"/>
                <a:gd name="T32" fmla="*/ 2725 w 2773"/>
                <a:gd name="T33" fmla="*/ 4864 h 5172"/>
                <a:gd name="T34" fmla="*/ 2638 w 2773"/>
                <a:gd name="T35" fmla="*/ 4778 h 5172"/>
                <a:gd name="T36" fmla="*/ 2640 w 2773"/>
                <a:gd name="T37" fmla="*/ 4778 h 5172"/>
                <a:gd name="T38" fmla="*/ 2640 w 2773"/>
                <a:gd name="T39" fmla="*/ 2836 h 5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3" h="5172">
                  <a:moveTo>
                    <a:pt x="2640" y="2836"/>
                  </a:moveTo>
                  <a:lnTo>
                    <a:pt x="1770" y="2026"/>
                  </a:lnTo>
                  <a:lnTo>
                    <a:pt x="997" y="2026"/>
                  </a:lnTo>
                  <a:lnTo>
                    <a:pt x="305" y="1380"/>
                  </a:lnTo>
                  <a:lnTo>
                    <a:pt x="305" y="390"/>
                  </a:lnTo>
                  <a:cubicBezTo>
                    <a:pt x="400" y="343"/>
                    <a:pt x="437" y="227"/>
                    <a:pt x="390" y="132"/>
                  </a:cubicBezTo>
                  <a:cubicBezTo>
                    <a:pt x="342" y="37"/>
                    <a:pt x="227" y="0"/>
                    <a:pt x="132" y="47"/>
                  </a:cubicBezTo>
                  <a:cubicBezTo>
                    <a:pt x="38" y="94"/>
                    <a:pt x="0" y="210"/>
                    <a:pt x="47" y="305"/>
                  </a:cubicBezTo>
                  <a:cubicBezTo>
                    <a:pt x="65" y="341"/>
                    <a:pt x="96" y="372"/>
                    <a:pt x="132" y="390"/>
                  </a:cubicBezTo>
                  <a:lnTo>
                    <a:pt x="132" y="1453"/>
                  </a:lnTo>
                  <a:lnTo>
                    <a:pt x="925" y="2198"/>
                  </a:lnTo>
                  <a:lnTo>
                    <a:pt x="1699" y="2198"/>
                  </a:lnTo>
                  <a:lnTo>
                    <a:pt x="2465" y="2910"/>
                  </a:lnTo>
                  <a:lnTo>
                    <a:pt x="2465" y="4778"/>
                  </a:lnTo>
                  <a:cubicBezTo>
                    <a:pt x="2371" y="4825"/>
                    <a:pt x="2331" y="4941"/>
                    <a:pt x="2379" y="5037"/>
                  </a:cubicBezTo>
                  <a:cubicBezTo>
                    <a:pt x="2426" y="5132"/>
                    <a:pt x="2542" y="5171"/>
                    <a:pt x="2638" y="5124"/>
                  </a:cubicBezTo>
                  <a:cubicBezTo>
                    <a:pt x="2733" y="5077"/>
                    <a:pt x="2772" y="4961"/>
                    <a:pt x="2725" y="4864"/>
                  </a:cubicBezTo>
                  <a:cubicBezTo>
                    <a:pt x="2707" y="4827"/>
                    <a:pt x="2676" y="4797"/>
                    <a:pt x="2638" y="4778"/>
                  </a:cubicBezTo>
                  <a:lnTo>
                    <a:pt x="2640" y="4778"/>
                  </a:lnTo>
                  <a:lnTo>
                    <a:pt x="2640" y="2836"/>
                  </a:lnTo>
                </a:path>
              </a:pathLst>
            </a:custGeom>
            <a:solidFill>
              <a:schemeClr val="accent4"/>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5" name="Freeform 11"/>
            <p:cNvSpPr>
              <a:spLocks noChangeArrowheads="1"/>
            </p:cNvSpPr>
            <p:nvPr/>
          </p:nvSpPr>
          <p:spPr bwMode="auto">
            <a:xfrm>
              <a:off x="5930900" y="1577975"/>
              <a:ext cx="280988" cy="1128713"/>
            </a:xfrm>
            <a:custGeom>
              <a:avLst/>
              <a:gdLst>
                <a:gd name="T0" fmla="*/ 134 w 780"/>
                <a:gd name="T1" fmla="*/ 1308 h 3136"/>
                <a:gd name="T2" fmla="*/ 134 w 780"/>
                <a:gd name="T3" fmla="*/ 2742 h 3136"/>
                <a:gd name="T4" fmla="*/ 47 w 780"/>
                <a:gd name="T5" fmla="*/ 3002 h 3136"/>
                <a:gd name="T6" fmla="*/ 307 w 780"/>
                <a:gd name="T7" fmla="*/ 3088 h 3136"/>
                <a:gd name="T8" fmla="*/ 393 w 780"/>
                <a:gd name="T9" fmla="*/ 2828 h 3136"/>
                <a:gd name="T10" fmla="*/ 307 w 780"/>
                <a:gd name="T11" fmla="*/ 2742 h 3136"/>
                <a:gd name="T12" fmla="*/ 307 w 780"/>
                <a:gd name="T13" fmla="*/ 1385 h 3136"/>
                <a:gd name="T14" fmla="*/ 648 w 780"/>
                <a:gd name="T15" fmla="*/ 1062 h 3136"/>
                <a:gd name="T16" fmla="*/ 648 w 780"/>
                <a:gd name="T17" fmla="*/ 399 h 3136"/>
                <a:gd name="T18" fmla="*/ 627 w 780"/>
                <a:gd name="T19" fmla="*/ 399 h 3136"/>
                <a:gd name="T20" fmla="*/ 743 w 780"/>
                <a:gd name="T21" fmla="*/ 152 h 3136"/>
                <a:gd name="T22" fmla="*/ 496 w 780"/>
                <a:gd name="T23" fmla="*/ 36 h 3136"/>
                <a:gd name="T24" fmla="*/ 380 w 780"/>
                <a:gd name="T25" fmla="*/ 283 h 3136"/>
                <a:gd name="T26" fmla="*/ 496 w 780"/>
                <a:gd name="T27" fmla="*/ 399 h 3136"/>
                <a:gd name="T28" fmla="*/ 475 w 780"/>
                <a:gd name="T29" fmla="*/ 399 h 3136"/>
                <a:gd name="T30" fmla="*/ 475 w 780"/>
                <a:gd name="T31" fmla="*/ 988 h 3136"/>
                <a:gd name="T32" fmla="*/ 134 w 780"/>
                <a:gd name="T33" fmla="*/ 1308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3136">
                  <a:moveTo>
                    <a:pt x="134" y="1308"/>
                  </a:moveTo>
                  <a:lnTo>
                    <a:pt x="134" y="2742"/>
                  </a:lnTo>
                  <a:cubicBezTo>
                    <a:pt x="39" y="2789"/>
                    <a:pt x="0" y="2905"/>
                    <a:pt x="47" y="3002"/>
                  </a:cubicBezTo>
                  <a:cubicBezTo>
                    <a:pt x="94" y="3096"/>
                    <a:pt x="210" y="3135"/>
                    <a:pt x="307" y="3088"/>
                  </a:cubicBezTo>
                  <a:cubicBezTo>
                    <a:pt x="401" y="3041"/>
                    <a:pt x="441" y="2925"/>
                    <a:pt x="393" y="2828"/>
                  </a:cubicBezTo>
                  <a:cubicBezTo>
                    <a:pt x="375" y="2791"/>
                    <a:pt x="344" y="2762"/>
                    <a:pt x="307" y="2742"/>
                  </a:cubicBezTo>
                  <a:lnTo>
                    <a:pt x="307" y="1385"/>
                  </a:lnTo>
                  <a:lnTo>
                    <a:pt x="648" y="1062"/>
                  </a:lnTo>
                  <a:lnTo>
                    <a:pt x="648" y="399"/>
                  </a:lnTo>
                  <a:lnTo>
                    <a:pt x="627" y="399"/>
                  </a:lnTo>
                  <a:cubicBezTo>
                    <a:pt x="726" y="363"/>
                    <a:pt x="779" y="252"/>
                    <a:pt x="743" y="152"/>
                  </a:cubicBezTo>
                  <a:cubicBezTo>
                    <a:pt x="707" y="52"/>
                    <a:pt x="596" y="0"/>
                    <a:pt x="496" y="36"/>
                  </a:cubicBezTo>
                  <a:cubicBezTo>
                    <a:pt x="397" y="72"/>
                    <a:pt x="344" y="183"/>
                    <a:pt x="380" y="283"/>
                  </a:cubicBezTo>
                  <a:cubicBezTo>
                    <a:pt x="400" y="337"/>
                    <a:pt x="442" y="379"/>
                    <a:pt x="496" y="399"/>
                  </a:cubicBezTo>
                  <a:lnTo>
                    <a:pt x="475" y="399"/>
                  </a:lnTo>
                  <a:lnTo>
                    <a:pt x="475" y="988"/>
                  </a:lnTo>
                  <a:lnTo>
                    <a:pt x="134" y="1308"/>
                  </a:ln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6" name="Freeform 12"/>
            <p:cNvSpPr>
              <a:spLocks noChangeArrowheads="1"/>
            </p:cNvSpPr>
            <p:nvPr/>
          </p:nvSpPr>
          <p:spPr bwMode="auto">
            <a:xfrm>
              <a:off x="6515100" y="1920875"/>
              <a:ext cx="273050" cy="733425"/>
            </a:xfrm>
            <a:custGeom>
              <a:avLst/>
              <a:gdLst>
                <a:gd name="T0" fmla="*/ 754 w 757"/>
                <a:gd name="T1" fmla="*/ 193 h 2037"/>
                <a:gd name="T2" fmla="*/ 560 w 757"/>
                <a:gd name="T3" fmla="*/ 0 h 2037"/>
                <a:gd name="T4" fmla="*/ 367 w 757"/>
                <a:gd name="T5" fmla="*/ 194 h 2037"/>
                <a:gd name="T6" fmla="*/ 473 w 757"/>
                <a:gd name="T7" fmla="*/ 366 h 2037"/>
                <a:gd name="T8" fmla="*/ 473 w 757"/>
                <a:gd name="T9" fmla="*/ 1030 h 2037"/>
                <a:gd name="T10" fmla="*/ 132 w 757"/>
                <a:gd name="T11" fmla="*/ 1350 h 2037"/>
                <a:gd name="T12" fmla="*/ 132 w 757"/>
                <a:gd name="T13" fmla="*/ 1643 h 2037"/>
                <a:gd name="T14" fmla="*/ 137 w 757"/>
                <a:gd name="T15" fmla="*/ 1643 h 2037"/>
                <a:gd name="T16" fmla="*/ 44 w 757"/>
                <a:gd name="T17" fmla="*/ 1899 h 2037"/>
                <a:gd name="T18" fmla="*/ 300 w 757"/>
                <a:gd name="T19" fmla="*/ 1992 h 2037"/>
                <a:gd name="T20" fmla="*/ 393 w 757"/>
                <a:gd name="T21" fmla="*/ 1736 h 2037"/>
                <a:gd name="T22" fmla="*/ 300 w 757"/>
                <a:gd name="T23" fmla="*/ 1643 h 2037"/>
                <a:gd name="T24" fmla="*/ 305 w 757"/>
                <a:gd name="T25" fmla="*/ 1643 h 2037"/>
                <a:gd name="T26" fmla="*/ 305 w 757"/>
                <a:gd name="T27" fmla="*/ 1427 h 2037"/>
                <a:gd name="T28" fmla="*/ 646 w 757"/>
                <a:gd name="T29" fmla="*/ 1107 h 2037"/>
                <a:gd name="T30" fmla="*/ 646 w 757"/>
                <a:gd name="T31" fmla="*/ 366 h 2037"/>
                <a:gd name="T32" fmla="*/ 754 w 757"/>
                <a:gd name="T33" fmla="*/ 193 h 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7" h="2037">
                  <a:moveTo>
                    <a:pt x="754" y="193"/>
                  </a:moveTo>
                  <a:cubicBezTo>
                    <a:pt x="754" y="86"/>
                    <a:pt x="668" y="0"/>
                    <a:pt x="560" y="0"/>
                  </a:cubicBezTo>
                  <a:cubicBezTo>
                    <a:pt x="454" y="0"/>
                    <a:pt x="367" y="86"/>
                    <a:pt x="367" y="194"/>
                  </a:cubicBezTo>
                  <a:cubicBezTo>
                    <a:pt x="367" y="268"/>
                    <a:pt x="408" y="333"/>
                    <a:pt x="473" y="366"/>
                  </a:cubicBezTo>
                  <a:lnTo>
                    <a:pt x="473" y="1030"/>
                  </a:lnTo>
                  <a:lnTo>
                    <a:pt x="132" y="1350"/>
                  </a:lnTo>
                  <a:lnTo>
                    <a:pt x="132" y="1643"/>
                  </a:lnTo>
                  <a:lnTo>
                    <a:pt x="137" y="1643"/>
                  </a:lnTo>
                  <a:cubicBezTo>
                    <a:pt x="40" y="1688"/>
                    <a:pt x="0" y="1803"/>
                    <a:pt x="44" y="1899"/>
                  </a:cubicBezTo>
                  <a:cubicBezTo>
                    <a:pt x="89" y="1995"/>
                    <a:pt x="204" y="2036"/>
                    <a:pt x="300" y="1992"/>
                  </a:cubicBezTo>
                  <a:cubicBezTo>
                    <a:pt x="396" y="1948"/>
                    <a:pt x="437" y="1832"/>
                    <a:pt x="393" y="1736"/>
                  </a:cubicBezTo>
                  <a:cubicBezTo>
                    <a:pt x="374" y="1695"/>
                    <a:pt x="341" y="1662"/>
                    <a:pt x="300" y="1643"/>
                  </a:cubicBezTo>
                  <a:lnTo>
                    <a:pt x="305" y="1643"/>
                  </a:lnTo>
                  <a:lnTo>
                    <a:pt x="305" y="1427"/>
                  </a:lnTo>
                  <a:lnTo>
                    <a:pt x="646" y="1107"/>
                  </a:lnTo>
                  <a:lnTo>
                    <a:pt x="646" y="366"/>
                  </a:lnTo>
                  <a:cubicBezTo>
                    <a:pt x="713" y="333"/>
                    <a:pt x="756" y="266"/>
                    <a:pt x="754" y="193"/>
                  </a:cubicBez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7" name="Freeform 13"/>
            <p:cNvSpPr>
              <a:spLocks noChangeArrowheads="1"/>
            </p:cNvSpPr>
            <p:nvPr/>
          </p:nvSpPr>
          <p:spPr bwMode="auto">
            <a:xfrm>
              <a:off x="5921375" y="2038350"/>
              <a:ext cx="573088" cy="1593850"/>
            </a:xfrm>
            <a:custGeom>
              <a:avLst/>
              <a:gdLst>
                <a:gd name="T0" fmla="*/ 1399 w 1593"/>
                <a:gd name="T1" fmla="*/ 385 h 4427"/>
                <a:gd name="T2" fmla="*/ 1592 w 1593"/>
                <a:gd name="T3" fmla="*/ 193 h 4427"/>
                <a:gd name="T4" fmla="*/ 1399 w 1593"/>
                <a:gd name="T5" fmla="*/ 0 h 4427"/>
                <a:gd name="T6" fmla="*/ 1206 w 1593"/>
                <a:gd name="T7" fmla="*/ 193 h 4427"/>
                <a:gd name="T8" fmla="*/ 1216 w 1593"/>
                <a:gd name="T9" fmla="*/ 250 h 4427"/>
                <a:gd name="T10" fmla="*/ 668 w 1593"/>
                <a:gd name="T11" fmla="*/ 769 h 4427"/>
                <a:gd name="T12" fmla="*/ 661 w 1593"/>
                <a:gd name="T13" fmla="*/ 1772 h 4427"/>
                <a:gd name="T14" fmla="*/ 142 w 1593"/>
                <a:gd name="T15" fmla="*/ 2281 h 4427"/>
                <a:gd name="T16" fmla="*/ 142 w 1593"/>
                <a:gd name="T17" fmla="*/ 4028 h 4427"/>
                <a:gd name="T18" fmla="*/ 44 w 1593"/>
                <a:gd name="T19" fmla="*/ 4284 h 4427"/>
                <a:gd name="T20" fmla="*/ 300 w 1593"/>
                <a:gd name="T21" fmla="*/ 4382 h 4427"/>
                <a:gd name="T22" fmla="*/ 398 w 1593"/>
                <a:gd name="T23" fmla="*/ 4125 h 4427"/>
                <a:gd name="T24" fmla="*/ 315 w 1593"/>
                <a:gd name="T25" fmla="*/ 4034 h 4427"/>
                <a:gd name="T26" fmla="*/ 315 w 1593"/>
                <a:gd name="T27" fmla="*/ 2353 h 4427"/>
                <a:gd name="T28" fmla="*/ 834 w 1593"/>
                <a:gd name="T29" fmla="*/ 1845 h 4427"/>
                <a:gd name="T30" fmla="*/ 841 w 1593"/>
                <a:gd name="T31" fmla="*/ 841 h 4427"/>
                <a:gd name="T32" fmla="*/ 1337 w 1593"/>
                <a:gd name="T33" fmla="*/ 374 h 4427"/>
                <a:gd name="T34" fmla="*/ 1399 w 1593"/>
                <a:gd name="T35" fmla="*/ 385 h 4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3" h="4427">
                  <a:moveTo>
                    <a:pt x="1399" y="385"/>
                  </a:moveTo>
                  <a:cubicBezTo>
                    <a:pt x="1505" y="385"/>
                    <a:pt x="1592" y="299"/>
                    <a:pt x="1592" y="193"/>
                  </a:cubicBezTo>
                  <a:cubicBezTo>
                    <a:pt x="1592" y="87"/>
                    <a:pt x="1505" y="0"/>
                    <a:pt x="1399" y="0"/>
                  </a:cubicBezTo>
                  <a:cubicBezTo>
                    <a:pt x="1293" y="0"/>
                    <a:pt x="1206" y="87"/>
                    <a:pt x="1206" y="193"/>
                  </a:cubicBezTo>
                  <a:cubicBezTo>
                    <a:pt x="1206" y="212"/>
                    <a:pt x="1210" y="232"/>
                    <a:pt x="1216" y="250"/>
                  </a:cubicBezTo>
                  <a:lnTo>
                    <a:pt x="668" y="769"/>
                  </a:lnTo>
                  <a:lnTo>
                    <a:pt x="661" y="1772"/>
                  </a:lnTo>
                  <a:lnTo>
                    <a:pt x="142" y="2281"/>
                  </a:lnTo>
                  <a:lnTo>
                    <a:pt x="142" y="4028"/>
                  </a:lnTo>
                  <a:cubicBezTo>
                    <a:pt x="44" y="4072"/>
                    <a:pt x="0" y="4186"/>
                    <a:pt x="44" y="4284"/>
                  </a:cubicBezTo>
                  <a:cubicBezTo>
                    <a:pt x="88" y="4382"/>
                    <a:pt x="202" y="4426"/>
                    <a:pt x="300" y="4382"/>
                  </a:cubicBezTo>
                  <a:cubicBezTo>
                    <a:pt x="398" y="4338"/>
                    <a:pt x="442" y="4223"/>
                    <a:pt x="398" y="4125"/>
                  </a:cubicBezTo>
                  <a:cubicBezTo>
                    <a:pt x="382" y="4086"/>
                    <a:pt x="352" y="4055"/>
                    <a:pt x="315" y="4034"/>
                  </a:cubicBezTo>
                  <a:lnTo>
                    <a:pt x="315" y="2353"/>
                  </a:lnTo>
                  <a:lnTo>
                    <a:pt x="834" y="1845"/>
                  </a:lnTo>
                  <a:lnTo>
                    <a:pt x="841" y="841"/>
                  </a:lnTo>
                  <a:lnTo>
                    <a:pt x="1337" y="374"/>
                  </a:lnTo>
                  <a:cubicBezTo>
                    <a:pt x="1355" y="381"/>
                    <a:pt x="1376" y="385"/>
                    <a:pt x="1399" y="385"/>
                  </a:cubicBezTo>
                </a:path>
              </a:pathLst>
            </a:custGeom>
            <a:solidFill>
              <a:schemeClr val="accent4"/>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18" name="Freeform 14"/>
            <p:cNvSpPr>
              <a:spLocks noChangeArrowheads="1"/>
            </p:cNvSpPr>
            <p:nvPr/>
          </p:nvSpPr>
          <p:spPr bwMode="auto">
            <a:xfrm>
              <a:off x="6142038" y="1693863"/>
              <a:ext cx="261937" cy="454025"/>
            </a:xfrm>
            <a:custGeom>
              <a:avLst/>
              <a:gdLst>
                <a:gd name="T0" fmla="*/ 727 w 728"/>
                <a:gd name="T1" fmla="*/ 192 h 1263"/>
                <a:gd name="T2" fmla="*/ 534 w 728"/>
                <a:gd name="T3" fmla="*/ 0 h 1263"/>
                <a:gd name="T4" fmla="*/ 342 w 728"/>
                <a:gd name="T5" fmla="*/ 192 h 1263"/>
                <a:gd name="T6" fmla="*/ 448 w 728"/>
                <a:gd name="T7" fmla="*/ 364 h 1263"/>
                <a:gd name="T8" fmla="*/ 448 w 728"/>
                <a:gd name="T9" fmla="*/ 754 h 1263"/>
                <a:gd name="T10" fmla="*/ 289 w 728"/>
                <a:gd name="T11" fmla="*/ 903 h 1263"/>
                <a:gd name="T12" fmla="*/ 193 w 728"/>
                <a:gd name="T13" fmla="*/ 876 h 1263"/>
                <a:gd name="T14" fmla="*/ 0 w 728"/>
                <a:gd name="T15" fmla="*/ 1069 h 1263"/>
                <a:gd name="T16" fmla="*/ 193 w 728"/>
                <a:gd name="T17" fmla="*/ 1262 h 1263"/>
                <a:gd name="T18" fmla="*/ 386 w 728"/>
                <a:gd name="T19" fmla="*/ 1069 h 1263"/>
                <a:gd name="T20" fmla="*/ 384 w 728"/>
                <a:gd name="T21" fmla="*/ 1051 h 1263"/>
                <a:gd name="T22" fmla="*/ 621 w 728"/>
                <a:gd name="T23" fmla="*/ 829 h 1263"/>
                <a:gd name="T24" fmla="*/ 621 w 728"/>
                <a:gd name="T25" fmla="*/ 364 h 1263"/>
                <a:gd name="T26" fmla="*/ 727 w 728"/>
                <a:gd name="T27" fmla="*/ 192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1263">
                  <a:moveTo>
                    <a:pt x="727" y="192"/>
                  </a:moveTo>
                  <a:cubicBezTo>
                    <a:pt x="727" y="86"/>
                    <a:pt x="640" y="0"/>
                    <a:pt x="534" y="0"/>
                  </a:cubicBezTo>
                  <a:cubicBezTo>
                    <a:pt x="428" y="0"/>
                    <a:pt x="342" y="86"/>
                    <a:pt x="342" y="192"/>
                  </a:cubicBezTo>
                  <a:cubicBezTo>
                    <a:pt x="342" y="267"/>
                    <a:pt x="386" y="333"/>
                    <a:pt x="448" y="364"/>
                  </a:cubicBezTo>
                  <a:lnTo>
                    <a:pt x="448" y="754"/>
                  </a:lnTo>
                  <a:lnTo>
                    <a:pt x="289" y="903"/>
                  </a:lnTo>
                  <a:cubicBezTo>
                    <a:pt x="262" y="886"/>
                    <a:pt x="229" y="876"/>
                    <a:pt x="193" y="876"/>
                  </a:cubicBezTo>
                  <a:cubicBezTo>
                    <a:pt x="87" y="876"/>
                    <a:pt x="0" y="963"/>
                    <a:pt x="0" y="1069"/>
                  </a:cubicBezTo>
                  <a:cubicBezTo>
                    <a:pt x="0" y="1175"/>
                    <a:pt x="87" y="1262"/>
                    <a:pt x="193" y="1262"/>
                  </a:cubicBezTo>
                  <a:cubicBezTo>
                    <a:pt x="299" y="1262"/>
                    <a:pt x="386" y="1175"/>
                    <a:pt x="386" y="1069"/>
                  </a:cubicBezTo>
                  <a:cubicBezTo>
                    <a:pt x="386" y="1063"/>
                    <a:pt x="384" y="1058"/>
                    <a:pt x="384" y="1051"/>
                  </a:cubicBezTo>
                  <a:lnTo>
                    <a:pt x="621" y="829"/>
                  </a:lnTo>
                  <a:lnTo>
                    <a:pt x="621" y="364"/>
                  </a:lnTo>
                  <a:cubicBezTo>
                    <a:pt x="683" y="333"/>
                    <a:pt x="727" y="267"/>
                    <a:pt x="727" y="192"/>
                  </a:cubicBezTo>
                </a:path>
              </a:pathLst>
            </a:custGeom>
            <a:grp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2" name="Group 11"/>
          <p:cNvGrpSpPr/>
          <p:nvPr/>
        </p:nvGrpSpPr>
        <p:grpSpPr>
          <a:xfrm>
            <a:off x="10805027" y="4139355"/>
            <a:ext cx="604869" cy="526387"/>
            <a:chOff x="8834092" y="4167766"/>
            <a:chExt cx="1712913" cy="1490662"/>
          </a:xfrm>
        </p:grpSpPr>
        <p:sp>
          <p:nvSpPr>
            <p:cNvPr id="722" name="Freeform 18"/>
            <p:cNvSpPr>
              <a:spLocks noChangeArrowheads="1"/>
            </p:cNvSpPr>
            <p:nvPr/>
          </p:nvSpPr>
          <p:spPr bwMode="auto">
            <a:xfrm>
              <a:off x="8834092" y="4167766"/>
              <a:ext cx="1712913" cy="1339850"/>
            </a:xfrm>
            <a:custGeom>
              <a:avLst/>
              <a:gdLst>
                <a:gd name="T0" fmla="*/ 4759 w 4760"/>
                <a:gd name="T1" fmla="*/ 3395 h 3724"/>
                <a:gd name="T2" fmla="*/ 4449 w 4760"/>
                <a:gd name="T3" fmla="*/ 3723 h 3724"/>
                <a:gd name="T4" fmla="*/ 310 w 4760"/>
                <a:gd name="T5" fmla="*/ 3723 h 3724"/>
                <a:gd name="T6" fmla="*/ 0 w 4760"/>
                <a:gd name="T7" fmla="*/ 3395 h 3724"/>
                <a:gd name="T8" fmla="*/ 0 w 4760"/>
                <a:gd name="T9" fmla="*/ 328 h 3724"/>
                <a:gd name="T10" fmla="*/ 310 w 4760"/>
                <a:gd name="T11" fmla="*/ 0 h 3724"/>
                <a:gd name="T12" fmla="*/ 4449 w 4760"/>
                <a:gd name="T13" fmla="*/ 0 h 3724"/>
                <a:gd name="T14" fmla="*/ 4759 w 4760"/>
                <a:gd name="T15" fmla="*/ 328 h 3724"/>
                <a:gd name="T16" fmla="*/ 4759 w 4760"/>
                <a:gd name="T17" fmla="*/ 3395 h 3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0" h="3724">
                  <a:moveTo>
                    <a:pt x="4759" y="3395"/>
                  </a:moveTo>
                  <a:cubicBezTo>
                    <a:pt x="4759" y="3576"/>
                    <a:pt x="4620" y="3723"/>
                    <a:pt x="4449" y="3723"/>
                  </a:cubicBezTo>
                  <a:lnTo>
                    <a:pt x="310" y="3723"/>
                  </a:lnTo>
                  <a:cubicBezTo>
                    <a:pt x="139" y="3723"/>
                    <a:pt x="0" y="3576"/>
                    <a:pt x="0" y="3395"/>
                  </a:cubicBezTo>
                  <a:lnTo>
                    <a:pt x="0" y="328"/>
                  </a:lnTo>
                  <a:cubicBezTo>
                    <a:pt x="0" y="147"/>
                    <a:pt x="139" y="0"/>
                    <a:pt x="310" y="0"/>
                  </a:cubicBezTo>
                  <a:lnTo>
                    <a:pt x="4449" y="0"/>
                  </a:lnTo>
                  <a:cubicBezTo>
                    <a:pt x="4620" y="0"/>
                    <a:pt x="4759" y="147"/>
                    <a:pt x="4759" y="328"/>
                  </a:cubicBezTo>
                  <a:lnTo>
                    <a:pt x="4759" y="3395"/>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3" name="Line 19"/>
            <p:cNvSpPr>
              <a:spLocks noChangeShapeType="1"/>
            </p:cNvSpPr>
            <p:nvPr/>
          </p:nvSpPr>
          <p:spPr bwMode="auto">
            <a:xfrm>
              <a:off x="9169055" y="5656841"/>
              <a:ext cx="1042987"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4" name="Line 20"/>
            <p:cNvSpPr>
              <a:spLocks noChangeShapeType="1"/>
            </p:cNvSpPr>
            <p:nvPr/>
          </p:nvSpPr>
          <p:spPr bwMode="auto">
            <a:xfrm>
              <a:off x="9653242" y="5509203"/>
              <a:ext cx="1588" cy="149225"/>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5" name="Freeform 21"/>
            <p:cNvSpPr>
              <a:spLocks noChangeArrowheads="1"/>
            </p:cNvSpPr>
            <p:nvPr/>
          </p:nvSpPr>
          <p:spPr bwMode="auto">
            <a:xfrm>
              <a:off x="9653242" y="5321878"/>
              <a:ext cx="74613" cy="74613"/>
            </a:xfrm>
            <a:custGeom>
              <a:avLst/>
              <a:gdLst>
                <a:gd name="T0" fmla="*/ 205 w 206"/>
                <a:gd name="T1" fmla="*/ 103 h 207"/>
                <a:gd name="T2" fmla="*/ 192 w 206"/>
                <a:gd name="T3" fmla="*/ 155 h 207"/>
                <a:gd name="T4" fmla="*/ 154 w 206"/>
                <a:gd name="T5" fmla="*/ 192 h 207"/>
                <a:gd name="T6" fmla="*/ 103 w 206"/>
                <a:gd name="T7" fmla="*/ 206 h 207"/>
                <a:gd name="T8" fmla="*/ 51 w 206"/>
                <a:gd name="T9" fmla="*/ 192 h 207"/>
                <a:gd name="T10" fmla="*/ 13 w 206"/>
                <a:gd name="T11" fmla="*/ 155 h 207"/>
                <a:gd name="T12" fmla="*/ 0 w 206"/>
                <a:gd name="T13" fmla="*/ 103 h 207"/>
                <a:gd name="T14" fmla="*/ 13 w 206"/>
                <a:gd name="T15" fmla="*/ 52 h 207"/>
                <a:gd name="T16" fmla="*/ 51 w 206"/>
                <a:gd name="T17" fmla="*/ 14 h 207"/>
                <a:gd name="T18" fmla="*/ 103 w 206"/>
                <a:gd name="T19" fmla="*/ 0 h 207"/>
                <a:gd name="T20" fmla="*/ 154 w 206"/>
                <a:gd name="T21" fmla="*/ 14 h 207"/>
                <a:gd name="T22" fmla="*/ 192 w 206"/>
                <a:gd name="T23" fmla="*/ 52 h 207"/>
                <a:gd name="T24" fmla="*/ 205 w 206"/>
                <a:gd name="T25" fmla="*/ 1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07">
                  <a:moveTo>
                    <a:pt x="205" y="103"/>
                  </a:moveTo>
                  <a:cubicBezTo>
                    <a:pt x="205" y="122"/>
                    <a:pt x="201" y="139"/>
                    <a:pt x="192" y="155"/>
                  </a:cubicBezTo>
                  <a:cubicBezTo>
                    <a:pt x="182" y="172"/>
                    <a:pt x="170" y="183"/>
                    <a:pt x="154" y="192"/>
                  </a:cubicBezTo>
                  <a:cubicBezTo>
                    <a:pt x="138" y="202"/>
                    <a:pt x="121" y="206"/>
                    <a:pt x="103" y="206"/>
                  </a:cubicBezTo>
                  <a:cubicBezTo>
                    <a:pt x="84" y="206"/>
                    <a:pt x="67" y="202"/>
                    <a:pt x="51" y="192"/>
                  </a:cubicBezTo>
                  <a:cubicBezTo>
                    <a:pt x="35" y="183"/>
                    <a:pt x="22" y="172"/>
                    <a:pt x="13" y="155"/>
                  </a:cubicBezTo>
                  <a:cubicBezTo>
                    <a:pt x="3" y="139"/>
                    <a:pt x="0" y="122"/>
                    <a:pt x="0" y="103"/>
                  </a:cubicBezTo>
                  <a:cubicBezTo>
                    <a:pt x="0" y="84"/>
                    <a:pt x="3" y="69"/>
                    <a:pt x="13" y="52"/>
                  </a:cubicBezTo>
                  <a:cubicBezTo>
                    <a:pt x="22" y="36"/>
                    <a:pt x="35" y="24"/>
                    <a:pt x="51" y="14"/>
                  </a:cubicBezTo>
                  <a:cubicBezTo>
                    <a:pt x="67" y="5"/>
                    <a:pt x="84" y="0"/>
                    <a:pt x="103" y="0"/>
                  </a:cubicBezTo>
                  <a:cubicBezTo>
                    <a:pt x="121" y="0"/>
                    <a:pt x="138" y="5"/>
                    <a:pt x="154" y="14"/>
                  </a:cubicBezTo>
                  <a:cubicBezTo>
                    <a:pt x="170" y="24"/>
                    <a:pt x="182" y="36"/>
                    <a:pt x="192" y="52"/>
                  </a:cubicBezTo>
                  <a:cubicBezTo>
                    <a:pt x="201" y="69"/>
                    <a:pt x="205" y="84"/>
                    <a:pt x="205" y="103"/>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6" name="Line 22"/>
            <p:cNvSpPr>
              <a:spLocks noChangeShapeType="1"/>
            </p:cNvSpPr>
            <p:nvPr/>
          </p:nvSpPr>
          <p:spPr bwMode="auto">
            <a:xfrm>
              <a:off x="8834092" y="5210753"/>
              <a:ext cx="1712913"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7" name="Freeform 23"/>
            <p:cNvSpPr>
              <a:spLocks noChangeArrowheads="1"/>
            </p:cNvSpPr>
            <p:nvPr/>
          </p:nvSpPr>
          <p:spPr bwMode="auto">
            <a:xfrm>
              <a:off x="9019830" y="4316991"/>
              <a:ext cx="746125" cy="746125"/>
            </a:xfrm>
            <a:custGeom>
              <a:avLst/>
              <a:gdLst>
                <a:gd name="T0" fmla="*/ 2071 w 2072"/>
                <a:gd name="T1" fmla="*/ 1036 h 2072"/>
                <a:gd name="T2" fmla="*/ 1932 w 2072"/>
                <a:gd name="T3" fmla="*/ 1553 h 2072"/>
                <a:gd name="T4" fmla="*/ 1553 w 2072"/>
                <a:gd name="T5" fmla="*/ 1932 h 2072"/>
                <a:gd name="T6" fmla="*/ 1036 w 2072"/>
                <a:gd name="T7" fmla="*/ 2071 h 2072"/>
                <a:gd name="T8" fmla="*/ 518 w 2072"/>
                <a:gd name="T9" fmla="*/ 1932 h 2072"/>
                <a:gd name="T10" fmla="*/ 139 w 2072"/>
                <a:gd name="T11" fmla="*/ 1553 h 2072"/>
                <a:gd name="T12" fmla="*/ 0 w 2072"/>
                <a:gd name="T13" fmla="*/ 1036 h 2072"/>
                <a:gd name="T14" fmla="*/ 139 w 2072"/>
                <a:gd name="T15" fmla="*/ 518 h 2072"/>
                <a:gd name="T16" fmla="*/ 518 w 2072"/>
                <a:gd name="T17" fmla="*/ 139 h 2072"/>
                <a:gd name="T18" fmla="*/ 1036 w 2072"/>
                <a:gd name="T19" fmla="*/ 0 h 2072"/>
                <a:gd name="T20" fmla="*/ 1553 w 2072"/>
                <a:gd name="T21" fmla="*/ 139 h 2072"/>
                <a:gd name="T22" fmla="*/ 1932 w 2072"/>
                <a:gd name="T23" fmla="*/ 518 h 2072"/>
                <a:gd name="T24" fmla="*/ 2071 w 2072"/>
                <a:gd name="T25" fmla="*/ 103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2" h="2072">
                  <a:moveTo>
                    <a:pt x="2071" y="1036"/>
                  </a:moveTo>
                  <a:cubicBezTo>
                    <a:pt x="2071" y="1226"/>
                    <a:pt x="2027" y="1388"/>
                    <a:pt x="1932" y="1553"/>
                  </a:cubicBezTo>
                  <a:cubicBezTo>
                    <a:pt x="1837" y="1718"/>
                    <a:pt x="1718" y="1837"/>
                    <a:pt x="1553" y="1932"/>
                  </a:cubicBezTo>
                  <a:cubicBezTo>
                    <a:pt x="1388" y="2028"/>
                    <a:pt x="1226" y="2071"/>
                    <a:pt x="1036" y="2071"/>
                  </a:cubicBezTo>
                  <a:cubicBezTo>
                    <a:pt x="845" y="2071"/>
                    <a:pt x="683" y="2028"/>
                    <a:pt x="518" y="1932"/>
                  </a:cubicBezTo>
                  <a:cubicBezTo>
                    <a:pt x="353" y="1837"/>
                    <a:pt x="234" y="1718"/>
                    <a:pt x="139" y="1553"/>
                  </a:cubicBezTo>
                  <a:cubicBezTo>
                    <a:pt x="44" y="1388"/>
                    <a:pt x="0" y="1227"/>
                    <a:pt x="0" y="1036"/>
                  </a:cubicBezTo>
                  <a:cubicBezTo>
                    <a:pt x="0" y="846"/>
                    <a:pt x="44" y="683"/>
                    <a:pt x="139" y="518"/>
                  </a:cubicBezTo>
                  <a:cubicBezTo>
                    <a:pt x="234" y="353"/>
                    <a:pt x="353" y="234"/>
                    <a:pt x="518" y="139"/>
                  </a:cubicBezTo>
                  <a:cubicBezTo>
                    <a:pt x="683" y="44"/>
                    <a:pt x="845" y="0"/>
                    <a:pt x="1036" y="0"/>
                  </a:cubicBezTo>
                  <a:cubicBezTo>
                    <a:pt x="1226" y="0"/>
                    <a:pt x="1388" y="44"/>
                    <a:pt x="1553" y="139"/>
                  </a:cubicBezTo>
                  <a:cubicBezTo>
                    <a:pt x="1718" y="234"/>
                    <a:pt x="1837" y="353"/>
                    <a:pt x="1932" y="518"/>
                  </a:cubicBezTo>
                  <a:cubicBezTo>
                    <a:pt x="2027" y="683"/>
                    <a:pt x="2071" y="845"/>
                    <a:pt x="2071" y="1036"/>
                  </a:cubicBez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8" name="Freeform 24"/>
            <p:cNvSpPr>
              <a:spLocks noChangeArrowheads="1"/>
            </p:cNvSpPr>
            <p:nvPr/>
          </p:nvSpPr>
          <p:spPr bwMode="auto">
            <a:xfrm>
              <a:off x="9392892" y="4382078"/>
              <a:ext cx="239713" cy="593725"/>
            </a:xfrm>
            <a:custGeom>
              <a:avLst/>
              <a:gdLst>
                <a:gd name="T0" fmla="*/ 584 w 664"/>
                <a:gd name="T1" fmla="*/ 0 h 1648"/>
                <a:gd name="T2" fmla="*/ 0 w 664"/>
                <a:gd name="T3" fmla="*/ 854 h 1648"/>
                <a:gd name="T4" fmla="*/ 663 w 664"/>
                <a:gd name="T5" fmla="*/ 1647 h 1648"/>
              </a:gdLst>
              <a:ahLst/>
              <a:cxnLst>
                <a:cxn ang="0">
                  <a:pos x="T0" y="T1"/>
                </a:cxn>
                <a:cxn ang="0">
                  <a:pos x="T2" y="T3"/>
                </a:cxn>
                <a:cxn ang="0">
                  <a:pos x="T4" y="T5"/>
                </a:cxn>
              </a:cxnLst>
              <a:rect l="0" t="0" r="r" b="b"/>
              <a:pathLst>
                <a:path w="664" h="1648">
                  <a:moveTo>
                    <a:pt x="584" y="0"/>
                  </a:moveTo>
                  <a:lnTo>
                    <a:pt x="0" y="854"/>
                  </a:lnTo>
                  <a:lnTo>
                    <a:pt x="663" y="1647"/>
                  </a:lnTo>
                </a:path>
              </a:pathLst>
            </a:custGeom>
            <a:noFill/>
            <a:ln w="12700" cap="sq">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29" name="Line 25"/>
            <p:cNvSpPr>
              <a:spLocks noChangeShapeType="1"/>
            </p:cNvSpPr>
            <p:nvPr/>
          </p:nvSpPr>
          <p:spPr bwMode="auto">
            <a:xfrm flipH="1">
              <a:off x="9018242" y="4690053"/>
              <a:ext cx="37623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0" name="Line 26"/>
            <p:cNvSpPr>
              <a:spLocks noChangeShapeType="1"/>
            </p:cNvSpPr>
            <p:nvPr/>
          </p:nvSpPr>
          <p:spPr bwMode="auto">
            <a:xfrm>
              <a:off x="9913592" y="4391603"/>
              <a:ext cx="446088" cy="1588"/>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1" name="Line 27"/>
            <p:cNvSpPr>
              <a:spLocks noChangeShapeType="1"/>
            </p:cNvSpPr>
            <p:nvPr/>
          </p:nvSpPr>
          <p:spPr bwMode="auto">
            <a:xfrm flipV="1">
              <a:off x="9913592" y="4612435"/>
              <a:ext cx="466787" cy="300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732" name="Line 28"/>
            <p:cNvSpPr>
              <a:spLocks noChangeShapeType="1"/>
            </p:cNvSpPr>
            <p:nvPr/>
          </p:nvSpPr>
          <p:spPr bwMode="auto">
            <a:xfrm>
              <a:off x="9913592" y="4837691"/>
              <a:ext cx="446088" cy="1587"/>
            </a:xfrm>
            <a:prstGeom prst="line">
              <a:avLst/>
            </a:prstGeom>
            <a:noFill/>
            <a:ln w="12700" cap="sq">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sp>
        <p:nvSpPr>
          <p:cNvPr id="2" name="Rectangle 1">
            <a:extLst>
              <a:ext uri="{FF2B5EF4-FFF2-40B4-BE49-F238E27FC236}">
                <a16:creationId xmlns:a16="http://schemas.microsoft.com/office/drawing/2014/main" id="{98E8BCA7-2A46-4A58-9095-668169DA9494}"/>
              </a:ext>
            </a:extLst>
          </p:cNvPr>
          <p:cNvSpPr/>
          <p:nvPr/>
        </p:nvSpPr>
        <p:spPr>
          <a:xfrm>
            <a:off x="1050450" y="3168724"/>
            <a:ext cx="481279" cy="243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204" name="Group 203">
            <a:extLst>
              <a:ext uri="{FF2B5EF4-FFF2-40B4-BE49-F238E27FC236}">
                <a16:creationId xmlns:a16="http://schemas.microsoft.com/office/drawing/2014/main" id="{4EAEEADD-8CE1-443A-B935-7EE499FFAD45}"/>
              </a:ext>
            </a:extLst>
          </p:cNvPr>
          <p:cNvGrpSpPr/>
          <p:nvPr/>
        </p:nvGrpSpPr>
        <p:grpSpPr>
          <a:xfrm>
            <a:off x="1048282" y="4022507"/>
            <a:ext cx="485613" cy="476890"/>
            <a:chOff x="2549926" y="1227604"/>
            <a:chExt cx="5177116" cy="5084148"/>
          </a:xfrm>
        </p:grpSpPr>
        <p:sp>
          <p:nvSpPr>
            <p:cNvPr id="205" name="Freeform: Shape 583">
              <a:extLst>
                <a:ext uri="{FF2B5EF4-FFF2-40B4-BE49-F238E27FC236}">
                  <a16:creationId xmlns:a16="http://schemas.microsoft.com/office/drawing/2014/main" id="{F2B35AA8-8718-4590-A107-3CFFCFB74F8C}"/>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6" name="Rectangle 205">
              <a:extLst>
                <a:ext uri="{FF2B5EF4-FFF2-40B4-BE49-F238E27FC236}">
                  <a16:creationId xmlns:a16="http://schemas.microsoft.com/office/drawing/2014/main" id="{A3043977-89CB-4A95-A293-16F283986B94}"/>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7" name="Rectangle 206">
              <a:extLst>
                <a:ext uri="{FF2B5EF4-FFF2-40B4-BE49-F238E27FC236}">
                  <a16:creationId xmlns:a16="http://schemas.microsoft.com/office/drawing/2014/main" id="{7829CCA2-178D-4D6B-9FC5-2630A342B21D}"/>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8" name="Rectangle 207">
              <a:extLst>
                <a:ext uri="{FF2B5EF4-FFF2-40B4-BE49-F238E27FC236}">
                  <a16:creationId xmlns:a16="http://schemas.microsoft.com/office/drawing/2014/main" id="{22563FEF-DAD4-4A23-BB45-EAC541594376}"/>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09" name="Rectangle 208">
              <a:extLst>
                <a:ext uri="{FF2B5EF4-FFF2-40B4-BE49-F238E27FC236}">
                  <a16:creationId xmlns:a16="http://schemas.microsoft.com/office/drawing/2014/main" id="{BDED1F1B-F2B0-4F8B-BFAD-0BAD3388FE23}"/>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0" name="Rectangle 209">
              <a:extLst>
                <a:ext uri="{FF2B5EF4-FFF2-40B4-BE49-F238E27FC236}">
                  <a16:creationId xmlns:a16="http://schemas.microsoft.com/office/drawing/2014/main" id="{D936F1BB-B5F7-4834-A484-F4A349C3F6CA}"/>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1" name="Rectangle 210">
              <a:extLst>
                <a:ext uri="{FF2B5EF4-FFF2-40B4-BE49-F238E27FC236}">
                  <a16:creationId xmlns:a16="http://schemas.microsoft.com/office/drawing/2014/main" id="{68FB4239-4769-4815-B8FE-88E8D3A8B968}"/>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212" name="Cylinder 590">
              <a:extLst>
                <a:ext uri="{FF2B5EF4-FFF2-40B4-BE49-F238E27FC236}">
                  <a16:creationId xmlns:a16="http://schemas.microsoft.com/office/drawing/2014/main" id="{34C16495-DC70-480D-ADF0-7781670E2479}"/>
                </a:ext>
              </a:extLst>
            </p:cNvPr>
            <p:cNvSpPr/>
            <p:nvPr/>
          </p:nvSpPr>
          <p:spPr bwMode="auto">
            <a:xfrm>
              <a:off x="5335724" y="3170126"/>
              <a:ext cx="2391318" cy="3141626"/>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grpSp>
        <p:nvGrpSpPr>
          <p:cNvPr id="213" name="Group 212"/>
          <p:cNvGrpSpPr/>
          <p:nvPr/>
        </p:nvGrpSpPr>
        <p:grpSpPr>
          <a:xfrm>
            <a:off x="1079372" y="5142672"/>
            <a:ext cx="423433" cy="313881"/>
            <a:chOff x="-2575176" y="-1203590"/>
            <a:chExt cx="3082012" cy="2284628"/>
          </a:xfrm>
          <a:solidFill>
            <a:schemeClr val="accent1"/>
          </a:solidFill>
        </p:grpSpPr>
        <p:sp>
          <p:nvSpPr>
            <p:cNvPr id="214" name="Freeform 42"/>
            <p:cNvSpPr>
              <a:spLocks/>
            </p:cNvSpPr>
            <p:nvPr/>
          </p:nvSpPr>
          <p:spPr bwMode="auto">
            <a:xfrm>
              <a:off x="-2542324" y="188092"/>
              <a:ext cx="462897" cy="621177"/>
            </a:xfrm>
            <a:custGeom>
              <a:avLst/>
              <a:gdLst>
                <a:gd name="T0" fmla="*/ 363 w 2335"/>
                <a:gd name="T1" fmla="*/ 2397 h 3120"/>
                <a:gd name="T2" fmla="*/ 250 w 2335"/>
                <a:gd name="T3" fmla="*/ 2251 h 3120"/>
                <a:gd name="T4" fmla="*/ 168 w 2335"/>
                <a:gd name="T5" fmla="*/ 2133 h 3120"/>
                <a:gd name="T6" fmla="*/ 122 w 2335"/>
                <a:gd name="T7" fmla="*/ 2060 h 3120"/>
                <a:gd name="T8" fmla="*/ 40 w 2335"/>
                <a:gd name="T9" fmla="*/ 1892 h 3120"/>
                <a:gd name="T10" fmla="*/ 5 w 2335"/>
                <a:gd name="T11" fmla="*/ 1733 h 3120"/>
                <a:gd name="T12" fmla="*/ 3 w 2335"/>
                <a:gd name="T13" fmla="*/ 1613 h 3120"/>
                <a:gd name="T14" fmla="*/ 20 w 2335"/>
                <a:gd name="T15" fmla="*/ 1485 h 3120"/>
                <a:gd name="T16" fmla="*/ 63 w 2335"/>
                <a:gd name="T17" fmla="*/ 1347 h 3120"/>
                <a:gd name="T18" fmla="*/ 136 w 2335"/>
                <a:gd name="T19" fmla="*/ 1200 h 3120"/>
                <a:gd name="T20" fmla="*/ 264 w 2335"/>
                <a:gd name="T21" fmla="*/ 1014 h 3120"/>
                <a:gd name="T22" fmla="*/ 411 w 2335"/>
                <a:gd name="T23" fmla="*/ 815 h 3120"/>
                <a:gd name="T24" fmla="*/ 625 w 2335"/>
                <a:gd name="T25" fmla="*/ 551 h 3120"/>
                <a:gd name="T26" fmla="*/ 1110 w 2335"/>
                <a:gd name="T27" fmla="*/ 0 h 3120"/>
                <a:gd name="T28" fmla="*/ 1021 w 2335"/>
                <a:gd name="T29" fmla="*/ 632 h 3120"/>
                <a:gd name="T30" fmla="*/ 993 w 2335"/>
                <a:gd name="T31" fmla="*/ 666 h 3120"/>
                <a:gd name="T32" fmla="*/ 940 w 2335"/>
                <a:gd name="T33" fmla="*/ 730 h 3120"/>
                <a:gd name="T34" fmla="*/ 868 w 2335"/>
                <a:gd name="T35" fmla="*/ 815 h 3120"/>
                <a:gd name="T36" fmla="*/ 691 w 2335"/>
                <a:gd name="T37" fmla="*/ 1029 h 3120"/>
                <a:gd name="T38" fmla="*/ 507 w 2335"/>
                <a:gd name="T39" fmla="*/ 1258 h 3120"/>
                <a:gd name="T40" fmla="*/ 412 w 2335"/>
                <a:gd name="T41" fmla="*/ 1397 h 3120"/>
                <a:gd name="T42" fmla="*/ 370 w 2335"/>
                <a:gd name="T43" fmla="*/ 1498 h 3120"/>
                <a:gd name="T44" fmla="*/ 350 w 2335"/>
                <a:gd name="T45" fmla="*/ 1587 h 3120"/>
                <a:gd name="T46" fmla="*/ 358 w 2335"/>
                <a:gd name="T47" fmla="*/ 1709 h 3120"/>
                <a:gd name="T48" fmla="*/ 390 w 2335"/>
                <a:gd name="T49" fmla="*/ 1792 h 3120"/>
                <a:gd name="T50" fmla="*/ 401 w 2335"/>
                <a:gd name="T51" fmla="*/ 1809 h 3120"/>
                <a:gd name="T52" fmla="*/ 404 w 2335"/>
                <a:gd name="T53" fmla="*/ 1813 h 3120"/>
                <a:gd name="T54" fmla="*/ 418 w 2335"/>
                <a:gd name="T55" fmla="*/ 1833 h 3120"/>
                <a:gd name="T56" fmla="*/ 460 w 2335"/>
                <a:gd name="T57" fmla="*/ 1895 h 3120"/>
                <a:gd name="T58" fmla="*/ 555 w 2335"/>
                <a:gd name="T59" fmla="*/ 2020 h 3120"/>
                <a:gd name="T60" fmla="*/ 684 w 2335"/>
                <a:gd name="T61" fmla="*/ 2179 h 3120"/>
                <a:gd name="T62" fmla="*/ 839 w 2335"/>
                <a:gd name="T63" fmla="*/ 2347 h 3120"/>
                <a:gd name="T64" fmla="*/ 1011 w 2335"/>
                <a:gd name="T65" fmla="*/ 2505 h 3120"/>
                <a:gd name="T66" fmla="*/ 1192 w 2335"/>
                <a:gd name="T67" fmla="*/ 2631 h 3120"/>
                <a:gd name="T68" fmla="*/ 1329 w 2335"/>
                <a:gd name="T69" fmla="*/ 2693 h 3120"/>
                <a:gd name="T70" fmla="*/ 1418 w 2335"/>
                <a:gd name="T71" fmla="*/ 2712 h 3120"/>
                <a:gd name="T72" fmla="*/ 1581 w 2335"/>
                <a:gd name="T73" fmla="*/ 2713 h 3120"/>
                <a:gd name="T74" fmla="*/ 1680 w 2335"/>
                <a:gd name="T75" fmla="*/ 2691 h 3120"/>
                <a:gd name="T76" fmla="*/ 1771 w 2335"/>
                <a:gd name="T77" fmla="*/ 2642 h 3120"/>
                <a:gd name="T78" fmla="*/ 1875 w 2335"/>
                <a:gd name="T79" fmla="*/ 2556 h 3120"/>
                <a:gd name="T80" fmla="*/ 2029 w 2335"/>
                <a:gd name="T81" fmla="*/ 2386 h 3120"/>
                <a:gd name="T82" fmla="*/ 2173 w 2335"/>
                <a:gd name="T83" fmla="*/ 2220 h 3120"/>
                <a:gd name="T84" fmla="*/ 2241 w 2335"/>
                <a:gd name="T85" fmla="*/ 2559 h 3120"/>
                <a:gd name="T86" fmla="*/ 2212 w 2335"/>
                <a:gd name="T87" fmla="*/ 2604 h 3120"/>
                <a:gd name="T88" fmla="*/ 2146 w 2335"/>
                <a:gd name="T89" fmla="*/ 2704 h 3120"/>
                <a:gd name="T90" fmla="*/ 2018 w 2335"/>
                <a:gd name="T91" fmla="*/ 2865 h 3120"/>
                <a:gd name="T92" fmla="*/ 1842 w 2335"/>
                <a:gd name="T93" fmla="*/ 3013 h 3120"/>
                <a:gd name="T94" fmla="*/ 1737 w 2335"/>
                <a:gd name="T95" fmla="*/ 3069 h 3120"/>
                <a:gd name="T96" fmla="*/ 1634 w 2335"/>
                <a:gd name="T97" fmla="*/ 3107 h 3120"/>
                <a:gd name="T98" fmla="*/ 1540 w 2335"/>
                <a:gd name="T99" fmla="*/ 3119 h 3120"/>
                <a:gd name="T100" fmla="*/ 1404 w 2335"/>
                <a:gd name="T101" fmla="*/ 3115 h 3120"/>
                <a:gd name="T102" fmla="*/ 1285 w 2335"/>
                <a:gd name="T103" fmla="*/ 3093 h 3120"/>
                <a:gd name="T104" fmla="*/ 1162 w 2335"/>
                <a:gd name="T105" fmla="*/ 3053 h 3120"/>
                <a:gd name="T106" fmla="*/ 1038 w 2335"/>
                <a:gd name="T107" fmla="*/ 2997 h 3120"/>
                <a:gd name="T108" fmla="*/ 912 w 2335"/>
                <a:gd name="T109" fmla="*/ 2922 h 3120"/>
                <a:gd name="T110" fmla="*/ 784 w 2335"/>
                <a:gd name="T111" fmla="*/ 2830 h 3120"/>
                <a:gd name="T112" fmla="*/ 656 w 2335"/>
                <a:gd name="T113" fmla="*/ 2721 h 3120"/>
                <a:gd name="T114" fmla="*/ 528 w 2335"/>
                <a:gd name="T115" fmla="*/ 2593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35" h="3120">
                  <a:moveTo>
                    <a:pt x="496" y="2559"/>
                  </a:moveTo>
                  <a:lnTo>
                    <a:pt x="427" y="2478"/>
                  </a:lnTo>
                  <a:lnTo>
                    <a:pt x="395" y="2437"/>
                  </a:lnTo>
                  <a:lnTo>
                    <a:pt x="363" y="2397"/>
                  </a:lnTo>
                  <a:lnTo>
                    <a:pt x="333" y="2359"/>
                  </a:lnTo>
                  <a:lnTo>
                    <a:pt x="304" y="2322"/>
                  </a:lnTo>
                  <a:lnTo>
                    <a:pt x="276" y="2286"/>
                  </a:lnTo>
                  <a:lnTo>
                    <a:pt x="250" y="2251"/>
                  </a:lnTo>
                  <a:lnTo>
                    <a:pt x="227" y="2218"/>
                  </a:lnTo>
                  <a:lnTo>
                    <a:pt x="205" y="2188"/>
                  </a:lnTo>
                  <a:lnTo>
                    <a:pt x="185" y="2159"/>
                  </a:lnTo>
                  <a:lnTo>
                    <a:pt x="168" y="2133"/>
                  </a:lnTo>
                  <a:lnTo>
                    <a:pt x="152" y="2111"/>
                  </a:lnTo>
                  <a:lnTo>
                    <a:pt x="140" y="2090"/>
                  </a:lnTo>
                  <a:lnTo>
                    <a:pt x="130" y="2074"/>
                  </a:lnTo>
                  <a:lnTo>
                    <a:pt x="122" y="2060"/>
                  </a:lnTo>
                  <a:lnTo>
                    <a:pt x="100" y="2023"/>
                  </a:lnTo>
                  <a:lnTo>
                    <a:pt x="77" y="1983"/>
                  </a:lnTo>
                  <a:lnTo>
                    <a:pt x="57" y="1939"/>
                  </a:lnTo>
                  <a:lnTo>
                    <a:pt x="40" y="1892"/>
                  </a:lnTo>
                  <a:lnTo>
                    <a:pt x="24" y="1842"/>
                  </a:lnTo>
                  <a:lnTo>
                    <a:pt x="13" y="1789"/>
                  </a:lnTo>
                  <a:lnTo>
                    <a:pt x="9" y="1762"/>
                  </a:lnTo>
                  <a:lnTo>
                    <a:pt x="5" y="1733"/>
                  </a:lnTo>
                  <a:lnTo>
                    <a:pt x="3" y="1704"/>
                  </a:lnTo>
                  <a:lnTo>
                    <a:pt x="1" y="1675"/>
                  </a:lnTo>
                  <a:lnTo>
                    <a:pt x="0" y="1644"/>
                  </a:lnTo>
                  <a:lnTo>
                    <a:pt x="3" y="1613"/>
                  </a:lnTo>
                  <a:lnTo>
                    <a:pt x="5" y="1582"/>
                  </a:lnTo>
                  <a:lnTo>
                    <a:pt x="9" y="1549"/>
                  </a:lnTo>
                  <a:lnTo>
                    <a:pt x="14" y="1518"/>
                  </a:lnTo>
                  <a:lnTo>
                    <a:pt x="20" y="1485"/>
                  </a:lnTo>
                  <a:lnTo>
                    <a:pt x="28" y="1451"/>
                  </a:lnTo>
                  <a:lnTo>
                    <a:pt x="39" y="1417"/>
                  </a:lnTo>
                  <a:lnTo>
                    <a:pt x="50" y="1382"/>
                  </a:lnTo>
                  <a:lnTo>
                    <a:pt x="63" y="1347"/>
                  </a:lnTo>
                  <a:lnTo>
                    <a:pt x="79" y="1310"/>
                  </a:lnTo>
                  <a:lnTo>
                    <a:pt x="95" y="1274"/>
                  </a:lnTo>
                  <a:lnTo>
                    <a:pt x="115" y="1237"/>
                  </a:lnTo>
                  <a:lnTo>
                    <a:pt x="136" y="1200"/>
                  </a:lnTo>
                  <a:lnTo>
                    <a:pt x="158" y="1163"/>
                  </a:lnTo>
                  <a:lnTo>
                    <a:pt x="184" y="1125"/>
                  </a:lnTo>
                  <a:lnTo>
                    <a:pt x="224" y="1068"/>
                  </a:lnTo>
                  <a:lnTo>
                    <a:pt x="264" y="1014"/>
                  </a:lnTo>
                  <a:lnTo>
                    <a:pt x="302" y="961"/>
                  </a:lnTo>
                  <a:lnTo>
                    <a:pt x="339" y="911"/>
                  </a:lnTo>
                  <a:lnTo>
                    <a:pt x="375" y="861"/>
                  </a:lnTo>
                  <a:lnTo>
                    <a:pt x="411" y="815"/>
                  </a:lnTo>
                  <a:lnTo>
                    <a:pt x="447" y="769"/>
                  </a:lnTo>
                  <a:lnTo>
                    <a:pt x="483" y="723"/>
                  </a:lnTo>
                  <a:lnTo>
                    <a:pt x="554" y="637"/>
                  </a:lnTo>
                  <a:lnTo>
                    <a:pt x="625" y="551"/>
                  </a:lnTo>
                  <a:lnTo>
                    <a:pt x="699" y="465"/>
                  </a:lnTo>
                  <a:lnTo>
                    <a:pt x="738" y="422"/>
                  </a:lnTo>
                  <a:lnTo>
                    <a:pt x="776" y="377"/>
                  </a:lnTo>
                  <a:lnTo>
                    <a:pt x="1110" y="0"/>
                  </a:lnTo>
                  <a:lnTo>
                    <a:pt x="1277" y="433"/>
                  </a:lnTo>
                  <a:lnTo>
                    <a:pt x="1026" y="627"/>
                  </a:lnTo>
                  <a:lnTo>
                    <a:pt x="1025" y="628"/>
                  </a:lnTo>
                  <a:lnTo>
                    <a:pt x="1021" y="632"/>
                  </a:lnTo>
                  <a:lnTo>
                    <a:pt x="1017" y="637"/>
                  </a:lnTo>
                  <a:lnTo>
                    <a:pt x="1011" y="645"/>
                  </a:lnTo>
                  <a:lnTo>
                    <a:pt x="1003" y="654"/>
                  </a:lnTo>
                  <a:lnTo>
                    <a:pt x="993" y="666"/>
                  </a:lnTo>
                  <a:lnTo>
                    <a:pt x="981" y="679"/>
                  </a:lnTo>
                  <a:lnTo>
                    <a:pt x="969" y="695"/>
                  </a:lnTo>
                  <a:lnTo>
                    <a:pt x="954" y="711"/>
                  </a:lnTo>
                  <a:lnTo>
                    <a:pt x="940" y="730"/>
                  </a:lnTo>
                  <a:lnTo>
                    <a:pt x="923" y="749"/>
                  </a:lnTo>
                  <a:lnTo>
                    <a:pt x="906" y="770"/>
                  </a:lnTo>
                  <a:lnTo>
                    <a:pt x="887" y="792"/>
                  </a:lnTo>
                  <a:lnTo>
                    <a:pt x="868" y="815"/>
                  </a:lnTo>
                  <a:lnTo>
                    <a:pt x="827" y="864"/>
                  </a:lnTo>
                  <a:lnTo>
                    <a:pt x="783" y="917"/>
                  </a:lnTo>
                  <a:lnTo>
                    <a:pt x="738" y="973"/>
                  </a:lnTo>
                  <a:lnTo>
                    <a:pt x="691" y="1029"/>
                  </a:lnTo>
                  <a:lnTo>
                    <a:pt x="645" y="1087"/>
                  </a:lnTo>
                  <a:lnTo>
                    <a:pt x="597" y="1145"/>
                  </a:lnTo>
                  <a:lnTo>
                    <a:pt x="552" y="1202"/>
                  </a:lnTo>
                  <a:lnTo>
                    <a:pt x="507" y="1258"/>
                  </a:lnTo>
                  <a:lnTo>
                    <a:pt x="465" y="1313"/>
                  </a:lnTo>
                  <a:lnTo>
                    <a:pt x="445" y="1341"/>
                  </a:lnTo>
                  <a:lnTo>
                    <a:pt x="428" y="1369"/>
                  </a:lnTo>
                  <a:lnTo>
                    <a:pt x="412" y="1397"/>
                  </a:lnTo>
                  <a:lnTo>
                    <a:pt x="399" y="1423"/>
                  </a:lnTo>
                  <a:lnTo>
                    <a:pt x="388" y="1448"/>
                  </a:lnTo>
                  <a:lnTo>
                    <a:pt x="378" y="1474"/>
                  </a:lnTo>
                  <a:lnTo>
                    <a:pt x="370" y="1498"/>
                  </a:lnTo>
                  <a:lnTo>
                    <a:pt x="363" y="1522"/>
                  </a:lnTo>
                  <a:lnTo>
                    <a:pt x="358" y="1544"/>
                  </a:lnTo>
                  <a:lnTo>
                    <a:pt x="354" y="1566"/>
                  </a:lnTo>
                  <a:lnTo>
                    <a:pt x="350" y="1587"/>
                  </a:lnTo>
                  <a:lnTo>
                    <a:pt x="349" y="1607"/>
                  </a:lnTo>
                  <a:lnTo>
                    <a:pt x="348" y="1644"/>
                  </a:lnTo>
                  <a:lnTo>
                    <a:pt x="351" y="1678"/>
                  </a:lnTo>
                  <a:lnTo>
                    <a:pt x="358" y="1709"/>
                  </a:lnTo>
                  <a:lnTo>
                    <a:pt x="365" y="1735"/>
                  </a:lnTo>
                  <a:lnTo>
                    <a:pt x="373" y="1758"/>
                  </a:lnTo>
                  <a:lnTo>
                    <a:pt x="381" y="1777"/>
                  </a:lnTo>
                  <a:lnTo>
                    <a:pt x="390" y="1792"/>
                  </a:lnTo>
                  <a:lnTo>
                    <a:pt x="393" y="1798"/>
                  </a:lnTo>
                  <a:lnTo>
                    <a:pt x="396" y="1802"/>
                  </a:lnTo>
                  <a:lnTo>
                    <a:pt x="399" y="1806"/>
                  </a:lnTo>
                  <a:lnTo>
                    <a:pt x="401" y="1809"/>
                  </a:lnTo>
                  <a:lnTo>
                    <a:pt x="402" y="1810"/>
                  </a:lnTo>
                  <a:lnTo>
                    <a:pt x="402" y="1811"/>
                  </a:lnTo>
                  <a:lnTo>
                    <a:pt x="403" y="1811"/>
                  </a:lnTo>
                  <a:lnTo>
                    <a:pt x="404" y="1813"/>
                  </a:lnTo>
                  <a:lnTo>
                    <a:pt x="406" y="1816"/>
                  </a:lnTo>
                  <a:lnTo>
                    <a:pt x="409" y="1821"/>
                  </a:lnTo>
                  <a:lnTo>
                    <a:pt x="413" y="1827"/>
                  </a:lnTo>
                  <a:lnTo>
                    <a:pt x="418" y="1833"/>
                  </a:lnTo>
                  <a:lnTo>
                    <a:pt x="423" y="1841"/>
                  </a:lnTo>
                  <a:lnTo>
                    <a:pt x="429" y="1849"/>
                  </a:lnTo>
                  <a:lnTo>
                    <a:pt x="443" y="1870"/>
                  </a:lnTo>
                  <a:lnTo>
                    <a:pt x="460" y="1895"/>
                  </a:lnTo>
                  <a:lnTo>
                    <a:pt x="480" y="1921"/>
                  </a:lnTo>
                  <a:lnTo>
                    <a:pt x="502" y="1952"/>
                  </a:lnTo>
                  <a:lnTo>
                    <a:pt x="528" y="1985"/>
                  </a:lnTo>
                  <a:lnTo>
                    <a:pt x="555" y="2020"/>
                  </a:lnTo>
                  <a:lnTo>
                    <a:pt x="584" y="2058"/>
                  </a:lnTo>
                  <a:lnTo>
                    <a:pt x="616" y="2096"/>
                  </a:lnTo>
                  <a:lnTo>
                    <a:pt x="649" y="2138"/>
                  </a:lnTo>
                  <a:lnTo>
                    <a:pt x="684" y="2179"/>
                  </a:lnTo>
                  <a:lnTo>
                    <a:pt x="720" y="2220"/>
                  </a:lnTo>
                  <a:lnTo>
                    <a:pt x="758" y="2263"/>
                  </a:lnTo>
                  <a:lnTo>
                    <a:pt x="797" y="2305"/>
                  </a:lnTo>
                  <a:lnTo>
                    <a:pt x="839" y="2347"/>
                  </a:lnTo>
                  <a:lnTo>
                    <a:pt x="880" y="2388"/>
                  </a:lnTo>
                  <a:lnTo>
                    <a:pt x="922" y="2429"/>
                  </a:lnTo>
                  <a:lnTo>
                    <a:pt x="967" y="2468"/>
                  </a:lnTo>
                  <a:lnTo>
                    <a:pt x="1011" y="2505"/>
                  </a:lnTo>
                  <a:lnTo>
                    <a:pt x="1055" y="2540"/>
                  </a:lnTo>
                  <a:lnTo>
                    <a:pt x="1101" y="2573"/>
                  </a:lnTo>
                  <a:lnTo>
                    <a:pt x="1146" y="2604"/>
                  </a:lnTo>
                  <a:lnTo>
                    <a:pt x="1192" y="2631"/>
                  </a:lnTo>
                  <a:lnTo>
                    <a:pt x="1237" y="2656"/>
                  </a:lnTo>
                  <a:lnTo>
                    <a:pt x="1284" y="2676"/>
                  </a:lnTo>
                  <a:lnTo>
                    <a:pt x="1306" y="2685"/>
                  </a:lnTo>
                  <a:lnTo>
                    <a:pt x="1329" y="2693"/>
                  </a:lnTo>
                  <a:lnTo>
                    <a:pt x="1351" y="2699"/>
                  </a:lnTo>
                  <a:lnTo>
                    <a:pt x="1373" y="2704"/>
                  </a:lnTo>
                  <a:lnTo>
                    <a:pt x="1396" y="2709"/>
                  </a:lnTo>
                  <a:lnTo>
                    <a:pt x="1418" y="2712"/>
                  </a:lnTo>
                  <a:lnTo>
                    <a:pt x="1441" y="2714"/>
                  </a:lnTo>
                  <a:lnTo>
                    <a:pt x="1462" y="2714"/>
                  </a:lnTo>
                  <a:lnTo>
                    <a:pt x="1555" y="2714"/>
                  </a:lnTo>
                  <a:lnTo>
                    <a:pt x="1581" y="2713"/>
                  </a:lnTo>
                  <a:lnTo>
                    <a:pt x="1607" y="2710"/>
                  </a:lnTo>
                  <a:lnTo>
                    <a:pt x="1632" y="2706"/>
                  </a:lnTo>
                  <a:lnTo>
                    <a:pt x="1656" y="2699"/>
                  </a:lnTo>
                  <a:lnTo>
                    <a:pt x="1680" y="2691"/>
                  </a:lnTo>
                  <a:lnTo>
                    <a:pt x="1704" y="2681"/>
                  </a:lnTo>
                  <a:lnTo>
                    <a:pt x="1727" y="2669"/>
                  </a:lnTo>
                  <a:lnTo>
                    <a:pt x="1749" y="2657"/>
                  </a:lnTo>
                  <a:lnTo>
                    <a:pt x="1771" y="2642"/>
                  </a:lnTo>
                  <a:lnTo>
                    <a:pt x="1793" y="2628"/>
                  </a:lnTo>
                  <a:lnTo>
                    <a:pt x="1814" y="2611"/>
                  </a:lnTo>
                  <a:lnTo>
                    <a:pt x="1835" y="2594"/>
                  </a:lnTo>
                  <a:lnTo>
                    <a:pt x="1875" y="2556"/>
                  </a:lnTo>
                  <a:lnTo>
                    <a:pt x="1915" y="2516"/>
                  </a:lnTo>
                  <a:lnTo>
                    <a:pt x="1954" y="2473"/>
                  </a:lnTo>
                  <a:lnTo>
                    <a:pt x="1992" y="2430"/>
                  </a:lnTo>
                  <a:lnTo>
                    <a:pt x="2029" y="2386"/>
                  </a:lnTo>
                  <a:lnTo>
                    <a:pt x="2065" y="2343"/>
                  </a:lnTo>
                  <a:lnTo>
                    <a:pt x="2101" y="2299"/>
                  </a:lnTo>
                  <a:lnTo>
                    <a:pt x="2137" y="2258"/>
                  </a:lnTo>
                  <a:lnTo>
                    <a:pt x="2173" y="2220"/>
                  </a:lnTo>
                  <a:lnTo>
                    <a:pt x="2192" y="2202"/>
                  </a:lnTo>
                  <a:lnTo>
                    <a:pt x="2210" y="2185"/>
                  </a:lnTo>
                  <a:lnTo>
                    <a:pt x="2335" y="2371"/>
                  </a:lnTo>
                  <a:lnTo>
                    <a:pt x="2241" y="2559"/>
                  </a:lnTo>
                  <a:lnTo>
                    <a:pt x="2234" y="2568"/>
                  </a:lnTo>
                  <a:lnTo>
                    <a:pt x="2228" y="2579"/>
                  </a:lnTo>
                  <a:lnTo>
                    <a:pt x="2220" y="2591"/>
                  </a:lnTo>
                  <a:lnTo>
                    <a:pt x="2212" y="2604"/>
                  </a:lnTo>
                  <a:lnTo>
                    <a:pt x="2202" y="2619"/>
                  </a:lnTo>
                  <a:lnTo>
                    <a:pt x="2193" y="2634"/>
                  </a:lnTo>
                  <a:lnTo>
                    <a:pt x="2171" y="2668"/>
                  </a:lnTo>
                  <a:lnTo>
                    <a:pt x="2146" y="2704"/>
                  </a:lnTo>
                  <a:lnTo>
                    <a:pt x="2119" y="2743"/>
                  </a:lnTo>
                  <a:lnTo>
                    <a:pt x="2088" y="2783"/>
                  </a:lnTo>
                  <a:lnTo>
                    <a:pt x="2054" y="2824"/>
                  </a:lnTo>
                  <a:lnTo>
                    <a:pt x="2018" y="2865"/>
                  </a:lnTo>
                  <a:lnTo>
                    <a:pt x="1978" y="2905"/>
                  </a:lnTo>
                  <a:lnTo>
                    <a:pt x="1936" y="2943"/>
                  </a:lnTo>
                  <a:lnTo>
                    <a:pt x="1891" y="2980"/>
                  </a:lnTo>
                  <a:lnTo>
                    <a:pt x="1842" y="3013"/>
                  </a:lnTo>
                  <a:lnTo>
                    <a:pt x="1817" y="3029"/>
                  </a:lnTo>
                  <a:lnTo>
                    <a:pt x="1792" y="3043"/>
                  </a:lnTo>
                  <a:lnTo>
                    <a:pt x="1765" y="3056"/>
                  </a:lnTo>
                  <a:lnTo>
                    <a:pt x="1737" y="3069"/>
                  </a:lnTo>
                  <a:lnTo>
                    <a:pt x="1709" y="3079"/>
                  </a:lnTo>
                  <a:lnTo>
                    <a:pt x="1680" y="3088"/>
                  </a:lnTo>
                  <a:lnTo>
                    <a:pt x="1657" y="3099"/>
                  </a:lnTo>
                  <a:lnTo>
                    <a:pt x="1634" y="3107"/>
                  </a:lnTo>
                  <a:lnTo>
                    <a:pt x="1610" y="3112"/>
                  </a:lnTo>
                  <a:lnTo>
                    <a:pt x="1587" y="3116"/>
                  </a:lnTo>
                  <a:lnTo>
                    <a:pt x="1563" y="3118"/>
                  </a:lnTo>
                  <a:lnTo>
                    <a:pt x="1540" y="3119"/>
                  </a:lnTo>
                  <a:lnTo>
                    <a:pt x="1493" y="3120"/>
                  </a:lnTo>
                  <a:lnTo>
                    <a:pt x="1463" y="3119"/>
                  </a:lnTo>
                  <a:lnTo>
                    <a:pt x="1434" y="3118"/>
                  </a:lnTo>
                  <a:lnTo>
                    <a:pt x="1404" y="3115"/>
                  </a:lnTo>
                  <a:lnTo>
                    <a:pt x="1374" y="3111"/>
                  </a:lnTo>
                  <a:lnTo>
                    <a:pt x="1345" y="3106"/>
                  </a:lnTo>
                  <a:lnTo>
                    <a:pt x="1315" y="3101"/>
                  </a:lnTo>
                  <a:lnTo>
                    <a:pt x="1285" y="3093"/>
                  </a:lnTo>
                  <a:lnTo>
                    <a:pt x="1254" y="3085"/>
                  </a:lnTo>
                  <a:lnTo>
                    <a:pt x="1224" y="3076"/>
                  </a:lnTo>
                  <a:lnTo>
                    <a:pt x="1193" y="3066"/>
                  </a:lnTo>
                  <a:lnTo>
                    <a:pt x="1162" y="3053"/>
                  </a:lnTo>
                  <a:lnTo>
                    <a:pt x="1131" y="3041"/>
                  </a:lnTo>
                  <a:lnTo>
                    <a:pt x="1100" y="3028"/>
                  </a:lnTo>
                  <a:lnTo>
                    <a:pt x="1069" y="3013"/>
                  </a:lnTo>
                  <a:lnTo>
                    <a:pt x="1038" y="2997"/>
                  </a:lnTo>
                  <a:lnTo>
                    <a:pt x="1006" y="2980"/>
                  </a:lnTo>
                  <a:lnTo>
                    <a:pt x="975" y="2962"/>
                  </a:lnTo>
                  <a:lnTo>
                    <a:pt x="943" y="2942"/>
                  </a:lnTo>
                  <a:lnTo>
                    <a:pt x="912" y="2922"/>
                  </a:lnTo>
                  <a:lnTo>
                    <a:pt x="880" y="2901"/>
                  </a:lnTo>
                  <a:lnTo>
                    <a:pt x="848" y="2878"/>
                  </a:lnTo>
                  <a:lnTo>
                    <a:pt x="816" y="2855"/>
                  </a:lnTo>
                  <a:lnTo>
                    <a:pt x="784" y="2830"/>
                  </a:lnTo>
                  <a:lnTo>
                    <a:pt x="752" y="2804"/>
                  </a:lnTo>
                  <a:lnTo>
                    <a:pt x="720" y="2777"/>
                  </a:lnTo>
                  <a:lnTo>
                    <a:pt x="688" y="2749"/>
                  </a:lnTo>
                  <a:lnTo>
                    <a:pt x="656" y="2721"/>
                  </a:lnTo>
                  <a:lnTo>
                    <a:pt x="624" y="2691"/>
                  </a:lnTo>
                  <a:lnTo>
                    <a:pt x="592" y="2659"/>
                  </a:lnTo>
                  <a:lnTo>
                    <a:pt x="560" y="2627"/>
                  </a:lnTo>
                  <a:lnTo>
                    <a:pt x="528" y="2593"/>
                  </a:lnTo>
                  <a:lnTo>
                    <a:pt x="496" y="2559"/>
                  </a:lnTo>
                  <a:lnTo>
                    <a:pt x="496" y="25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5" name="Freeform 43"/>
            <p:cNvSpPr>
              <a:spLocks/>
            </p:cNvSpPr>
            <p:nvPr/>
          </p:nvSpPr>
          <p:spPr bwMode="auto">
            <a:xfrm>
              <a:off x="-986390" y="340396"/>
              <a:ext cx="477832" cy="651044"/>
            </a:xfrm>
            <a:custGeom>
              <a:avLst/>
              <a:gdLst>
                <a:gd name="T0" fmla="*/ 77 w 2403"/>
                <a:gd name="T1" fmla="*/ 3032 h 3283"/>
                <a:gd name="T2" fmla="*/ 19 w 2403"/>
                <a:gd name="T3" fmla="*/ 2902 h 3283"/>
                <a:gd name="T4" fmla="*/ 1 w 2403"/>
                <a:gd name="T5" fmla="*/ 2781 h 3283"/>
                <a:gd name="T6" fmla="*/ 2 w 2403"/>
                <a:gd name="T7" fmla="*/ 2687 h 3283"/>
                <a:gd name="T8" fmla="*/ 377 w 2403"/>
                <a:gd name="T9" fmla="*/ 2720 h 3283"/>
                <a:gd name="T10" fmla="*/ 376 w 2403"/>
                <a:gd name="T11" fmla="*/ 2729 h 3283"/>
                <a:gd name="T12" fmla="*/ 378 w 2403"/>
                <a:gd name="T13" fmla="*/ 2789 h 3283"/>
                <a:gd name="T14" fmla="*/ 409 w 2403"/>
                <a:gd name="T15" fmla="*/ 2868 h 3283"/>
                <a:gd name="T16" fmla="*/ 453 w 2403"/>
                <a:gd name="T17" fmla="*/ 2911 h 3283"/>
                <a:gd name="T18" fmla="*/ 508 w 2403"/>
                <a:gd name="T19" fmla="*/ 2932 h 3283"/>
                <a:gd name="T20" fmla="*/ 1748 w 2403"/>
                <a:gd name="T21" fmla="*/ 2941 h 3283"/>
                <a:gd name="T22" fmla="*/ 1875 w 2403"/>
                <a:gd name="T23" fmla="*/ 2914 h 3283"/>
                <a:gd name="T24" fmla="*/ 1974 w 2403"/>
                <a:gd name="T25" fmla="*/ 2840 h 3283"/>
                <a:gd name="T26" fmla="*/ 2037 w 2403"/>
                <a:gd name="T27" fmla="*/ 2731 h 3283"/>
                <a:gd name="T28" fmla="*/ 2060 w 2403"/>
                <a:gd name="T29" fmla="*/ 2598 h 3283"/>
                <a:gd name="T30" fmla="*/ 2036 w 2403"/>
                <a:gd name="T31" fmla="*/ 2461 h 3283"/>
                <a:gd name="T32" fmla="*/ 1982 w 2403"/>
                <a:gd name="T33" fmla="*/ 2342 h 3283"/>
                <a:gd name="T34" fmla="*/ 1930 w 2403"/>
                <a:gd name="T35" fmla="*/ 2257 h 3283"/>
                <a:gd name="T36" fmla="*/ 1907 w 2403"/>
                <a:gd name="T37" fmla="*/ 2226 h 3283"/>
                <a:gd name="T38" fmla="*/ 1906 w 2403"/>
                <a:gd name="T39" fmla="*/ 2217 h 3283"/>
                <a:gd name="T40" fmla="*/ 1908 w 2403"/>
                <a:gd name="T41" fmla="*/ 2166 h 3283"/>
                <a:gd name="T42" fmla="*/ 1911 w 2403"/>
                <a:gd name="T43" fmla="*/ 2073 h 3283"/>
                <a:gd name="T44" fmla="*/ 1913 w 2403"/>
                <a:gd name="T45" fmla="*/ 1952 h 3283"/>
                <a:gd name="T46" fmla="*/ 1910 w 2403"/>
                <a:gd name="T47" fmla="*/ 1675 h 3283"/>
                <a:gd name="T48" fmla="*/ 1899 w 2403"/>
                <a:gd name="T49" fmla="*/ 1512 h 3283"/>
                <a:gd name="T50" fmla="*/ 1882 w 2403"/>
                <a:gd name="T51" fmla="*/ 1404 h 3283"/>
                <a:gd name="T52" fmla="*/ 1827 w 2403"/>
                <a:gd name="T53" fmla="*/ 1248 h 3283"/>
                <a:gd name="T54" fmla="*/ 1769 w 2403"/>
                <a:gd name="T55" fmla="*/ 1094 h 3283"/>
                <a:gd name="T56" fmla="*/ 1714 w 2403"/>
                <a:gd name="T57" fmla="*/ 965 h 3283"/>
                <a:gd name="T58" fmla="*/ 1618 w 2403"/>
                <a:gd name="T59" fmla="*/ 773 h 3283"/>
                <a:gd name="T60" fmla="*/ 1484 w 2403"/>
                <a:gd name="T61" fmla="*/ 567 h 3283"/>
                <a:gd name="T62" fmla="*/ 1373 w 2403"/>
                <a:gd name="T63" fmla="*/ 423 h 3283"/>
                <a:gd name="T64" fmla="*/ 1853 w 2403"/>
                <a:gd name="T65" fmla="*/ 489 h 3283"/>
                <a:gd name="T66" fmla="*/ 1888 w 2403"/>
                <a:gd name="T67" fmla="*/ 544 h 3283"/>
                <a:gd name="T68" fmla="*/ 1936 w 2403"/>
                <a:gd name="T69" fmla="*/ 622 h 3283"/>
                <a:gd name="T70" fmla="*/ 2034 w 2403"/>
                <a:gd name="T71" fmla="*/ 796 h 3283"/>
                <a:gd name="T72" fmla="*/ 2144 w 2403"/>
                <a:gd name="T73" fmla="*/ 1019 h 3283"/>
                <a:gd name="T74" fmla="*/ 2214 w 2403"/>
                <a:gd name="T75" fmla="*/ 1205 h 3283"/>
                <a:gd name="T76" fmla="*/ 2238 w 2403"/>
                <a:gd name="T77" fmla="*/ 1318 h 3283"/>
                <a:gd name="T78" fmla="*/ 2256 w 2403"/>
                <a:gd name="T79" fmla="*/ 1534 h 3283"/>
                <a:gd name="T80" fmla="*/ 2254 w 2403"/>
                <a:gd name="T81" fmla="*/ 1832 h 3283"/>
                <a:gd name="T82" fmla="*/ 2249 w 2403"/>
                <a:gd name="T83" fmla="*/ 2052 h 3283"/>
                <a:gd name="T84" fmla="*/ 2338 w 2403"/>
                <a:gd name="T85" fmla="*/ 2254 h 3283"/>
                <a:gd name="T86" fmla="*/ 2379 w 2403"/>
                <a:gd name="T87" fmla="*/ 2372 h 3283"/>
                <a:gd name="T88" fmla="*/ 2400 w 2403"/>
                <a:gd name="T89" fmla="*/ 2500 h 3283"/>
                <a:gd name="T90" fmla="*/ 2399 w 2403"/>
                <a:gd name="T91" fmla="*/ 2644 h 3283"/>
                <a:gd name="T92" fmla="*/ 2375 w 2403"/>
                <a:gd name="T93" fmla="*/ 2785 h 3283"/>
                <a:gd name="T94" fmla="*/ 2326 w 2403"/>
                <a:gd name="T95" fmla="*/ 2914 h 3283"/>
                <a:gd name="T96" fmla="*/ 2257 w 2403"/>
                <a:gd name="T97" fmla="*/ 3028 h 3283"/>
                <a:gd name="T98" fmla="*/ 2169 w 2403"/>
                <a:gd name="T99" fmla="*/ 3124 h 3283"/>
                <a:gd name="T100" fmla="*/ 2065 w 2403"/>
                <a:gd name="T101" fmla="*/ 3200 h 3283"/>
                <a:gd name="T102" fmla="*/ 1946 w 2403"/>
                <a:gd name="T103" fmla="*/ 3252 h 3283"/>
                <a:gd name="T104" fmla="*/ 1816 w 2403"/>
                <a:gd name="T105" fmla="*/ 3280 h 3283"/>
                <a:gd name="T106" fmla="*/ 528 w 2403"/>
                <a:gd name="T107" fmla="*/ 3280 h 3283"/>
                <a:gd name="T108" fmla="*/ 398 w 2403"/>
                <a:gd name="T109" fmla="*/ 3263 h 3283"/>
                <a:gd name="T110" fmla="*/ 282 w 2403"/>
                <a:gd name="T111" fmla="*/ 3221 h 3283"/>
                <a:gd name="T112" fmla="*/ 185 w 2403"/>
                <a:gd name="T113" fmla="*/ 3157 h 3283"/>
                <a:gd name="T114" fmla="*/ 126 w 2403"/>
                <a:gd name="T115" fmla="*/ 3093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03" h="3283">
                  <a:moveTo>
                    <a:pt x="126" y="3093"/>
                  </a:moveTo>
                  <a:lnTo>
                    <a:pt x="113" y="3078"/>
                  </a:lnTo>
                  <a:lnTo>
                    <a:pt x="99" y="3063"/>
                  </a:lnTo>
                  <a:lnTo>
                    <a:pt x="77" y="3032"/>
                  </a:lnTo>
                  <a:lnTo>
                    <a:pt x="57" y="3000"/>
                  </a:lnTo>
                  <a:lnTo>
                    <a:pt x="42" y="2967"/>
                  </a:lnTo>
                  <a:lnTo>
                    <a:pt x="29" y="2935"/>
                  </a:lnTo>
                  <a:lnTo>
                    <a:pt x="19" y="2902"/>
                  </a:lnTo>
                  <a:lnTo>
                    <a:pt x="12" y="2870"/>
                  </a:lnTo>
                  <a:lnTo>
                    <a:pt x="6" y="2839"/>
                  </a:lnTo>
                  <a:lnTo>
                    <a:pt x="3" y="2809"/>
                  </a:lnTo>
                  <a:lnTo>
                    <a:pt x="1" y="2781"/>
                  </a:lnTo>
                  <a:lnTo>
                    <a:pt x="0" y="2754"/>
                  </a:lnTo>
                  <a:lnTo>
                    <a:pt x="0" y="2729"/>
                  </a:lnTo>
                  <a:lnTo>
                    <a:pt x="1" y="2706"/>
                  </a:lnTo>
                  <a:lnTo>
                    <a:pt x="2" y="2687"/>
                  </a:lnTo>
                  <a:lnTo>
                    <a:pt x="2" y="2669"/>
                  </a:lnTo>
                  <a:lnTo>
                    <a:pt x="3" y="2656"/>
                  </a:lnTo>
                  <a:lnTo>
                    <a:pt x="341" y="2331"/>
                  </a:lnTo>
                  <a:lnTo>
                    <a:pt x="377" y="2720"/>
                  </a:lnTo>
                  <a:lnTo>
                    <a:pt x="377" y="2720"/>
                  </a:lnTo>
                  <a:lnTo>
                    <a:pt x="376" y="2722"/>
                  </a:lnTo>
                  <a:lnTo>
                    <a:pt x="376" y="2725"/>
                  </a:lnTo>
                  <a:lnTo>
                    <a:pt x="376" y="2729"/>
                  </a:lnTo>
                  <a:lnTo>
                    <a:pt x="375" y="2739"/>
                  </a:lnTo>
                  <a:lnTo>
                    <a:pt x="375" y="2754"/>
                  </a:lnTo>
                  <a:lnTo>
                    <a:pt x="376" y="2770"/>
                  </a:lnTo>
                  <a:lnTo>
                    <a:pt x="378" y="2789"/>
                  </a:lnTo>
                  <a:lnTo>
                    <a:pt x="382" y="2808"/>
                  </a:lnTo>
                  <a:lnTo>
                    <a:pt x="388" y="2829"/>
                  </a:lnTo>
                  <a:lnTo>
                    <a:pt x="397" y="2849"/>
                  </a:lnTo>
                  <a:lnTo>
                    <a:pt x="409" y="2868"/>
                  </a:lnTo>
                  <a:lnTo>
                    <a:pt x="424" y="2887"/>
                  </a:lnTo>
                  <a:lnTo>
                    <a:pt x="433" y="2896"/>
                  </a:lnTo>
                  <a:lnTo>
                    <a:pt x="442" y="2903"/>
                  </a:lnTo>
                  <a:lnTo>
                    <a:pt x="453" y="2911"/>
                  </a:lnTo>
                  <a:lnTo>
                    <a:pt x="466" y="2918"/>
                  </a:lnTo>
                  <a:lnTo>
                    <a:pt x="478" y="2924"/>
                  </a:lnTo>
                  <a:lnTo>
                    <a:pt x="493" y="2929"/>
                  </a:lnTo>
                  <a:lnTo>
                    <a:pt x="508" y="2932"/>
                  </a:lnTo>
                  <a:lnTo>
                    <a:pt x="526" y="2935"/>
                  </a:lnTo>
                  <a:lnTo>
                    <a:pt x="544" y="2937"/>
                  </a:lnTo>
                  <a:lnTo>
                    <a:pt x="564" y="2938"/>
                  </a:lnTo>
                  <a:lnTo>
                    <a:pt x="1748" y="2941"/>
                  </a:lnTo>
                  <a:lnTo>
                    <a:pt x="1782" y="2939"/>
                  </a:lnTo>
                  <a:lnTo>
                    <a:pt x="1815" y="2934"/>
                  </a:lnTo>
                  <a:lnTo>
                    <a:pt x="1846" y="2926"/>
                  </a:lnTo>
                  <a:lnTo>
                    <a:pt x="1875" y="2914"/>
                  </a:lnTo>
                  <a:lnTo>
                    <a:pt x="1903" y="2900"/>
                  </a:lnTo>
                  <a:lnTo>
                    <a:pt x="1929" y="2883"/>
                  </a:lnTo>
                  <a:lnTo>
                    <a:pt x="1952" y="2863"/>
                  </a:lnTo>
                  <a:lnTo>
                    <a:pt x="1974" y="2840"/>
                  </a:lnTo>
                  <a:lnTo>
                    <a:pt x="1993" y="2816"/>
                  </a:lnTo>
                  <a:lnTo>
                    <a:pt x="2010" y="2790"/>
                  </a:lnTo>
                  <a:lnTo>
                    <a:pt x="2025" y="2761"/>
                  </a:lnTo>
                  <a:lnTo>
                    <a:pt x="2037" y="2731"/>
                  </a:lnTo>
                  <a:lnTo>
                    <a:pt x="2047" y="2700"/>
                  </a:lnTo>
                  <a:lnTo>
                    <a:pt x="2055" y="2667"/>
                  </a:lnTo>
                  <a:lnTo>
                    <a:pt x="2059" y="2633"/>
                  </a:lnTo>
                  <a:lnTo>
                    <a:pt x="2060" y="2598"/>
                  </a:lnTo>
                  <a:lnTo>
                    <a:pt x="2059" y="2563"/>
                  </a:lnTo>
                  <a:lnTo>
                    <a:pt x="2054" y="2529"/>
                  </a:lnTo>
                  <a:lnTo>
                    <a:pt x="2046" y="2495"/>
                  </a:lnTo>
                  <a:lnTo>
                    <a:pt x="2036" y="2461"/>
                  </a:lnTo>
                  <a:lnTo>
                    <a:pt x="2025" y="2429"/>
                  </a:lnTo>
                  <a:lnTo>
                    <a:pt x="2011" y="2398"/>
                  </a:lnTo>
                  <a:lnTo>
                    <a:pt x="1997" y="2369"/>
                  </a:lnTo>
                  <a:lnTo>
                    <a:pt x="1982" y="2342"/>
                  </a:lnTo>
                  <a:lnTo>
                    <a:pt x="1968" y="2316"/>
                  </a:lnTo>
                  <a:lnTo>
                    <a:pt x="1954" y="2293"/>
                  </a:lnTo>
                  <a:lnTo>
                    <a:pt x="1941" y="2274"/>
                  </a:lnTo>
                  <a:lnTo>
                    <a:pt x="1930" y="2257"/>
                  </a:lnTo>
                  <a:lnTo>
                    <a:pt x="1919" y="2243"/>
                  </a:lnTo>
                  <a:lnTo>
                    <a:pt x="1912" y="2233"/>
                  </a:lnTo>
                  <a:lnTo>
                    <a:pt x="1909" y="2229"/>
                  </a:lnTo>
                  <a:lnTo>
                    <a:pt x="1907" y="2226"/>
                  </a:lnTo>
                  <a:lnTo>
                    <a:pt x="1906" y="2225"/>
                  </a:lnTo>
                  <a:lnTo>
                    <a:pt x="1905" y="2224"/>
                  </a:lnTo>
                  <a:lnTo>
                    <a:pt x="1905" y="2223"/>
                  </a:lnTo>
                  <a:lnTo>
                    <a:pt x="1906" y="2217"/>
                  </a:lnTo>
                  <a:lnTo>
                    <a:pt x="1906" y="2209"/>
                  </a:lnTo>
                  <a:lnTo>
                    <a:pt x="1907" y="2198"/>
                  </a:lnTo>
                  <a:lnTo>
                    <a:pt x="1907" y="2183"/>
                  </a:lnTo>
                  <a:lnTo>
                    <a:pt x="1908" y="2166"/>
                  </a:lnTo>
                  <a:lnTo>
                    <a:pt x="1909" y="2146"/>
                  </a:lnTo>
                  <a:lnTo>
                    <a:pt x="1909" y="2123"/>
                  </a:lnTo>
                  <a:lnTo>
                    <a:pt x="1910" y="2100"/>
                  </a:lnTo>
                  <a:lnTo>
                    <a:pt x="1911" y="2073"/>
                  </a:lnTo>
                  <a:lnTo>
                    <a:pt x="1911" y="2045"/>
                  </a:lnTo>
                  <a:lnTo>
                    <a:pt x="1912" y="2016"/>
                  </a:lnTo>
                  <a:lnTo>
                    <a:pt x="1913" y="1985"/>
                  </a:lnTo>
                  <a:lnTo>
                    <a:pt x="1913" y="1952"/>
                  </a:lnTo>
                  <a:lnTo>
                    <a:pt x="1914" y="1885"/>
                  </a:lnTo>
                  <a:lnTo>
                    <a:pt x="1913" y="1816"/>
                  </a:lnTo>
                  <a:lnTo>
                    <a:pt x="1912" y="1745"/>
                  </a:lnTo>
                  <a:lnTo>
                    <a:pt x="1910" y="1675"/>
                  </a:lnTo>
                  <a:lnTo>
                    <a:pt x="1907" y="1606"/>
                  </a:lnTo>
                  <a:lnTo>
                    <a:pt x="1905" y="1573"/>
                  </a:lnTo>
                  <a:lnTo>
                    <a:pt x="1902" y="1541"/>
                  </a:lnTo>
                  <a:lnTo>
                    <a:pt x="1899" y="1512"/>
                  </a:lnTo>
                  <a:lnTo>
                    <a:pt x="1896" y="1482"/>
                  </a:lnTo>
                  <a:lnTo>
                    <a:pt x="1891" y="1454"/>
                  </a:lnTo>
                  <a:lnTo>
                    <a:pt x="1886" y="1428"/>
                  </a:lnTo>
                  <a:lnTo>
                    <a:pt x="1882" y="1404"/>
                  </a:lnTo>
                  <a:lnTo>
                    <a:pt x="1876" y="1383"/>
                  </a:lnTo>
                  <a:lnTo>
                    <a:pt x="1859" y="1336"/>
                  </a:lnTo>
                  <a:lnTo>
                    <a:pt x="1843" y="1291"/>
                  </a:lnTo>
                  <a:lnTo>
                    <a:pt x="1827" y="1248"/>
                  </a:lnTo>
                  <a:lnTo>
                    <a:pt x="1812" y="1207"/>
                  </a:lnTo>
                  <a:lnTo>
                    <a:pt x="1796" y="1167"/>
                  </a:lnTo>
                  <a:lnTo>
                    <a:pt x="1782" y="1130"/>
                  </a:lnTo>
                  <a:lnTo>
                    <a:pt x="1769" y="1094"/>
                  </a:lnTo>
                  <a:lnTo>
                    <a:pt x="1754" y="1060"/>
                  </a:lnTo>
                  <a:lnTo>
                    <a:pt x="1741" y="1026"/>
                  </a:lnTo>
                  <a:lnTo>
                    <a:pt x="1727" y="995"/>
                  </a:lnTo>
                  <a:lnTo>
                    <a:pt x="1714" y="965"/>
                  </a:lnTo>
                  <a:lnTo>
                    <a:pt x="1700" y="935"/>
                  </a:lnTo>
                  <a:lnTo>
                    <a:pt x="1674" y="878"/>
                  </a:lnTo>
                  <a:lnTo>
                    <a:pt x="1647" y="824"/>
                  </a:lnTo>
                  <a:lnTo>
                    <a:pt x="1618" y="773"/>
                  </a:lnTo>
                  <a:lnTo>
                    <a:pt x="1588" y="721"/>
                  </a:lnTo>
                  <a:lnTo>
                    <a:pt x="1556" y="671"/>
                  </a:lnTo>
                  <a:lnTo>
                    <a:pt x="1522" y="621"/>
                  </a:lnTo>
                  <a:lnTo>
                    <a:pt x="1484" y="567"/>
                  </a:lnTo>
                  <a:lnTo>
                    <a:pt x="1442" y="512"/>
                  </a:lnTo>
                  <a:lnTo>
                    <a:pt x="1421" y="484"/>
                  </a:lnTo>
                  <a:lnTo>
                    <a:pt x="1398" y="454"/>
                  </a:lnTo>
                  <a:lnTo>
                    <a:pt x="1373" y="423"/>
                  </a:lnTo>
                  <a:lnTo>
                    <a:pt x="1348" y="391"/>
                  </a:lnTo>
                  <a:lnTo>
                    <a:pt x="1488" y="0"/>
                  </a:lnTo>
                  <a:lnTo>
                    <a:pt x="1847" y="479"/>
                  </a:lnTo>
                  <a:lnTo>
                    <a:pt x="1853" y="489"/>
                  </a:lnTo>
                  <a:lnTo>
                    <a:pt x="1862" y="500"/>
                  </a:lnTo>
                  <a:lnTo>
                    <a:pt x="1870" y="513"/>
                  </a:lnTo>
                  <a:lnTo>
                    <a:pt x="1879" y="528"/>
                  </a:lnTo>
                  <a:lnTo>
                    <a:pt x="1888" y="544"/>
                  </a:lnTo>
                  <a:lnTo>
                    <a:pt x="1900" y="562"/>
                  </a:lnTo>
                  <a:lnTo>
                    <a:pt x="1911" y="580"/>
                  </a:lnTo>
                  <a:lnTo>
                    <a:pt x="1922" y="601"/>
                  </a:lnTo>
                  <a:lnTo>
                    <a:pt x="1936" y="622"/>
                  </a:lnTo>
                  <a:lnTo>
                    <a:pt x="1948" y="644"/>
                  </a:lnTo>
                  <a:lnTo>
                    <a:pt x="1976" y="692"/>
                  </a:lnTo>
                  <a:lnTo>
                    <a:pt x="2004" y="742"/>
                  </a:lnTo>
                  <a:lnTo>
                    <a:pt x="2034" y="796"/>
                  </a:lnTo>
                  <a:lnTo>
                    <a:pt x="2063" y="850"/>
                  </a:lnTo>
                  <a:lnTo>
                    <a:pt x="2091" y="906"/>
                  </a:lnTo>
                  <a:lnTo>
                    <a:pt x="2119" y="963"/>
                  </a:lnTo>
                  <a:lnTo>
                    <a:pt x="2144" y="1019"/>
                  </a:lnTo>
                  <a:lnTo>
                    <a:pt x="2167" y="1075"/>
                  </a:lnTo>
                  <a:lnTo>
                    <a:pt x="2189" y="1128"/>
                  </a:lnTo>
                  <a:lnTo>
                    <a:pt x="2206" y="1180"/>
                  </a:lnTo>
                  <a:lnTo>
                    <a:pt x="2214" y="1205"/>
                  </a:lnTo>
                  <a:lnTo>
                    <a:pt x="2220" y="1228"/>
                  </a:lnTo>
                  <a:lnTo>
                    <a:pt x="2225" y="1249"/>
                  </a:lnTo>
                  <a:lnTo>
                    <a:pt x="2230" y="1272"/>
                  </a:lnTo>
                  <a:lnTo>
                    <a:pt x="2238" y="1318"/>
                  </a:lnTo>
                  <a:lnTo>
                    <a:pt x="2246" y="1368"/>
                  </a:lnTo>
                  <a:lnTo>
                    <a:pt x="2250" y="1422"/>
                  </a:lnTo>
                  <a:lnTo>
                    <a:pt x="2254" y="1477"/>
                  </a:lnTo>
                  <a:lnTo>
                    <a:pt x="2256" y="1534"/>
                  </a:lnTo>
                  <a:lnTo>
                    <a:pt x="2257" y="1593"/>
                  </a:lnTo>
                  <a:lnTo>
                    <a:pt x="2257" y="1653"/>
                  </a:lnTo>
                  <a:lnTo>
                    <a:pt x="2256" y="1772"/>
                  </a:lnTo>
                  <a:lnTo>
                    <a:pt x="2254" y="1832"/>
                  </a:lnTo>
                  <a:lnTo>
                    <a:pt x="2253" y="1890"/>
                  </a:lnTo>
                  <a:lnTo>
                    <a:pt x="2251" y="1946"/>
                  </a:lnTo>
                  <a:lnTo>
                    <a:pt x="2250" y="2001"/>
                  </a:lnTo>
                  <a:lnTo>
                    <a:pt x="2249" y="2052"/>
                  </a:lnTo>
                  <a:lnTo>
                    <a:pt x="2249" y="2101"/>
                  </a:lnTo>
                  <a:lnTo>
                    <a:pt x="2282" y="2149"/>
                  </a:lnTo>
                  <a:lnTo>
                    <a:pt x="2312" y="2201"/>
                  </a:lnTo>
                  <a:lnTo>
                    <a:pt x="2338" y="2254"/>
                  </a:lnTo>
                  <a:lnTo>
                    <a:pt x="2350" y="2282"/>
                  </a:lnTo>
                  <a:lnTo>
                    <a:pt x="2361" y="2312"/>
                  </a:lnTo>
                  <a:lnTo>
                    <a:pt x="2370" y="2341"/>
                  </a:lnTo>
                  <a:lnTo>
                    <a:pt x="2379" y="2372"/>
                  </a:lnTo>
                  <a:lnTo>
                    <a:pt x="2386" y="2403"/>
                  </a:lnTo>
                  <a:lnTo>
                    <a:pt x="2392" y="2434"/>
                  </a:lnTo>
                  <a:lnTo>
                    <a:pt x="2397" y="2466"/>
                  </a:lnTo>
                  <a:lnTo>
                    <a:pt x="2400" y="2500"/>
                  </a:lnTo>
                  <a:lnTo>
                    <a:pt x="2402" y="2534"/>
                  </a:lnTo>
                  <a:lnTo>
                    <a:pt x="2403" y="2568"/>
                  </a:lnTo>
                  <a:lnTo>
                    <a:pt x="2402" y="2606"/>
                  </a:lnTo>
                  <a:lnTo>
                    <a:pt x="2399" y="2644"/>
                  </a:lnTo>
                  <a:lnTo>
                    <a:pt x="2395" y="2680"/>
                  </a:lnTo>
                  <a:lnTo>
                    <a:pt x="2390" y="2716"/>
                  </a:lnTo>
                  <a:lnTo>
                    <a:pt x="2383" y="2751"/>
                  </a:lnTo>
                  <a:lnTo>
                    <a:pt x="2375" y="2785"/>
                  </a:lnTo>
                  <a:lnTo>
                    <a:pt x="2364" y="2819"/>
                  </a:lnTo>
                  <a:lnTo>
                    <a:pt x="2353" y="2852"/>
                  </a:lnTo>
                  <a:lnTo>
                    <a:pt x="2341" y="2884"/>
                  </a:lnTo>
                  <a:lnTo>
                    <a:pt x="2326" y="2914"/>
                  </a:lnTo>
                  <a:lnTo>
                    <a:pt x="2311" y="2944"/>
                  </a:lnTo>
                  <a:lnTo>
                    <a:pt x="2294" y="2973"/>
                  </a:lnTo>
                  <a:lnTo>
                    <a:pt x="2275" y="3001"/>
                  </a:lnTo>
                  <a:lnTo>
                    <a:pt x="2257" y="3028"/>
                  </a:lnTo>
                  <a:lnTo>
                    <a:pt x="2236" y="3054"/>
                  </a:lnTo>
                  <a:lnTo>
                    <a:pt x="2215" y="3078"/>
                  </a:lnTo>
                  <a:lnTo>
                    <a:pt x="2193" y="3102"/>
                  </a:lnTo>
                  <a:lnTo>
                    <a:pt x="2169" y="3124"/>
                  </a:lnTo>
                  <a:lnTo>
                    <a:pt x="2144" y="3145"/>
                  </a:lnTo>
                  <a:lnTo>
                    <a:pt x="2119" y="3165"/>
                  </a:lnTo>
                  <a:lnTo>
                    <a:pt x="2092" y="3183"/>
                  </a:lnTo>
                  <a:lnTo>
                    <a:pt x="2065" y="3200"/>
                  </a:lnTo>
                  <a:lnTo>
                    <a:pt x="2036" y="3215"/>
                  </a:lnTo>
                  <a:lnTo>
                    <a:pt x="2007" y="3230"/>
                  </a:lnTo>
                  <a:lnTo>
                    <a:pt x="1977" y="3242"/>
                  </a:lnTo>
                  <a:lnTo>
                    <a:pt x="1946" y="3252"/>
                  </a:lnTo>
                  <a:lnTo>
                    <a:pt x="1914" y="3262"/>
                  </a:lnTo>
                  <a:lnTo>
                    <a:pt x="1882" y="3270"/>
                  </a:lnTo>
                  <a:lnTo>
                    <a:pt x="1849" y="3276"/>
                  </a:lnTo>
                  <a:lnTo>
                    <a:pt x="1816" y="3280"/>
                  </a:lnTo>
                  <a:lnTo>
                    <a:pt x="1781" y="3282"/>
                  </a:lnTo>
                  <a:lnTo>
                    <a:pt x="1747" y="3283"/>
                  </a:lnTo>
                  <a:lnTo>
                    <a:pt x="563" y="3281"/>
                  </a:lnTo>
                  <a:lnTo>
                    <a:pt x="528" y="3280"/>
                  </a:lnTo>
                  <a:lnTo>
                    <a:pt x="494" y="3278"/>
                  </a:lnTo>
                  <a:lnTo>
                    <a:pt x="461" y="3274"/>
                  </a:lnTo>
                  <a:lnTo>
                    <a:pt x="429" y="3269"/>
                  </a:lnTo>
                  <a:lnTo>
                    <a:pt x="398" y="3263"/>
                  </a:lnTo>
                  <a:lnTo>
                    <a:pt x="367" y="3254"/>
                  </a:lnTo>
                  <a:lnTo>
                    <a:pt x="338" y="3244"/>
                  </a:lnTo>
                  <a:lnTo>
                    <a:pt x="309" y="3234"/>
                  </a:lnTo>
                  <a:lnTo>
                    <a:pt x="282" y="3221"/>
                  </a:lnTo>
                  <a:lnTo>
                    <a:pt x="256" y="3207"/>
                  </a:lnTo>
                  <a:lnTo>
                    <a:pt x="231" y="3192"/>
                  </a:lnTo>
                  <a:lnTo>
                    <a:pt x="208" y="3175"/>
                  </a:lnTo>
                  <a:lnTo>
                    <a:pt x="185" y="3157"/>
                  </a:lnTo>
                  <a:lnTo>
                    <a:pt x="164" y="3137"/>
                  </a:lnTo>
                  <a:lnTo>
                    <a:pt x="145" y="3115"/>
                  </a:lnTo>
                  <a:lnTo>
                    <a:pt x="126" y="3093"/>
                  </a:lnTo>
                  <a:lnTo>
                    <a:pt x="126" y="30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6" name="Freeform 44"/>
            <p:cNvSpPr>
              <a:spLocks noEditPoints="1"/>
            </p:cNvSpPr>
            <p:nvPr/>
          </p:nvSpPr>
          <p:spPr bwMode="auto">
            <a:xfrm>
              <a:off x="-2575176" y="-1203590"/>
              <a:ext cx="3082012" cy="2284628"/>
            </a:xfrm>
            <a:custGeom>
              <a:avLst/>
              <a:gdLst>
                <a:gd name="T0" fmla="*/ 10977 w 15471"/>
                <a:gd name="T1" fmla="*/ 1806 h 11467"/>
                <a:gd name="T2" fmla="*/ 11863 w 15471"/>
                <a:gd name="T3" fmla="*/ 2687 h 11467"/>
                <a:gd name="T4" fmla="*/ 11965 w 15471"/>
                <a:gd name="T5" fmla="*/ 3282 h 11467"/>
                <a:gd name="T6" fmla="*/ 12755 w 15471"/>
                <a:gd name="T7" fmla="*/ 3676 h 11467"/>
                <a:gd name="T8" fmla="*/ 12767 w 15471"/>
                <a:gd name="T9" fmla="*/ 4735 h 11467"/>
                <a:gd name="T10" fmla="*/ 13108 w 15471"/>
                <a:gd name="T11" fmla="*/ 1674 h 11467"/>
                <a:gd name="T12" fmla="*/ 14652 w 15471"/>
                <a:gd name="T13" fmla="*/ 942 h 11467"/>
                <a:gd name="T14" fmla="*/ 15075 w 15471"/>
                <a:gd name="T15" fmla="*/ 4776 h 11467"/>
                <a:gd name="T16" fmla="*/ 12080 w 15471"/>
                <a:gd name="T17" fmla="*/ 6929 h 11467"/>
                <a:gd name="T18" fmla="*/ 10191 w 15471"/>
                <a:gd name="T19" fmla="*/ 5810 h 11467"/>
                <a:gd name="T20" fmla="*/ 11264 w 15471"/>
                <a:gd name="T21" fmla="*/ 7535 h 11467"/>
                <a:gd name="T22" fmla="*/ 10824 w 15471"/>
                <a:gd name="T23" fmla="*/ 8068 h 11467"/>
                <a:gd name="T24" fmla="*/ 8547 w 15471"/>
                <a:gd name="T25" fmla="*/ 6706 h 11467"/>
                <a:gd name="T26" fmla="*/ 9172 w 15471"/>
                <a:gd name="T27" fmla="*/ 8211 h 11467"/>
                <a:gd name="T28" fmla="*/ 6576 w 15471"/>
                <a:gd name="T29" fmla="*/ 11116 h 11467"/>
                <a:gd name="T30" fmla="*/ 6156 w 15471"/>
                <a:gd name="T31" fmla="*/ 9541 h 11467"/>
                <a:gd name="T32" fmla="*/ 6205 w 15471"/>
                <a:gd name="T33" fmla="*/ 9052 h 11467"/>
                <a:gd name="T34" fmla="*/ 4485 w 15471"/>
                <a:gd name="T35" fmla="*/ 9219 h 11467"/>
                <a:gd name="T36" fmla="*/ 3981 w 15471"/>
                <a:gd name="T37" fmla="*/ 10956 h 11467"/>
                <a:gd name="T38" fmla="*/ 2377 w 15471"/>
                <a:gd name="T39" fmla="*/ 9801 h 11467"/>
                <a:gd name="T40" fmla="*/ 1530 w 15471"/>
                <a:gd name="T41" fmla="*/ 7314 h 11467"/>
                <a:gd name="T42" fmla="*/ 1041 w 15471"/>
                <a:gd name="T43" fmla="*/ 5673 h 11467"/>
                <a:gd name="T44" fmla="*/ 412 w 15471"/>
                <a:gd name="T45" fmla="*/ 4456 h 11467"/>
                <a:gd name="T46" fmla="*/ 938 w 15471"/>
                <a:gd name="T47" fmla="*/ 4506 h 11467"/>
                <a:gd name="T48" fmla="*/ 1436 w 15471"/>
                <a:gd name="T49" fmla="*/ 5064 h 11467"/>
                <a:gd name="T50" fmla="*/ 4800 w 15471"/>
                <a:gd name="T51" fmla="*/ 2713 h 11467"/>
                <a:gd name="T52" fmla="*/ 3605 w 15471"/>
                <a:gd name="T53" fmla="*/ 4402 h 11467"/>
                <a:gd name="T54" fmla="*/ 3968 w 15471"/>
                <a:gd name="T55" fmla="*/ 6936 h 11467"/>
                <a:gd name="T56" fmla="*/ 6878 w 15471"/>
                <a:gd name="T57" fmla="*/ 7007 h 11467"/>
                <a:gd name="T58" fmla="*/ 8016 w 15471"/>
                <a:gd name="T59" fmla="*/ 5640 h 11467"/>
                <a:gd name="T60" fmla="*/ 7464 w 15471"/>
                <a:gd name="T61" fmla="*/ 4107 h 11467"/>
                <a:gd name="T62" fmla="*/ 7291 w 15471"/>
                <a:gd name="T63" fmla="*/ 6616 h 11467"/>
                <a:gd name="T64" fmla="*/ 4638 w 15471"/>
                <a:gd name="T65" fmla="*/ 7120 h 11467"/>
                <a:gd name="T66" fmla="*/ 3893 w 15471"/>
                <a:gd name="T67" fmla="*/ 4655 h 11467"/>
                <a:gd name="T68" fmla="*/ 7348 w 15471"/>
                <a:gd name="T69" fmla="*/ 1684 h 11467"/>
                <a:gd name="T70" fmla="*/ 7505 w 15471"/>
                <a:gd name="T71" fmla="*/ 821 h 11467"/>
                <a:gd name="T72" fmla="*/ 14394 w 15471"/>
                <a:gd name="T73" fmla="*/ 1187 h 11467"/>
                <a:gd name="T74" fmla="*/ 13401 w 15471"/>
                <a:gd name="T75" fmla="*/ 1768 h 11467"/>
                <a:gd name="T76" fmla="*/ 9509 w 15471"/>
                <a:gd name="T77" fmla="*/ 2321 h 11467"/>
                <a:gd name="T78" fmla="*/ 9002 w 15471"/>
                <a:gd name="T79" fmla="*/ 2398 h 11467"/>
                <a:gd name="T80" fmla="*/ 9753 w 15471"/>
                <a:gd name="T81" fmla="*/ 3768 h 11467"/>
                <a:gd name="T82" fmla="*/ 9917 w 15471"/>
                <a:gd name="T83" fmla="*/ 4293 h 11467"/>
                <a:gd name="T84" fmla="*/ 10789 w 15471"/>
                <a:gd name="T85" fmla="*/ 3533 h 11467"/>
                <a:gd name="T86" fmla="*/ 10668 w 15471"/>
                <a:gd name="T87" fmla="*/ 3016 h 11467"/>
                <a:gd name="T88" fmla="*/ 9418 w 15471"/>
                <a:gd name="T89" fmla="*/ 3866 h 11467"/>
                <a:gd name="T90" fmla="*/ 6560 w 15471"/>
                <a:gd name="T91" fmla="*/ 1283 h 11467"/>
                <a:gd name="T92" fmla="*/ 4869 w 15471"/>
                <a:gd name="T93" fmla="*/ 2378 h 11467"/>
                <a:gd name="T94" fmla="*/ 1533 w 15471"/>
                <a:gd name="T95" fmla="*/ 4436 h 11467"/>
                <a:gd name="T96" fmla="*/ 865 w 15471"/>
                <a:gd name="T97" fmla="*/ 3460 h 11467"/>
                <a:gd name="T98" fmla="*/ 523 w 15471"/>
                <a:gd name="T99" fmla="*/ 5835 h 11467"/>
                <a:gd name="T100" fmla="*/ 2021 w 15471"/>
                <a:gd name="T101" fmla="*/ 9156 h 11467"/>
                <a:gd name="T102" fmla="*/ 2536 w 15471"/>
                <a:gd name="T103" fmla="*/ 11188 h 11467"/>
                <a:gd name="T104" fmla="*/ 4423 w 15471"/>
                <a:gd name="T105" fmla="*/ 10332 h 11467"/>
                <a:gd name="T106" fmla="*/ 5268 w 15471"/>
                <a:gd name="T107" fmla="*/ 9942 h 11467"/>
                <a:gd name="T108" fmla="*/ 7052 w 15471"/>
                <a:gd name="T109" fmla="*/ 11297 h 11467"/>
                <a:gd name="T110" fmla="*/ 9714 w 15471"/>
                <a:gd name="T111" fmla="*/ 7999 h 11467"/>
                <a:gd name="T112" fmla="*/ 11839 w 15471"/>
                <a:gd name="T113" fmla="*/ 7522 h 11467"/>
                <a:gd name="T114" fmla="*/ 14957 w 15471"/>
                <a:gd name="T115" fmla="*/ 5826 h 11467"/>
                <a:gd name="T116" fmla="*/ 14949 w 15471"/>
                <a:gd name="T117" fmla="*/ 867 h 11467"/>
                <a:gd name="T118" fmla="*/ 13419 w 15471"/>
                <a:gd name="T119" fmla="*/ 1053 h 11467"/>
                <a:gd name="T120" fmla="*/ 12890 w 15471"/>
                <a:gd name="T121" fmla="*/ 3396 h 11467"/>
                <a:gd name="T122" fmla="*/ 12179 w 15471"/>
                <a:gd name="T123" fmla="*/ 1882 h 1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71" h="11467">
                  <a:moveTo>
                    <a:pt x="9231" y="342"/>
                  </a:moveTo>
                  <a:lnTo>
                    <a:pt x="9450" y="342"/>
                  </a:lnTo>
                  <a:lnTo>
                    <a:pt x="9501" y="346"/>
                  </a:lnTo>
                  <a:lnTo>
                    <a:pt x="9553" y="351"/>
                  </a:lnTo>
                  <a:lnTo>
                    <a:pt x="9604" y="357"/>
                  </a:lnTo>
                  <a:lnTo>
                    <a:pt x="9654" y="364"/>
                  </a:lnTo>
                  <a:lnTo>
                    <a:pt x="9703" y="373"/>
                  </a:lnTo>
                  <a:lnTo>
                    <a:pt x="9752" y="383"/>
                  </a:lnTo>
                  <a:lnTo>
                    <a:pt x="9801" y="394"/>
                  </a:lnTo>
                  <a:lnTo>
                    <a:pt x="9848" y="405"/>
                  </a:lnTo>
                  <a:lnTo>
                    <a:pt x="9894" y="419"/>
                  </a:lnTo>
                  <a:lnTo>
                    <a:pt x="9941" y="433"/>
                  </a:lnTo>
                  <a:lnTo>
                    <a:pt x="10031" y="464"/>
                  </a:lnTo>
                  <a:lnTo>
                    <a:pt x="10118" y="499"/>
                  </a:lnTo>
                  <a:lnTo>
                    <a:pt x="10203" y="537"/>
                  </a:lnTo>
                  <a:lnTo>
                    <a:pt x="10285" y="579"/>
                  </a:lnTo>
                  <a:lnTo>
                    <a:pt x="10364" y="623"/>
                  </a:lnTo>
                  <a:lnTo>
                    <a:pt x="10441" y="669"/>
                  </a:lnTo>
                  <a:lnTo>
                    <a:pt x="10514" y="718"/>
                  </a:lnTo>
                  <a:lnTo>
                    <a:pt x="10585" y="768"/>
                  </a:lnTo>
                  <a:lnTo>
                    <a:pt x="10653" y="820"/>
                  </a:lnTo>
                  <a:lnTo>
                    <a:pt x="10719" y="873"/>
                  </a:lnTo>
                  <a:lnTo>
                    <a:pt x="10781" y="927"/>
                  </a:lnTo>
                  <a:lnTo>
                    <a:pt x="10841" y="980"/>
                  </a:lnTo>
                  <a:lnTo>
                    <a:pt x="10899" y="1035"/>
                  </a:lnTo>
                  <a:lnTo>
                    <a:pt x="10954" y="1089"/>
                  </a:lnTo>
                  <a:lnTo>
                    <a:pt x="11005" y="1144"/>
                  </a:lnTo>
                  <a:lnTo>
                    <a:pt x="11054" y="1198"/>
                  </a:lnTo>
                  <a:lnTo>
                    <a:pt x="11100" y="1249"/>
                  </a:lnTo>
                  <a:lnTo>
                    <a:pt x="11144" y="1301"/>
                  </a:lnTo>
                  <a:lnTo>
                    <a:pt x="11185" y="1350"/>
                  </a:lnTo>
                  <a:lnTo>
                    <a:pt x="11223" y="1397"/>
                  </a:lnTo>
                  <a:lnTo>
                    <a:pt x="11258" y="1443"/>
                  </a:lnTo>
                  <a:lnTo>
                    <a:pt x="11291" y="1486"/>
                  </a:lnTo>
                  <a:lnTo>
                    <a:pt x="11321" y="1526"/>
                  </a:lnTo>
                  <a:lnTo>
                    <a:pt x="11348" y="1562"/>
                  </a:lnTo>
                  <a:lnTo>
                    <a:pt x="11373" y="1596"/>
                  </a:lnTo>
                  <a:lnTo>
                    <a:pt x="11393" y="1626"/>
                  </a:lnTo>
                  <a:lnTo>
                    <a:pt x="11404" y="1638"/>
                  </a:lnTo>
                  <a:lnTo>
                    <a:pt x="11413" y="1651"/>
                  </a:lnTo>
                  <a:lnTo>
                    <a:pt x="11381" y="1651"/>
                  </a:lnTo>
                  <a:lnTo>
                    <a:pt x="11351" y="1653"/>
                  </a:lnTo>
                  <a:lnTo>
                    <a:pt x="11319" y="1658"/>
                  </a:lnTo>
                  <a:lnTo>
                    <a:pt x="11286" y="1665"/>
                  </a:lnTo>
                  <a:lnTo>
                    <a:pt x="11253" y="1676"/>
                  </a:lnTo>
                  <a:lnTo>
                    <a:pt x="11219" y="1687"/>
                  </a:lnTo>
                  <a:lnTo>
                    <a:pt x="11185" y="1700"/>
                  </a:lnTo>
                  <a:lnTo>
                    <a:pt x="11152" y="1715"/>
                  </a:lnTo>
                  <a:lnTo>
                    <a:pt x="11121" y="1729"/>
                  </a:lnTo>
                  <a:lnTo>
                    <a:pt x="11091" y="1743"/>
                  </a:lnTo>
                  <a:lnTo>
                    <a:pt x="11064" y="1758"/>
                  </a:lnTo>
                  <a:lnTo>
                    <a:pt x="11039" y="1770"/>
                  </a:lnTo>
                  <a:lnTo>
                    <a:pt x="11018" y="1783"/>
                  </a:lnTo>
                  <a:lnTo>
                    <a:pt x="11008" y="1788"/>
                  </a:lnTo>
                  <a:lnTo>
                    <a:pt x="11001" y="1792"/>
                  </a:lnTo>
                  <a:lnTo>
                    <a:pt x="10994" y="1796"/>
                  </a:lnTo>
                  <a:lnTo>
                    <a:pt x="10988" y="1800"/>
                  </a:lnTo>
                  <a:lnTo>
                    <a:pt x="10983" y="1803"/>
                  </a:lnTo>
                  <a:lnTo>
                    <a:pt x="10979" y="1805"/>
                  </a:lnTo>
                  <a:lnTo>
                    <a:pt x="10977" y="1806"/>
                  </a:lnTo>
                  <a:lnTo>
                    <a:pt x="10976" y="1806"/>
                  </a:lnTo>
                  <a:lnTo>
                    <a:pt x="11257" y="1806"/>
                  </a:lnTo>
                  <a:lnTo>
                    <a:pt x="11303" y="1806"/>
                  </a:lnTo>
                  <a:lnTo>
                    <a:pt x="11345" y="1807"/>
                  </a:lnTo>
                  <a:lnTo>
                    <a:pt x="11385" y="1808"/>
                  </a:lnTo>
                  <a:lnTo>
                    <a:pt x="11424" y="1810"/>
                  </a:lnTo>
                  <a:lnTo>
                    <a:pt x="11462" y="1815"/>
                  </a:lnTo>
                  <a:lnTo>
                    <a:pt x="11498" y="1820"/>
                  </a:lnTo>
                  <a:lnTo>
                    <a:pt x="11534" y="1828"/>
                  </a:lnTo>
                  <a:lnTo>
                    <a:pt x="11569" y="1838"/>
                  </a:lnTo>
                  <a:lnTo>
                    <a:pt x="11603" y="1851"/>
                  </a:lnTo>
                  <a:lnTo>
                    <a:pt x="11637" y="1863"/>
                  </a:lnTo>
                  <a:lnTo>
                    <a:pt x="11671" y="1877"/>
                  </a:lnTo>
                  <a:lnTo>
                    <a:pt x="11704" y="1893"/>
                  </a:lnTo>
                  <a:lnTo>
                    <a:pt x="11737" y="1910"/>
                  </a:lnTo>
                  <a:lnTo>
                    <a:pt x="11771" y="1930"/>
                  </a:lnTo>
                  <a:lnTo>
                    <a:pt x="11804" y="1951"/>
                  </a:lnTo>
                  <a:lnTo>
                    <a:pt x="11837" y="1974"/>
                  </a:lnTo>
                  <a:lnTo>
                    <a:pt x="11871" y="2000"/>
                  </a:lnTo>
                  <a:lnTo>
                    <a:pt x="11905" y="2029"/>
                  </a:lnTo>
                  <a:lnTo>
                    <a:pt x="11941" y="2061"/>
                  </a:lnTo>
                  <a:lnTo>
                    <a:pt x="11977" y="2097"/>
                  </a:lnTo>
                  <a:lnTo>
                    <a:pt x="12013" y="2135"/>
                  </a:lnTo>
                  <a:lnTo>
                    <a:pt x="12051" y="2177"/>
                  </a:lnTo>
                  <a:lnTo>
                    <a:pt x="12070" y="2200"/>
                  </a:lnTo>
                  <a:lnTo>
                    <a:pt x="12089" y="2223"/>
                  </a:lnTo>
                  <a:lnTo>
                    <a:pt x="12110" y="2248"/>
                  </a:lnTo>
                  <a:lnTo>
                    <a:pt x="12129" y="2274"/>
                  </a:lnTo>
                  <a:lnTo>
                    <a:pt x="12157" y="2310"/>
                  </a:lnTo>
                  <a:lnTo>
                    <a:pt x="12182" y="2345"/>
                  </a:lnTo>
                  <a:lnTo>
                    <a:pt x="12204" y="2381"/>
                  </a:lnTo>
                  <a:lnTo>
                    <a:pt x="12221" y="2416"/>
                  </a:lnTo>
                  <a:lnTo>
                    <a:pt x="12237" y="2451"/>
                  </a:lnTo>
                  <a:lnTo>
                    <a:pt x="12247" y="2484"/>
                  </a:lnTo>
                  <a:lnTo>
                    <a:pt x="12254" y="2517"/>
                  </a:lnTo>
                  <a:lnTo>
                    <a:pt x="12258" y="2547"/>
                  </a:lnTo>
                  <a:lnTo>
                    <a:pt x="12258" y="2561"/>
                  </a:lnTo>
                  <a:lnTo>
                    <a:pt x="12257" y="2575"/>
                  </a:lnTo>
                  <a:lnTo>
                    <a:pt x="12255" y="2588"/>
                  </a:lnTo>
                  <a:lnTo>
                    <a:pt x="12253" y="2600"/>
                  </a:lnTo>
                  <a:lnTo>
                    <a:pt x="12249" y="2612"/>
                  </a:lnTo>
                  <a:lnTo>
                    <a:pt x="12244" y="2623"/>
                  </a:lnTo>
                  <a:lnTo>
                    <a:pt x="12238" y="2632"/>
                  </a:lnTo>
                  <a:lnTo>
                    <a:pt x="12231" y="2642"/>
                  </a:lnTo>
                  <a:lnTo>
                    <a:pt x="12222" y="2650"/>
                  </a:lnTo>
                  <a:lnTo>
                    <a:pt x="12212" y="2658"/>
                  </a:lnTo>
                  <a:lnTo>
                    <a:pt x="12202" y="2664"/>
                  </a:lnTo>
                  <a:lnTo>
                    <a:pt x="12189" y="2670"/>
                  </a:lnTo>
                  <a:lnTo>
                    <a:pt x="12177" y="2674"/>
                  </a:lnTo>
                  <a:lnTo>
                    <a:pt x="12162" y="2677"/>
                  </a:lnTo>
                  <a:lnTo>
                    <a:pt x="12147" y="2679"/>
                  </a:lnTo>
                  <a:lnTo>
                    <a:pt x="12129" y="2679"/>
                  </a:lnTo>
                  <a:lnTo>
                    <a:pt x="12035" y="2679"/>
                  </a:lnTo>
                  <a:lnTo>
                    <a:pt x="12008" y="2679"/>
                  </a:lnTo>
                  <a:lnTo>
                    <a:pt x="11980" y="2680"/>
                  </a:lnTo>
                  <a:lnTo>
                    <a:pt x="11954" y="2681"/>
                  </a:lnTo>
                  <a:lnTo>
                    <a:pt x="11930" y="2682"/>
                  </a:lnTo>
                  <a:lnTo>
                    <a:pt x="11906" y="2684"/>
                  </a:lnTo>
                  <a:lnTo>
                    <a:pt x="11885" y="2685"/>
                  </a:lnTo>
                  <a:lnTo>
                    <a:pt x="11863" y="2687"/>
                  </a:lnTo>
                  <a:lnTo>
                    <a:pt x="11843" y="2690"/>
                  </a:lnTo>
                  <a:lnTo>
                    <a:pt x="11806" y="2695"/>
                  </a:lnTo>
                  <a:lnTo>
                    <a:pt x="11772" y="2702"/>
                  </a:lnTo>
                  <a:lnTo>
                    <a:pt x="11741" y="2710"/>
                  </a:lnTo>
                  <a:lnTo>
                    <a:pt x="11712" y="2718"/>
                  </a:lnTo>
                  <a:lnTo>
                    <a:pt x="11686" y="2727"/>
                  </a:lnTo>
                  <a:lnTo>
                    <a:pt x="11660" y="2737"/>
                  </a:lnTo>
                  <a:lnTo>
                    <a:pt x="11611" y="2758"/>
                  </a:lnTo>
                  <a:lnTo>
                    <a:pt x="11586" y="2769"/>
                  </a:lnTo>
                  <a:lnTo>
                    <a:pt x="11561" y="2781"/>
                  </a:lnTo>
                  <a:lnTo>
                    <a:pt x="11535" y="2792"/>
                  </a:lnTo>
                  <a:lnTo>
                    <a:pt x="11506" y="2803"/>
                  </a:lnTo>
                  <a:lnTo>
                    <a:pt x="11519" y="2802"/>
                  </a:lnTo>
                  <a:lnTo>
                    <a:pt x="11535" y="2799"/>
                  </a:lnTo>
                  <a:lnTo>
                    <a:pt x="11552" y="2794"/>
                  </a:lnTo>
                  <a:lnTo>
                    <a:pt x="11572" y="2788"/>
                  </a:lnTo>
                  <a:lnTo>
                    <a:pt x="11594" y="2783"/>
                  </a:lnTo>
                  <a:lnTo>
                    <a:pt x="11615" y="2778"/>
                  </a:lnTo>
                  <a:lnTo>
                    <a:pt x="11639" y="2775"/>
                  </a:lnTo>
                  <a:lnTo>
                    <a:pt x="11662" y="2773"/>
                  </a:lnTo>
                  <a:lnTo>
                    <a:pt x="11709" y="2774"/>
                  </a:lnTo>
                  <a:lnTo>
                    <a:pt x="11733" y="2775"/>
                  </a:lnTo>
                  <a:lnTo>
                    <a:pt x="11757" y="2777"/>
                  </a:lnTo>
                  <a:lnTo>
                    <a:pt x="11781" y="2781"/>
                  </a:lnTo>
                  <a:lnTo>
                    <a:pt x="11803" y="2787"/>
                  </a:lnTo>
                  <a:lnTo>
                    <a:pt x="11826" y="2795"/>
                  </a:lnTo>
                  <a:lnTo>
                    <a:pt x="11849" y="2805"/>
                  </a:lnTo>
                  <a:lnTo>
                    <a:pt x="11870" y="2819"/>
                  </a:lnTo>
                  <a:lnTo>
                    <a:pt x="11890" y="2835"/>
                  </a:lnTo>
                  <a:lnTo>
                    <a:pt x="11910" y="2856"/>
                  </a:lnTo>
                  <a:lnTo>
                    <a:pt x="11920" y="2867"/>
                  </a:lnTo>
                  <a:lnTo>
                    <a:pt x="11928" y="2880"/>
                  </a:lnTo>
                  <a:lnTo>
                    <a:pt x="11937" y="2894"/>
                  </a:lnTo>
                  <a:lnTo>
                    <a:pt x="11946" y="2908"/>
                  </a:lnTo>
                  <a:lnTo>
                    <a:pt x="11954" y="2925"/>
                  </a:lnTo>
                  <a:lnTo>
                    <a:pt x="11961" y="2942"/>
                  </a:lnTo>
                  <a:lnTo>
                    <a:pt x="11968" y="2961"/>
                  </a:lnTo>
                  <a:lnTo>
                    <a:pt x="11976" y="2981"/>
                  </a:lnTo>
                  <a:lnTo>
                    <a:pt x="11982" y="3002"/>
                  </a:lnTo>
                  <a:lnTo>
                    <a:pt x="11988" y="3025"/>
                  </a:lnTo>
                  <a:lnTo>
                    <a:pt x="11989" y="3058"/>
                  </a:lnTo>
                  <a:lnTo>
                    <a:pt x="11988" y="3088"/>
                  </a:lnTo>
                  <a:lnTo>
                    <a:pt x="11987" y="3117"/>
                  </a:lnTo>
                  <a:lnTo>
                    <a:pt x="11986" y="3142"/>
                  </a:lnTo>
                  <a:lnTo>
                    <a:pt x="11983" y="3166"/>
                  </a:lnTo>
                  <a:lnTo>
                    <a:pt x="11980" y="3188"/>
                  </a:lnTo>
                  <a:lnTo>
                    <a:pt x="11976" y="3207"/>
                  </a:lnTo>
                  <a:lnTo>
                    <a:pt x="11970" y="3226"/>
                  </a:lnTo>
                  <a:lnTo>
                    <a:pt x="11963" y="3241"/>
                  </a:lnTo>
                  <a:lnTo>
                    <a:pt x="11956" y="3256"/>
                  </a:lnTo>
                  <a:lnTo>
                    <a:pt x="11947" y="3268"/>
                  </a:lnTo>
                  <a:lnTo>
                    <a:pt x="11936" y="3278"/>
                  </a:lnTo>
                  <a:lnTo>
                    <a:pt x="11925" y="3288"/>
                  </a:lnTo>
                  <a:lnTo>
                    <a:pt x="11912" y="3296"/>
                  </a:lnTo>
                  <a:lnTo>
                    <a:pt x="11897" y="3302"/>
                  </a:lnTo>
                  <a:lnTo>
                    <a:pt x="11881" y="3307"/>
                  </a:lnTo>
                  <a:lnTo>
                    <a:pt x="11905" y="3298"/>
                  </a:lnTo>
                  <a:lnTo>
                    <a:pt x="11928" y="3291"/>
                  </a:lnTo>
                  <a:lnTo>
                    <a:pt x="11952" y="3284"/>
                  </a:lnTo>
                  <a:lnTo>
                    <a:pt x="11965" y="3282"/>
                  </a:lnTo>
                  <a:lnTo>
                    <a:pt x="11979" y="3280"/>
                  </a:lnTo>
                  <a:lnTo>
                    <a:pt x="11994" y="3278"/>
                  </a:lnTo>
                  <a:lnTo>
                    <a:pt x="12011" y="3277"/>
                  </a:lnTo>
                  <a:lnTo>
                    <a:pt x="12029" y="3275"/>
                  </a:lnTo>
                  <a:lnTo>
                    <a:pt x="12050" y="3274"/>
                  </a:lnTo>
                  <a:lnTo>
                    <a:pt x="12074" y="3273"/>
                  </a:lnTo>
                  <a:lnTo>
                    <a:pt x="12100" y="3273"/>
                  </a:lnTo>
                  <a:lnTo>
                    <a:pt x="12128" y="3272"/>
                  </a:lnTo>
                  <a:lnTo>
                    <a:pt x="12160" y="3271"/>
                  </a:lnTo>
                  <a:lnTo>
                    <a:pt x="12184" y="3272"/>
                  </a:lnTo>
                  <a:lnTo>
                    <a:pt x="12208" y="3275"/>
                  </a:lnTo>
                  <a:lnTo>
                    <a:pt x="12232" y="3279"/>
                  </a:lnTo>
                  <a:lnTo>
                    <a:pt x="12255" y="3284"/>
                  </a:lnTo>
                  <a:lnTo>
                    <a:pt x="12279" y="3293"/>
                  </a:lnTo>
                  <a:lnTo>
                    <a:pt x="12302" y="3301"/>
                  </a:lnTo>
                  <a:lnTo>
                    <a:pt x="12325" y="3311"/>
                  </a:lnTo>
                  <a:lnTo>
                    <a:pt x="12346" y="3324"/>
                  </a:lnTo>
                  <a:lnTo>
                    <a:pt x="12367" y="3336"/>
                  </a:lnTo>
                  <a:lnTo>
                    <a:pt x="12386" y="3350"/>
                  </a:lnTo>
                  <a:lnTo>
                    <a:pt x="12404" y="3366"/>
                  </a:lnTo>
                  <a:lnTo>
                    <a:pt x="12422" y="3382"/>
                  </a:lnTo>
                  <a:lnTo>
                    <a:pt x="12437" y="3400"/>
                  </a:lnTo>
                  <a:lnTo>
                    <a:pt x="12450" y="3418"/>
                  </a:lnTo>
                  <a:lnTo>
                    <a:pt x="12463" y="3438"/>
                  </a:lnTo>
                  <a:lnTo>
                    <a:pt x="12472" y="3459"/>
                  </a:lnTo>
                  <a:lnTo>
                    <a:pt x="12481" y="3479"/>
                  </a:lnTo>
                  <a:lnTo>
                    <a:pt x="12490" y="3499"/>
                  </a:lnTo>
                  <a:lnTo>
                    <a:pt x="12498" y="3518"/>
                  </a:lnTo>
                  <a:lnTo>
                    <a:pt x="12505" y="3537"/>
                  </a:lnTo>
                  <a:lnTo>
                    <a:pt x="12511" y="3555"/>
                  </a:lnTo>
                  <a:lnTo>
                    <a:pt x="12516" y="3574"/>
                  </a:lnTo>
                  <a:lnTo>
                    <a:pt x="12518" y="3592"/>
                  </a:lnTo>
                  <a:lnTo>
                    <a:pt x="12518" y="3612"/>
                  </a:lnTo>
                  <a:lnTo>
                    <a:pt x="12514" y="3633"/>
                  </a:lnTo>
                  <a:lnTo>
                    <a:pt x="12508" y="3654"/>
                  </a:lnTo>
                  <a:lnTo>
                    <a:pt x="12499" y="3677"/>
                  </a:lnTo>
                  <a:lnTo>
                    <a:pt x="12493" y="3688"/>
                  </a:lnTo>
                  <a:lnTo>
                    <a:pt x="12486" y="3701"/>
                  </a:lnTo>
                  <a:lnTo>
                    <a:pt x="12477" y="3714"/>
                  </a:lnTo>
                  <a:lnTo>
                    <a:pt x="12468" y="3727"/>
                  </a:lnTo>
                  <a:lnTo>
                    <a:pt x="12458" y="3742"/>
                  </a:lnTo>
                  <a:lnTo>
                    <a:pt x="12445" y="3756"/>
                  </a:lnTo>
                  <a:lnTo>
                    <a:pt x="12433" y="3771"/>
                  </a:lnTo>
                  <a:lnTo>
                    <a:pt x="12418" y="3787"/>
                  </a:lnTo>
                  <a:lnTo>
                    <a:pt x="12403" y="3804"/>
                  </a:lnTo>
                  <a:lnTo>
                    <a:pt x="12386" y="3820"/>
                  </a:lnTo>
                  <a:lnTo>
                    <a:pt x="12404" y="3804"/>
                  </a:lnTo>
                  <a:lnTo>
                    <a:pt x="12423" y="3788"/>
                  </a:lnTo>
                  <a:lnTo>
                    <a:pt x="12441" y="3774"/>
                  </a:lnTo>
                  <a:lnTo>
                    <a:pt x="12461" y="3760"/>
                  </a:lnTo>
                  <a:lnTo>
                    <a:pt x="12481" y="3748"/>
                  </a:lnTo>
                  <a:lnTo>
                    <a:pt x="12501" y="3737"/>
                  </a:lnTo>
                  <a:lnTo>
                    <a:pt x="12523" y="3726"/>
                  </a:lnTo>
                  <a:lnTo>
                    <a:pt x="12543" y="3717"/>
                  </a:lnTo>
                  <a:lnTo>
                    <a:pt x="12587" y="3702"/>
                  </a:lnTo>
                  <a:lnTo>
                    <a:pt x="12631" y="3690"/>
                  </a:lnTo>
                  <a:lnTo>
                    <a:pt x="12677" y="3682"/>
                  </a:lnTo>
                  <a:lnTo>
                    <a:pt x="12722" y="3677"/>
                  </a:lnTo>
                  <a:lnTo>
                    <a:pt x="12739" y="3676"/>
                  </a:lnTo>
                  <a:lnTo>
                    <a:pt x="12755" y="3676"/>
                  </a:lnTo>
                  <a:lnTo>
                    <a:pt x="12773" y="3677"/>
                  </a:lnTo>
                  <a:lnTo>
                    <a:pt x="12789" y="3679"/>
                  </a:lnTo>
                  <a:lnTo>
                    <a:pt x="12806" y="3683"/>
                  </a:lnTo>
                  <a:lnTo>
                    <a:pt x="12821" y="3689"/>
                  </a:lnTo>
                  <a:lnTo>
                    <a:pt x="12835" y="3697"/>
                  </a:lnTo>
                  <a:lnTo>
                    <a:pt x="12846" y="3708"/>
                  </a:lnTo>
                  <a:lnTo>
                    <a:pt x="12861" y="3724"/>
                  </a:lnTo>
                  <a:lnTo>
                    <a:pt x="12875" y="3740"/>
                  </a:lnTo>
                  <a:lnTo>
                    <a:pt x="12887" y="3755"/>
                  </a:lnTo>
                  <a:lnTo>
                    <a:pt x="12899" y="3770"/>
                  </a:lnTo>
                  <a:lnTo>
                    <a:pt x="12908" y="3784"/>
                  </a:lnTo>
                  <a:lnTo>
                    <a:pt x="12916" y="3799"/>
                  </a:lnTo>
                  <a:lnTo>
                    <a:pt x="12922" y="3816"/>
                  </a:lnTo>
                  <a:lnTo>
                    <a:pt x="12927" y="3834"/>
                  </a:lnTo>
                  <a:lnTo>
                    <a:pt x="12931" y="3854"/>
                  </a:lnTo>
                  <a:lnTo>
                    <a:pt x="12932" y="3876"/>
                  </a:lnTo>
                  <a:lnTo>
                    <a:pt x="12931" y="3900"/>
                  </a:lnTo>
                  <a:lnTo>
                    <a:pt x="12928" y="3928"/>
                  </a:lnTo>
                  <a:lnTo>
                    <a:pt x="12924" y="3959"/>
                  </a:lnTo>
                  <a:lnTo>
                    <a:pt x="12921" y="3977"/>
                  </a:lnTo>
                  <a:lnTo>
                    <a:pt x="12917" y="3995"/>
                  </a:lnTo>
                  <a:lnTo>
                    <a:pt x="12913" y="4014"/>
                  </a:lnTo>
                  <a:lnTo>
                    <a:pt x="12909" y="4034"/>
                  </a:lnTo>
                  <a:lnTo>
                    <a:pt x="12904" y="4056"/>
                  </a:lnTo>
                  <a:lnTo>
                    <a:pt x="12899" y="4079"/>
                  </a:lnTo>
                  <a:lnTo>
                    <a:pt x="12892" y="4108"/>
                  </a:lnTo>
                  <a:lnTo>
                    <a:pt x="12885" y="4139"/>
                  </a:lnTo>
                  <a:lnTo>
                    <a:pt x="12870" y="4203"/>
                  </a:lnTo>
                  <a:lnTo>
                    <a:pt x="12853" y="4269"/>
                  </a:lnTo>
                  <a:lnTo>
                    <a:pt x="12835" y="4337"/>
                  </a:lnTo>
                  <a:lnTo>
                    <a:pt x="12815" y="4405"/>
                  </a:lnTo>
                  <a:lnTo>
                    <a:pt x="12795" y="4473"/>
                  </a:lnTo>
                  <a:lnTo>
                    <a:pt x="12775" y="4539"/>
                  </a:lnTo>
                  <a:lnTo>
                    <a:pt x="12755" y="4602"/>
                  </a:lnTo>
                  <a:lnTo>
                    <a:pt x="12746" y="4633"/>
                  </a:lnTo>
                  <a:lnTo>
                    <a:pt x="12736" y="4662"/>
                  </a:lnTo>
                  <a:lnTo>
                    <a:pt x="12727" y="4690"/>
                  </a:lnTo>
                  <a:lnTo>
                    <a:pt x="12719" y="4717"/>
                  </a:lnTo>
                  <a:lnTo>
                    <a:pt x="12710" y="4742"/>
                  </a:lnTo>
                  <a:lnTo>
                    <a:pt x="12702" y="4766"/>
                  </a:lnTo>
                  <a:lnTo>
                    <a:pt x="12695" y="4788"/>
                  </a:lnTo>
                  <a:lnTo>
                    <a:pt x="12688" y="4809"/>
                  </a:lnTo>
                  <a:lnTo>
                    <a:pt x="12682" y="4827"/>
                  </a:lnTo>
                  <a:lnTo>
                    <a:pt x="12676" y="4844"/>
                  </a:lnTo>
                  <a:lnTo>
                    <a:pt x="12671" y="4858"/>
                  </a:lnTo>
                  <a:lnTo>
                    <a:pt x="12667" y="4870"/>
                  </a:lnTo>
                  <a:lnTo>
                    <a:pt x="12664" y="4879"/>
                  </a:lnTo>
                  <a:lnTo>
                    <a:pt x="12661" y="4886"/>
                  </a:lnTo>
                  <a:lnTo>
                    <a:pt x="12660" y="4890"/>
                  </a:lnTo>
                  <a:lnTo>
                    <a:pt x="12659" y="4892"/>
                  </a:lnTo>
                  <a:lnTo>
                    <a:pt x="12661" y="4890"/>
                  </a:lnTo>
                  <a:lnTo>
                    <a:pt x="12664" y="4886"/>
                  </a:lnTo>
                  <a:lnTo>
                    <a:pt x="12670" y="4878"/>
                  </a:lnTo>
                  <a:lnTo>
                    <a:pt x="12679" y="4867"/>
                  </a:lnTo>
                  <a:lnTo>
                    <a:pt x="12689" y="4852"/>
                  </a:lnTo>
                  <a:lnTo>
                    <a:pt x="12701" y="4836"/>
                  </a:lnTo>
                  <a:lnTo>
                    <a:pt x="12716" y="4815"/>
                  </a:lnTo>
                  <a:lnTo>
                    <a:pt x="12731" y="4791"/>
                  </a:lnTo>
                  <a:lnTo>
                    <a:pt x="12749" y="4765"/>
                  </a:lnTo>
                  <a:lnTo>
                    <a:pt x="12767" y="4735"/>
                  </a:lnTo>
                  <a:lnTo>
                    <a:pt x="12786" y="4702"/>
                  </a:lnTo>
                  <a:lnTo>
                    <a:pt x="12807" y="4666"/>
                  </a:lnTo>
                  <a:lnTo>
                    <a:pt x="12828" y="4627"/>
                  </a:lnTo>
                  <a:lnTo>
                    <a:pt x="12850" y="4584"/>
                  </a:lnTo>
                  <a:lnTo>
                    <a:pt x="12873" y="4538"/>
                  </a:lnTo>
                  <a:lnTo>
                    <a:pt x="12895" y="4490"/>
                  </a:lnTo>
                  <a:lnTo>
                    <a:pt x="12918" y="4438"/>
                  </a:lnTo>
                  <a:lnTo>
                    <a:pt x="12941" y="4384"/>
                  </a:lnTo>
                  <a:lnTo>
                    <a:pt x="12964" y="4326"/>
                  </a:lnTo>
                  <a:lnTo>
                    <a:pt x="12986" y="4264"/>
                  </a:lnTo>
                  <a:lnTo>
                    <a:pt x="13008" y="4200"/>
                  </a:lnTo>
                  <a:lnTo>
                    <a:pt x="13030" y="4133"/>
                  </a:lnTo>
                  <a:lnTo>
                    <a:pt x="13050" y="4063"/>
                  </a:lnTo>
                  <a:lnTo>
                    <a:pt x="13070" y="3990"/>
                  </a:lnTo>
                  <a:lnTo>
                    <a:pt x="13088" y="3914"/>
                  </a:lnTo>
                  <a:lnTo>
                    <a:pt x="13106" y="3833"/>
                  </a:lnTo>
                  <a:lnTo>
                    <a:pt x="13123" y="3751"/>
                  </a:lnTo>
                  <a:lnTo>
                    <a:pt x="13137" y="3666"/>
                  </a:lnTo>
                  <a:lnTo>
                    <a:pt x="13150" y="3577"/>
                  </a:lnTo>
                  <a:lnTo>
                    <a:pt x="13161" y="3485"/>
                  </a:lnTo>
                  <a:lnTo>
                    <a:pt x="13170" y="3391"/>
                  </a:lnTo>
                  <a:lnTo>
                    <a:pt x="13177" y="3293"/>
                  </a:lnTo>
                  <a:lnTo>
                    <a:pt x="13179" y="3239"/>
                  </a:lnTo>
                  <a:lnTo>
                    <a:pt x="13181" y="3188"/>
                  </a:lnTo>
                  <a:lnTo>
                    <a:pt x="13183" y="3136"/>
                  </a:lnTo>
                  <a:lnTo>
                    <a:pt x="13184" y="3087"/>
                  </a:lnTo>
                  <a:lnTo>
                    <a:pt x="13186" y="3037"/>
                  </a:lnTo>
                  <a:lnTo>
                    <a:pt x="13186" y="2990"/>
                  </a:lnTo>
                  <a:lnTo>
                    <a:pt x="13186" y="2944"/>
                  </a:lnTo>
                  <a:lnTo>
                    <a:pt x="13186" y="2898"/>
                  </a:lnTo>
                  <a:lnTo>
                    <a:pt x="13184" y="2854"/>
                  </a:lnTo>
                  <a:lnTo>
                    <a:pt x="13182" y="2811"/>
                  </a:lnTo>
                  <a:lnTo>
                    <a:pt x="13181" y="2768"/>
                  </a:lnTo>
                  <a:lnTo>
                    <a:pt x="13179" y="2727"/>
                  </a:lnTo>
                  <a:lnTo>
                    <a:pt x="13177" y="2687"/>
                  </a:lnTo>
                  <a:lnTo>
                    <a:pt x="13174" y="2648"/>
                  </a:lnTo>
                  <a:lnTo>
                    <a:pt x="13169" y="2573"/>
                  </a:lnTo>
                  <a:lnTo>
                    <a:pt x="13162" y="2502"/>
                  </a:lnTo>
                  <a:lnTo>
                    <a:pt x="13155" y="2435"/>
                  </a:lnTo>
                  <a:lnTo>
                    <a:pt x="13147" y="2371"/>
                  </a:lnTo>
                  <a:lnTo>
                    <a:pt x="13139" y="2310"/>
                  </a:lnTo>
                  <a:lnTo>
                    <a:pt x="13130" y="2253"/>
                  </a:lnTo>
                  <a:lnTo>
                    <a:pt x="13121" y="2200"/>
                  </a:lnTo>
                  <a:lnTo>
                    <a:pt x="13112" y="2149"/>
                  </a:lnTo>
                  <a:lnTo>
                    <a:pt x="13104" y="2102"/>
                  </a:lnTo>
                  <a:lnTo>
                    <a:pt x="13096" y="2058"/>
                  </a:lnTo>
                  <a:lnTo>
                    <a:pt x="13088" y="2015"/>
                  </a:lnTo>
                  <a:lnTo>
                    <a:pt x="13081" y="1977"/>
                  </a:lnTo>
                  <a:lnTo>
                    <a:pt x="13075" y="1940"/>
                  </a:lnTo>
                  <a:lnTo>
                    <a:pt x="13070" y="1906"/>
                  </a:lnTo>
                  <a:lnTo>
                    <a:pt x="13067" y="1875"/>
                  </a:lnTo>
                  <a:lnTo>
                    <a:pt x="13064" y="1845"/>
                  </a:lnTo>
                  <a:lnTo>
                    <a:pt x="13063" y="1818"/>
                  </a:lnTo>
                  <a:lnTo>
                    <a:pt x="13063" y="1793"/>
                  </a:lnTo>
                  <a:lnTo>
                    <a:pt x="13065" y="1769"/>
                  </a:lnTo>
                  <a:lnTo>
                    <a:pt x="13069" y="1748"/>
                  </a:lnTo>
                  <a:lnTo>
                    <a:pt x="13075" y="1727"/>
                  </a:lnTo>
                  <a:lnTo>
                    <a:pt x="13084" y="1708"/>
                  </a:lnTo>
                  <a:lnTo>
                    <a:pt x="13095" y="1691"/>
                  </a:lnTo>
                  <a:lnTo>
                    <a:pt x="13108" y="1674"/>
                  </a:lnTo>
                  <a:lnTo>
                    <a:pt x="13125" y="1659"/>
                  </a:lnTo>
                  <a:lnTo>
                    <a:pt x="13140" y="1643"/>
                  </a:lnTo>
                  <a:lnTo>
                    <a:pt x="13157" y="1627"/>
                  </a:lnTo>
                  <a:lnTo>
                    <a:pt x="13174" y="1613"/>
                  </a:lnTo>
                  <a:lnTo>
                    <a:pt x="13193" y="1599"/>
                  </a:lnTo>
                  <a:lnTo>
                    <a:pt x="13212" y="1587"/>
                  </a:lnTo>
                  <a:lnTo>
                    <a:pt x="13233" y="1576"/>
                  </a:lnTo>
                  <a:lnTo>
                    <a:pt x="13277" y="1556"/>
                  </a:lnTo>
                  <a:lnTo>
                    <a:pt x="13326" y="1539"/>
                  </a:lnTo>
                  <a:lnTo>
                    <a:pt x="13376" y="1522"/>
                  </a:lnTo>
                  <a:lnTo>
                    <a:pt x="13429" y="1507"/>
                  </a:lnTo>
                  <a:lnTo>
                    <a:pt x="13484" y="1491"/>
                  </a:lnTo>
                  <a:lnTo>
                    <a:pt x="13541" y="1476"/>
                  </a:lnTo>
                  <a:lnTo>
                    <a:pt x="13597" y="1458"/>
                  </a:lnTo>
                  <a:lnTo>
                    <a:pt x="13655" y="1439"/>
                  </a:lnTo>
                  <a:lnTo>
                    <a:pt x="13714" y="1416"/>
                  </a:lnTo>
                  <a:lnTo>
                    <a:pt x="13742" y="1403"/>
                  </a:lnTo>
                  <a:lnTo>
                    <a:pt x="13771" y="1389"/>
                  </a:lnTo>
                  <a:lnTo>
                    <a:pt x="13800" y="1374"/>
                  </a:lnTo>
                  <a:lnTo>
                    <a:pt x="13828" y="1357"/>
                  </a:lnTo>
                  <a:lnTo>
                    <a:pt x="13855" y="1340"/>
                  </a:lnTo>
                  <a:lnTo>
                    <a:pt x="13883" y="1320"/>
                  </a:lnTo>
                  <a:lnTo>
                    <a:pt x="13910" y="1300"/>
                  </a:lnTo>
                  <a:lnTo>
                    <a:pt x="13937" y="1277"/>
                  </a:lnTo>
                  <a:lnTo>
                    <a:pt x="13957" y="1262"/>
                  </a:lnTo>
                  <a:lnTo>
                    <a:pt x="13976" y="1246"/>
                  </a:lnTo>
                  <a:lnTo>
                    <a:pt x="14012" y="1211"/>
                  </a:lnTo>
                  <a:lnTo>
                    <a:pt x="14045" y="1173"/>
                  </a:lnTo>
                  <a:lnTo>
                    <a:pt x="14076" y="1134"/>
                  </a:lnTo>
                  <a:lnTo>
                    <a:pt x="14105" y="1093"/>
                  </a:lnTo>
                  <a:lnTo>
                    <a:pt x="14133" y="1050"/>
                  </a:lnTo>
                  <a:lnTo>
                    <a:pt x="14160" y="1009"/>
                  </a:lnTo>
                  <a:lnTo>
                    <a:pt x="14187" y="969"/>
                  </a:lnTo>
                  <a:lnTo>
                    <a:pt x="14213" y="931"/>
                  </a:lnTo>
                  <a:lnTo>
                    <a:pt x="14240" y="895"/>
                  </a:lnTo>
                  <a:lnTo>
                    <a:pt x="14253" y="878"/>
                  </a:lnTo>
                  <a:lnTo>
                    <a:pt x="14267" y="863"/>
                  </a:lnTo>
                  <a:lnTo>
                    <a:pt x="14282" y="847"/>
                  </a:lnTo>
                  <a:lnTo>
                    <a:pt x="14296" y="834"/>
                  </a:lnTo>
                  <a:lnTo>
                    <a:pt x="14312" y="822"/>
                  </a:lnTo>
                  <a:lnTo>
                    <a:pt x="14327" y="811"/>
                  </a:lnTo>
                  <a:lnTo>
                    <a:pt x="14344" y="801"/>
                  </a:lnTo>
                  <a:lnTo>
                    <a:pt x="14360" y="793"/>
                  </a:lnTo>
                  <a:lnTo>
                    <a:pt x="14379" y="787"/>
                  </a:lnTo>
                  <a:lnTo>
                    <a:pt x="14396" y="782"/>
                  </a:lnTo>
                  <a:lnTo>
                    <a:pt x="14416" y="779"/>
                  </a:lnTo>
                  <a:lnTo>
                    <a:pt x="14436" y="778"/>
                  </a:lnTo>
                  <a:lnTo>
                    <a:pt x="14451" y="779"/>
                  </a:lnTo>
                  <a:lnTo>
                    <a:pt x="14470" y="785"/>
                  </a:lnTo>
                  <a:lnTo>
                    <a:pt x="14489" y="793"/>
                  </a:lnTo>
                  <a:lnTo>
                    <a:pt x="14510" y="805"/>
                  </a:lnTo>
                  <a:lnTo>
                    <a:pt x="14534" y="821"/>
                  </a:lnTo>
                  <a:lnTo>
                    <a:pt x="14557" y="840"/>
                  </a:lnTo>
                  <a:lnTo>
                    <a:pt x="14571" y="851"/>
                  </a:lnTo>
                  <a:lnTo>
                    <a:pt x="14583" y="864"/>
                  </a:lnTo>
                  <a:lnTo>
                    <a:pt x="14597" y="877"/>
                  </a:lnTo>
                  <a:lnTo>
                    <a:pt x="14610" y="892"/>
                  </a:lnTo>
                  <a:lnTo>
                    <a:pt x="14625" y="907"/>
                  </a:lnTo>
                  <a:lnTo>
                    <a:pt x="14638" y="924"/>
                  </a:lnTo>
                  <a:lnTo>
                    <a:pt x="14652" y="942"/>
                  </a:lnTo>
                  <a:lnTo>
                    <a:pt x="14667" y="961"/>
                  </a:lnTo>
                  <a:lnTo>
                    <a:pt x="14681" y="981"/>
                  </a:lnTo>
                  <a:lnTo>
                    <a:pt x="14696" y="1003"/>
                  </a:lnTo>
                  <a:lnTo>
                    <a:pt x="14711" y="1026"/>
                  </a:lnTo>
                  <a:lnTo>
                    <a:pt x="14727" y="1049"/>
                  </a:lnTo>
                  <a:lnTo>
                    <a:pt x="14741" y="1075"/>
                  </a:lnTo>
                  <a:lnTo>
                    <a:pt x="14757" y="1101"/>
                  </a:lnTo>
                  <a:lnTo>
                    <a:pt x="14772" y="1129"/>
                  </a:lnTo>
                  <a:lnTo>
                    <a:pt x="14788" y="1158"/>
                  </a:lnTo>
                  <a:lnTo>
                    <a:pt x="14803" y="1188"/>
                  </a:lnTo>
                  <a:lnTo>
                    <a:pt x="14818" y="1220"/>
                  </a:lnTo>
                  <a:lnTo>
                    <a:pt x="14833" y="1254"/>
                  </a:lnTo>
                  <a:lnTo>
                    <a:pt x="14849" y="1288"/>
                  </a:lnTo>
                  <a:lnTo>
                    <a:pt x="14864" y="1324"/>
                  </a:lnTo>
                  <a:lnTo>
                    <a:pt x="14880" y="1362"/>
                  </a:lnTo>
                  <a:lnTo>
                    <a:pt x="14894" y="1402"/>
                  </a:lnTo>
                  <a:lnTo>
                    <a:pt x="14909" y="1442"/>
                  </a:lnTo>
                  <a:lnTo>
                    <a:pt x="14925" y="1484"/>
                  </a:lnTo>
                  <a:lnTo>
                    <a:pt x="14939" y="1527"/>
                  </a:lnTo>
                  <a:lnTo>
                    <a:pt x="14954" y="1573"/>
                  </a:lnTo>
                  <a:lnTo>
                    <a:pt x="14968" y="1620"/>
                  </a:lnTo>
                  <a:lnTo>
                    <a:pt x="14983" y="1668"/>
                  </a:lnTo>
                  <a:lnTo>
                    <a:pt x="14997" y="1718"/>
                  </a:lnTo>
                  <a:lnTo>
                    <a:pt x="15011" y="1770"/>
                  </a:lnTo>
                  <a:lnTo>
                    <a:pt x="15024" y="1823"/>
                  </a:lnTo>
                  <a:lnTo>
                    <a:pt x="15037" y="1878"/>
                  </a:lnTo>
                  <a:lnTo>
                    <a:pt x="15051" y="1935"/>
                  </a:lnTo>
                  <a:lnTo>
                    <a:pt x="15063" y="1994"/>
                  </a:lnTo>
                  <a:lnTo>
                    <a:pt x="15076" y="2054"/>
                  </a:lnTo>
                  <a:lnTo>
                    <a:pt x="15088" y="2115"/>
                  </a:lnTo>
                  <a:lnTo>
                    <a:pt x="15099" y="2179"/>
                  </a:lnTo>
                  <a:lnTo>
                    <a:pt x="15111" y="2245"/>
                  </a:lnTo>
                  <a:lnTo>
                    <a:pt x="15121" y="2312"/>
                  </a:lnTo>
                  <a:lnTo>
                    <a:pt x="15132" y="2381"/>
                  </a:lnTo>
                  <a:lnTo>
                    <a:pt x="15142" y="2452"/>
                  </a:lnTo>
                  <a:lnTo>
                    <a:pt x="15152" y="2525"/>
                  </a:lnTo>
                  <a:lnTo>
                    <a:pt x="15161" y="2600"/>
                  </a:lnTo>
                  <a:lnTo>
                    <a:pt x="15170" y="2678"/>
                  </a:lnTo>
                  <a:lnTo>
                    <a:pt x="15178" y="2756"/>
                  </a:lnTo>
                  <a:lnTo>
                    <a:pt x="15185" y="2837"/>
                  </a:lnTo>
                  <a:lnTo>
                    <a:pt x="15192" y="2920"/>
                  </a:lnTo>
                  <a:lnTo>
                    <a:pt x="15199" y="3004"/>
                  </a:lnTo>
                  <a:lnTo>
                    <a:pt x="15205" y="3092"/>
                  </a:lnTo>
                  <a:lnTo>
                    <a:pt x="15210" y="3180"/>
                  </a:lnTo>
                  <a:lnTo>
                    <a:pt x="15215" y="3271"/>
                  </a:lnTo>
                  <a:lnTo>
                    <a:pt x="15218" y="3383"/>
                  </a:lnTo>
                  <a:lnTo>
                    <a:pt x="15219" y="3494"/>
                  </a:lnTo>
                  <a:lnTo>
                    <a:pt x="15219" y="3602"/>
                  </a:lnTo>
                  <a:lnTo>
                    <a:pt x="15217" y="3709"/>
                  </a:lnTo>
                  <a:lnTo>
                    <a:pt x="15212" y="3814"/>
                  </a:lnTo>
                  <a:lnTo>
                    <a:pt x="15206" y="3917"/>
                  </a:lnTo>
                  <a:lnTo>
                    <a:pt x="15199" y="4019"/>
                  </a:lnTo>
                  <a:lnTo>
                    <a:pt x="15188" y="4120"/>
                  </a:lnTo>
                  <a:lnTo>
                    <a:pt x="15177" y="4219"/>
                  </a:lnTo>
                  <a:lnTo>
                    <a:pt x="15164" y="4316"/>
                  </a:lnTo>
                  <a:lnTo>
                    <a:pt x="15149" y="4411"/>
                  </a:lnTo>
                  <a:lnTo>
                    <a:pt x="15133" y="4505"/>
                  </a:lnTo>
                  <a:lnTo>
                    <a:pt x="15115" y="4597"/>
                  </a:lnTo>
                  <a:lnTo>
                    <a:pt x="15095" y="4687"/>
                  </a:lnTo>
                  <a:lnTo>
                    <a:pt x="15075" y="4776"/>
                  </a:lnTo>
                  <a:lnTo>
                    <a:pt x="15052" y="4864"/>
                  </a:lnTo>
                  <a:lnTo>
                    <a:pt x="15028" y="4949"/>
                  </a:lnTo>
                  <a:lnTo>
                    <a:pt x="15003" y="5033"/>
                  </a:lnTo>
                  <a:lnTo>
                    <a:pt x="14977" y="5115"/>
                  </a:lnTo>
                  <a:lnTo>
                    <a:pt x="14949" y="5196"/>
                  </a:lnTo>
                  <a:lnTo>
                    <a:pt x="14919" y="5274"/>
                  </a:lnTo>
                  <a:lnTo>
                    <a:pt x="14889" y="5352"/>
                  </a:lnTo>
                  <a:lnTo>
                    <a:pt x="14857" y="5427"/>
                  </a:lnTo>
                  <a:lnTo>
                    <a:pt x="14824" y="5501"/>
                  </a:lnTo>
                  <a:lnTo>
                    <a:pt x="14790" y="5573"/>
                  </a:lnTo>
                  <a:lnTo>
                    <a:pt x="14755" y="5643"/>
                  </a:lnTo>
                  <a:lnTo>
                    <a:pt x="14718" y="5712"/>
                  </a:lnTo>
                  <a:lnTo>
                    <a:pt x="14680" y="5779"/>
                  </a:lnTo>
                  <a:lnTo>
                    <a:pt x="14642" y="5844"/>
                  </a:lnTo>
                  <a:lnTo>
                    <a:pt x="14603" y="5908"/>
                  </a:lnTo>
                  <a:lnTo>
                    <a:pt x="14563" y="5970"/>
                  </a:lnTo>
                  <a:lnTo>
                    <a:pt x="14521" y="6030"/>
                  </a:lnTo>
                  <a:lnTo>
                    <a:pt x="14479" y="6087"/>
                  </a:lnTo>
                  <a:lnTo>
                    <a:pt x="14437" y="6144"/>
                  </a:lnTo>
                  <a:lnTo>
                    <a:pt x="14393" y="6199"/>
                  </a:lnTo>
                  <a:lnTo>
                    <a:pt x="14349" y="6252"/>
                  </a:lnTo>
                  <a:lnTo>
                    <a:pt x="14304" y="6304"/>
                  </a:lnTo>
                  <a:lnTo>
                    <a:pt x="14257" y="6353"/>
                  </a:lnTo>
                  <a:lnTo>
                    <a:pt x="14211" y="6400"/>
                  </a:lnTo>
                  <a:lnTo>
                    <a:pt x="14164" y="6447"/>
                  </a:lnTo>
                  <a:lnTo>
                    <a:pt x="14116" y="6491"/>
                  </a:lnTo>
                  <a:lnTo>
                    <a:pt x="14068" y="6533"/>
                  </a:lnTo>
                  <a:lnTo>
                    <a:pt x="14019" y="6574"/>
                  </a:lnTo>
                  <a:lnTo>
                    <a:pt x="13970" y="6614"/>
                  </a:lnTo>
                  <a:lnTo>
                    <a:pt x="13921" y="6651"/>
                  </a:lnTo>
                  <a:lnTo>
                    <a:pt x="13870" y="6686"/>
                  </a:lnTo>
                  <a:lnTo>
                    <a:pt x="13819" y="6720"/>
                  </a:lnTo>
                  <a:lnTo>
                    <a:pt x="13769" y="6751"/>
                  </a:lnTo>
                  <a:lnTo>
                    <a:pt x="13718" y="6781"/>
                  </a:lnTo>
                  <a:lnTo>
                    <a:pt x="13667" y="6809"/>
                  </a:lnTo>
                  <a:lnTo>
                    <a:pt x="13615" y="6835"/>
                  </a:lnTo>
                  <a:lnTo>
                    <a:pt x="13563" y="6860"/>
                  </a:lnTo>
                  <a:lnTo>
                    <a:pt x="13511" y="6882"/>
                  </a:lnTo>
                  <a:lnTo>
                    <a:pt x="13459" y="6904"/>
                  </a:lnTo>
                  <a:lnTo>
                    <a:pt x="13407" y="6923"/>
                  </a:lnTo>
                  <a:lnTo>
                    <a:pt x="13355" y="6940"/>
                  </a:lnTo>
                  <a:lnTo>
                    <a:pt x="13302" y="6956"/>
                  </a:lnTo>
                  <a:lnTo>
                    <a:pt x="13251" y="6969"/>
                  </a:lnTo>
                  <a:lnTo>
                    <a:pt x="13198" y="6980"/>
                  </a:lnTo>
                  <a:lnTo>
                    <a:pt x="13146" y="6991"/>
                  </a:lnTo>
                  <a:lnTo>
                    <a:pt x="13095" y="6998"/>
                  </a:lnTo>
                  <a:lnTo>
                    <a:pt x="13043" y="7004"/>
                  </a:lnTo>
                  <a:lnTo>
                    <a:pt x="12991" y="7008"/>
                  </a:lnTo>
                  <a:lnTo>
                    <a:pt x="12940" y="7011"/>
                  </a:lnTo>
                  <a:lnTo>
                    <a:pt x="12846" y="7011"/>
                  </a:lnTo>
                  <a:lnTo>
                    <a:pt x="12763" y="7010"/>
                  </a:lnTo>
                  <a:lnTo>
                    <a:pt x="12683" y="7007"/>
                  </a:lnTo>
                  <a:lnTo>
                    <a:pt x="12602" y="7003"/>
                  </a:lnTo>
                  <a:lnTo>
                    <a:pt x="12524" y="6997"/>
                  </a:lnTo>
                  <a:lnTo>
                    <a:pt x="12446" y="6990"/>
                  </a:lnTo>
                  <a:lnTo>
                    <a:pt x="12370" y="6980"/>
                  </a:lnTo>
                  <a:lnTo>
                    <a:pt x="12296" y="6970"/>
                  </a:lnTo>
                  <a:lnTo>
                    <a:pt x="12222" y="6958"/>
                  </a:lnTo>
                  <a:lnTo>
                    <a:pt x="12150" y="6944"/>
                  </a:lnTo>
                  <a:lnTo>
                    <a:pt x="12080" y="6929"/>
                  </a:lnTo>
                  <a:lnTo>
                    <a:pt x="12011" y="6913"/>
                  </a:lnTo>
                  <a:lnTo>
                    <a:pt x="11943" y="6896"/>
                  </a:lnTo>
                  <a:lnTo>
                    <a:pt x="11875" y="6877"/>
                  </a:lnTo>
                  <a:lnTo>
                    <a:pt x="11810" y="6858"/>
                  </a:lnTo>
                  <a:lnTo>
                    <a:pt x="11745" y="6838"/>
                  </a:lnTo>
                  <a:lnTo>
                    <a:pt x="11683" y="6816"/>
                  </a:lnTo>
                  <a:lnTo>
                    <a:pt x="11622" y="6794"/>
                  </a:lnTo>
                  <a:lnTo>
                    <a:pt x="11562" y="6770"/>
                  </a:lnTo>
                  <a:lnTo>
                    <a:pt x="11503" y="6746"/>
                  </a:lnTo>
                  <a:lnTo>
                    <a:pt x="11445" y="6722"/>
                  </a:lnTo>
                  <a:lnTo>
                    <a:pt x="11388" y="6696"/>
                  </a:lnTo>
                  <a:lnTo>
                    <a:pt x="11334" y="6670"/>
                  </a:lnTo>
                  <a:lnTo>
                    <a:pt x="11280" y="6643"/>
                  </a:lnTo>
                  <a:lnTo>
                    <a:pt x="11227" y="6617"/>
                  </a:lnTo>
                  <a:lnTo>
                    <a:pt x="11177" y="6589"/>
                  </a:lnTo>
                  <a:lnTo>
                    <a:pt x="11127" y="6561"/>
                  </a:lnTo>
                  <a:lnTo>
                    <a:pt x="11079" y="6532"/>
                  </a:lnTo>
                  <a:lnTo>
                    <a:pt x="11031" y="6504"/>
                  </a:lnTo>
                  <a:lnTo>
                    <a:pt x="10986" y="6476"/>
                  </a:lnTo>
                  <a:lnTo>
                    <a:pt x="10941" y="6446"/>
                  </a:lnTo>
                  <a:lnTo>
                    <a:pt x="10898" y="6417"/>
                  </a:lnTo>
                  <a:lnTo>
                    <a:pt x="10856" y="6388"/>
                  </a:lnTo>
                  <a:lnTo>
                    <a:pt x="10815" y="6358"/>
                  </a:lnTo>
                  <a:lnTo>
                    <a:pt x="10776" y="6329"/>
                  </a:lnTo>
                  <a:lnTo>
                    <a:pt x="10738" y="6300"/>
                  </a:lnTo>
                  <a:lnTo>
                    <a:pt x="10701" y="6272"/>
                  </a:lnTo>
                  <a:lnTo>
                    <a:pt x="10666" y="6243"/>
                  </a:lnTo>
                  <a:lnTo>
                    <a:pt x="10632" y="6215"/>
                  </a:lnTo>
                  <a:lnTo>
                    <a:pt x="10599" y="6186"/>
                  </a:lnTo>
                  <a:lnTo>
                    <a:pt x="10568" y="6159"/>
                  </a:lnTo>
                  <a:lnTo>
                    <a:pt x="10537" y="6131"/>
                  </a:lnTo>
                  <a:lnTo>
                    <a:pt x="10508" y="6105"/>
                  </a:lnTo>
                  <a:lnTo>
                    <a:pt x="10480" y="6079"/>
                  </a:lnTo>
                  <a:lnTo>
                    <a:pt x="10454" y="6053"/>
                  </a:lnTo>
                  <a:lnTo>
                    <a:pt x="10429" y="6028"/>
                  </a:lnTo>
                  <a:lnTo>
                    <a:pt x="10405" y="6005"/>
                  </a:lnTo>
                  <a:lnTo>
                    <a:pt x="10383" y="5982"/>
                  </a:lnTo>
                  <a:lnTo>
                    <a:pt x="10361" y="5959"/>
                  </a:lnTo>
                  <a:lnTo>
                    <a:pt x="10341" y="5938"/>
                  </a:lnTo>
                  <a:lnTo>
                    <a:pt x="10323" y="5917"/>
                  </a:lnTo>
                  <a:lnTo>
                    <a:pt x="10305" y="5898"/>
                  </a:lnTo>
                  <a:lnTo>
                    <a:pt x="10290" y="5879"/>
                  </a:lnTo>
                  <a:lnTo>
                    <a:pt x="10274" y="5863"/>
                  </a:lnTo>
                  <a:lnTo>
                    <a:pt x="10261" y="5846"/>
                  </a:lnTo>
                  <a:lnTo>
                    <a:pt x="10250" y="5832"/>
                  </a:lnTo>
                  <a:lnTo>
                    <a:pt x="10238" y="5818"/>
                  </a:lnTo>
                  <a:lnTo>
                    <a:pt x="10229" y="5806"/>
                  </a:lnTo>
                  <a:lnTo>
                    <a:pt x="10221" y="5796"/>
                  </a:lnTo>
                  <a:lnTo>
                    <a:pt x="10213" y="5786"/>
                  </a:lnTo>
                  <a:lnTo>
                    <a:pt x="10207" y="5778"/>
                  </a:lnTo>
                  <a:lnTo>
                    <a:pt x="10203" y="5773"/>
                  </a:lnTo>
                  <a:lnTo>
                    <a:pt x="10200" y="5768"/>
                  </a:lnTo>
                  <a:lnTo>
                    <a:pt x="10198" y="5766"/>
                  </a:lnTo>
                  <a:lnTo>
                    <a:pt x="10197" y="5765"/>
                  </a:lnTo>
                  <a:lnTo>
                    <a:pt x="10197" y="5766"/>
                  </a:lnTo>
                  <a:lnTo>
                    <a:pt x="10197" y="5770"/>
                  </a:lnTo>
                  <a:lnTo>
                    <a:pt x="10196" y="5776"/>
                  </a:lnTo>
                  <a:lnTo>
                    <a:pt x="10194" y="5785"/>
                  </a:lnTo>
                  <a:lnTo>
                    <a:pt x="10193" y="5797"/>
                  </a:lnTo>
                  <a:lnTo>
                    <a:pt x="10191" y="5810"/>
                  </a:lnTo>
                  <a:lnTo>
                    <a:pt x="10189" y="5826"/>
                  </a:lnTo>
                  <a:lnTo>
                    <a:pt x="10187" y="5844"/>
                  </a:lnTo>
                  <a:lnTo>
                    <a:pt x="10185" y="5864"/>
                  </a:lnTo>
                  <a:lnTo>
                    <a:pt x="10182" y="5885"/>
                  </a:lnTo>
                  <a:lnTo>
                    <a:pt x="10179" y="5909"/>
                  </a:lnTo>
                  <a:lnTo>
                    <a:pt x="10177" y="5935"/>
                  </a:lnTo>
                  <a:lnTo>
                    <a:pt x="10175" y="5963"/>
                  </a:lnTo>
                  <a:lnTo>
                    <a:pt x="10172" y="5991"/>
                  </a:lnTo>
                  <a:lnTo>
                    <a:pt x="10170" y="6021"/>
                  </a:lnTo>
                  <a:lnTo>
                    <a:pt x="10168" y="6053"/>
                  </a:lnTo>
                  <a:lnTo>
                    <a:pt x="10165" y="6086"/>
                  </a:lnTo>
                  <a:lnTo>
                    <a:pt x="10163" y="6121"/>
                  </a:lnTo>
                  <a:lnTo>
                    <a:pt x="10162" y="6157"/>
                  </a:lnTo>
                  <a:lnTo>
                    <a:pt x="10160" y="6194"/>
                  </a:lnTo>
                  <a:lnTo>
                    <a:pt x="10159" y="6231"/>
                  </a:lnTo>
                  <a:lnTo>
                    <a:pt x="10158" y="6271"/>
                  </a:lnTo>
                  <a:lnTo>
                    <a:pt x="10157" y="6351"/>
                  </a:lnTo>
                  <a:lnTo>
                    <a:pt x="10157" y="6434"/>
                  </a:lnTo>
                  <a:lnTo>
                    <a:pt x="10159" y="6520"/>
                  </a:lnTo>
                  <a:lnTo>
                    <a:pt x="10163" y="6607"/>
                  </a:lnTo>
                  <a:lnTo>
                    <a:pt x="10170" y="6696"/>
                  </a:lnTo>
                  <a:lnTo>
                    <a:pt x="10179" y="6784"/>
                  </a:lnTo>
                  <a:lnTo>
                    <a:pt x="10192" y="6872"/>
                  </a:lnTo>
                  <a:lnTo>
                    <a:pt x="10207" y="6959"/>
                  </a:lnTo>
                  <a:lnTo>
                    <a:pt x="10226" y="7044"/>
                  </a:lnTo>
                  <a:lnTo>
                    <a:pt x="10249" y="7128"/>
                  </a:lnTo>
                  <a:lnTo>
                    <a:pt x="10262" y="7168"/>
                  </a:lnTo>
                  <a:lnTo>
                    <a:pt x="10275" y="7207"/>
                  </a:lnTo>
                  <a:lnTo>
                    <a:pt x="10291" y="7246"/>
                  </a:lnTo>
                  <a:lnTo>
                    <a:pt x="10306" y="7283"/>
                  </a:lnTo>
                  <a:lnTo>
                    <a:pt x="10324" y="7320"/>
                  </a:lnTo>
                  <a:lnTo>
                    <a:pt x="10342" y="7355"/>
                  </a:lnTo>
                  <a:lnTo>
                    <a:pt x="10361" y="7389"/>
                  </a:lnTo>
                  <a:lnTo>
                    <a:pt x="10383" y="7422"/>
                  </a:lnTo>
                  <a:lnTo>
                    <a:pt x="10404" y="7454"/>
                  </a:lnTo>
                  <a:lnTo>
                    <a:pt x="10427" y="7484"/>
                  </a:lnTo>
                  <a:lnTo>
                    <a:pt x="10452" y="7512"/>
                  </a:lnTo>
                  <a:lnTo>
                    <a:pt x="10478" y="7539"/>
                  </a:lnTo>
                  <a:lnTo>
                    <a:pt x="10506" y="7564"/>
                  </a:lnTo>
                  <a:lnTo>
                    <a:pt x="10535" y="7587"/>
                  </a:lnTo>
                  <a:lnTo>
                    <a:pt x="10564" y="7609"/>
                  </a:lnTo>
                  <a:lnTo>
                    <a:pt x="10596" y="7627"/>
                  </a:lnTo>
                  <a:lnTo>
                    <a:pt x="10629" y="7645"/>
                  </a:lnTo>
                  <a:lnTo>
                    <a:pt x="10665" y="7660"/>
                  </a:lnTo>
                  <a:lnTo>
                    <a:pt x="10702" y="7672"/>
                  </a:lnTo>
                  <a:lnTo>
                    <a:pt x="10740" y="7683"/>
                  </a:lnTo>
                  <a:lnTo>
                    <a:pt x="10779" y="7691"/>
                  </a:lnTo>
                  <a:lnTo>
                    <a:pt x="10820" y="7697"/>
                  </a:lnTo>
                  <a:lnTo>
                    <a:pt x="10882" y="7697"/>
                  </a:lnTo>
                  <a:lnTo>
                    <a:pt x="10923" y="7695"/>
                  </a:lnTo>
                  <a:lnTo>
                    <a:pt x="10962" y="7690"/>
                  </a:lnTo>
                  <a:lnTo>
                    <a:pt x="11000" y="7683"/>
                  </a:lnTo>
                  <a:lnTo>
                    <a:pt x="11037" y="7671"/>
                  </a:lnTo>
                  <a:lnTo>
                    <a:pt x="11073" y="7658"/>
                  </a:lnTo>
                  <a:lnTo>
                    <a:pt x="11108" y="7643"/>
                  </a:lnTo>
                  <a:lnTo>
                    <a:pt x="11142" y="7624"/>
                  </a:lnTo>
                  <a:lnTo>
                    <a:pt x="11175" y="7604"/>
                  </a:lnTo>
                  <a:lnTo>
                    <a:pt x="11206" y="7583"/>
                  </a:lnTo>
                  <a:lnTo>
                    <a:pt x="11235" y="7559"/>
                  </a:lnTo>
                  <a:lnTo>
                    <a:pt x="11264" y="7535"/>
                  </a:lnTo>
                  <a:lnTo>
                    <a:pt x="11291" y="7510"/>
                  </a:lnTo>
                  <a:lnTo>
                    <a:pt x="11318" y="7483"/>
                  </a:lnTo>
                  <a:lnTo>
                    <a:pt x="11343" y="7456"/>
                  </a:lnTo>
                  <a:lnTo>
                    <a:pt x="11367" y="7428"/>
                  </a:lnTo>
                  <a:lnTo>
                    <a:pt x="11389" y="7401"/>
                  </a:lnTo>
                  <a:lnTo>
                    <a:pt x="11411" y="7373"/>
                  </a:lnTo>
                  <a:lnTo>
                    <a:pt x="11431" y="7346"/>
                  </a:lnTo>
                  <a:lnTo>
                    <a:pt x="11449" y="7318"/>
                  </a:lnTo>
                  <a:lnTo>
                    <a:pt x="11467" y="7292"/>
                  </a:lnTo>
                  <a:lnTo>
                    <a:pt x="11483" y="7267"/>
                  </a:lnTo>
                  <a:lnTo>
                    <a:pt x="11498" y="7242"/>
                  </a:lnTo>
                  <a:lnTo>
                    <a:pt x="11511" y="7219"/>
                  </a:lnTo>
                  <a:lnTo>
                    <a:pt x="11522" y="7198"/>
                  </a:lnTo>
                  <a:lnTo>
                    <a:pt x="11534" y="7177"/>
                  </a:lnTo>
                  <a:lnTo>
                    <a:pt x="11543" y="7159"/>
                  </a:lnTo>
                  <a:lnTo>
                    <a:pt x="11550" y="7144"/>
                  </a:lnTo>
                  <a:lnTo>
                    <a:pt x="11558" y="7130"/>
                  </a:lnTo>
                  <a:lnTo>
                    <a:pt x="11562" y="7119"/>
                  </a:lnTo>
                  <a:lnTo>
                    <a:pt x="11566" y="7111"/>
                  </a:lnTo>
                  <a:lnTo>
                    <a:pt x="11568" y="7106"/>
                  </a:lnTo>
                  <a:lnTo>
                    <a:pt x="11569" y="7105"/>
                  </a:lnTo>
                  <a:lnTo>
                    <a:pt x="11724" y="7136"/>
                  </a:lnTo>
                  <a:lnTo>
                    <a:pt x="11724" y="7136"/>
                  </a:lnTo>
                  <a:lnTo>
                    <a:pt x="11724" y="7138"/>
                  </a:lnTo>
                  <a:lnTo>
                    <a:pt x="11723" y="7142"/>
                  </a:lnTo>
                  <a:lnTo>
                    <a:pt x="11721" y="7146"/>
                  </a:lnTo>
                  <a:lnTo>
                    <a:pt x="11720" y="7152"/>
                  </a:lnTo>
                  <a:lnTo>
                    <a:pt x="11718" y="7158"/>
                  </a:lnTo>
                  <a:lnTo>
                    <a:pt x="11714" y="7167"/>
                  </a:lnTo>
                  <a:lnTo>
                    <a:pt x="11712" y="7176"/>
                  </a:lnTo>
                  <a:lnTo>
                    <a:pt x="11705" y="7197"/>
                  </a:lnTo>
                  <a:lnTo>
                    <a:pt x="11696" y="7222"/>
                  </a:lnTo>
                  <a:lnTo>
                    <a:pt x="11686" y="7250"/>
                  </a:lnTo>
                  <a:lnTo>
                    <a:pt x="11674" y="7282"/>
                  </a:lnTo>
                  <a:lnTo>
                    <a:pt x="11660" y="7316"/>
                  </a:lnTo>
                  <a:lnTo>
                    <a:pt x="11644" y="7352"/>
                  </a:lnTo>
                  <a:lnTo>
                    <a:pt x="11627" y="7391"/>
                  </a:lnTo>
                  <a:lnTo>
                    <a:pt x="11607" y="7431"/>
                  </a:lnTo>
                  <a:lnTo>
                    <a:pt x="11586" y="7474"/>
                  </a:lnTo>
                  <a:lnTo>
                    <a:pt x="11563" y="7516"/>
                  </a:lnTo>
                  <a:lnTo>
                    <a:pt x="11538" y="7559"/>
                  </a:lnTo>
                  <a:lnTo>
                    <a:pt x="11510" y="7603"/>
                  </a:lnTo>
                  <a:lnTo>
                    <a:pt x="11480" y="7647"/>
                  </a:lnTo>
                  <a:lnTo>
                    <a:pt x="11449" y="7690"/>
                  </a:lnTo>
                  <a:lnTo>
                    <a:pt x="11415" y="7733"/>
                  </a:lnTo>
                  <a:lnTo>
                    <a:pt x="11379" y="7774"/>
                  </a:lnTo>
                  <a:lnTo>
                    <a:pt x="11341" y="7816"/>
                  </a:lnTo>
                  <a:lnTo>
                    <a:pt x="11299" y="7854"/>
                  </a:lnTo>
                  <a:lnTo>
                    <a:pt x="11257" y="7891"/>
                  </a:lnTo>
                  <a:lnTo>
                    <a:pt x="11212" y="7925"/>
                  </a:lnTo>
                  <a:lnTo>
                    <a:pt x="11164" y="7956"/>
                  </a:lnTo>
                  <a:lnTo>
                    <a:pt x="11114" y="7985"/>
                  </a:lnTo>
                  <a:lnTo>
                    <a:pt x="11061" y="8009"/>
                  </a:lnTo>
                  <a:lnTo>
                    <a:pt x="11005" y="8031"/>
                  </a:lnTo>
                  <a:lnTo>
                    <a:pt x="10977" y="8040"/>
                  </a:lnTo>
                  <a:lnTo>
                    <a:pt x="10947" y="8047"/>
                  </a:lnTo>
                  <a:lnTo>
                    <a:pt x="10917" y="8055"/>
                  </a:lnTo>
                  <a:lnTo>
                    <a:pt x="10888" y="8061"/>
                  </a:lnTo>
                  <a:lnTo>
                    <a:pt x="10856" y="8065"/>
                  </a:lnTo>
                  <a:lnTo>
                    <a:pt x="10824" y="8068"/>
                  </a:lnTo>
                  <a:lnTo>
                    <a:pt x="10792" y="8070"/>
                  </a:lnTo>
                  <a:lnTo>
                    <a:pt x="10759" y="8071"/>
                  </a:lnTo>
                  <a:lnTo>
                    <a:pt x="10711" y="8069"/>
                  </a:lnTo>
                  <a:lnTo>
                    <a:pt x="10665" y="8065"/>
                  </a:lnTo>
                  <a:lnTo>
                    <a:pt x="10618" y="8058"/>
                  </a:lnTo>
                  <a:lnTo>
                    <a:pt x="10572" y="8047"/>
                  </a:lnTo>
                  <a:lnTo>
                    <a:pt x="10524" y="8034"/>
                  </a:lnTo>
                  <a:lnTo>
                    <a:pt x="10478" y="8019"/>
                  </a:lnTo>
                  <a:lnTo>
                    <a:pt x="10431" y="7999"/>
                  </a:lnTo>
                  <a:lnTo>
                    <a:pt x="10384" y="7977"/>
                  </a:lnTo>
                  <a:lnTo>
                    <a:pt x="10331" y="7952"/>
                  </a:lnTo>
                  <a:lnTo>
                    <a:pt x="10276" y="7924"/>
                  </a:lnTo>
                  <a:lnTo>
                    <a:pt x="10222" y="7892"/>
                  </a:lnTo>
                  <a:lnTo>
                    <a:pt x="10166" y="7857"/>
                  </a:lnTo>
                  <a:lnTo>
                    <a:pt x="10109" y="7821"/>
                  </a:lnTo>
                  <a:lnTo>
                    <a:pt x="10053" y="7781"/>
                  </a:lnTo>
                  <a:lnTo>
                    <a:pt x="9999" y="7739"/>
                  </a:lnTo>
                  <a:lnTo>
                    <a:pt x="9944" y="7696"/>
                  </a:lnTo>
                  <a:lnTo>
                    <a:pt x="9890" y="7652"/>
                  </a:lnTo>
                  <a:lnTo>
                    <a:pt x="9839" y="7607"/>
                  </a:lnTo>
                  <a:lnTo>
                    <a:pt x="9788" y="7560"/>
                  </a:lnTo>
                  <a:lnTo>
                    <a:pt x="9740" y="7513"/>
                  </a:lnTo>
                  <a:lnTo>
                    <a:pt x="9694" y="7465"/>
                  </a:lnTo>
                  <a:lnTo>
                    <a:pt x="9651" y="7417"/>
                  </a:lnTo>
                  <a:lnTo>
                    <a:pt x="9611" y="7370"/>
                  </a:lnTo>
                  <a:lnTo>
                    <a:pt x="9573" y="7323"/>
                  </a:lnTo>
                  <a:lnTo>
                    <a:pt x="9524" y="7310"/>
                  </a:lnTo>
                  <a:lnTo>
                    <a:pt x="9475" y="7295"/>
                  </a:lnTo>
                  <a:lnTo>
                    <a:pt x="9426" y="7279"/>
                  </a:lnTo>
                  <a:lnTo>
                    <a:pt x="9377" y="7260"/>
                  </a:lnTo>
                  <a:lnTo>
                    <a:pt x="9330" y="7241"/>
                  </a:lnTo>
                  <a:lnTo>
                    <a:pt x="9282" y="7219"/>
                  </a:lnTo>
                  <a:lnTo>
                    <a:pt x="9236" y="7197"/>
                  </a:lnTo>
                  <a:lnTo>
                    <a:pt x="9189" y="7173"/>
                  </a:lnTo>
                  <a:lnTo>
                    <a:pt x="9145" y="7148"/>
                  </a:lnTo>
                  <a:lnTo>
                    <a:pt x="9101" y="7123"/>
                  </a:lnTo>
                  <a:lnTo>
                    <a:pt x="9057" y="7098"/>
                  </a:lnTo>
                  <a:lnTo>
                    <a:pt x="9016" y="7071"/>
                  </a:lnTo>
                  <a:lnTo>
                    <a:pt x="8975" y="7044"/>
                  </a:lnTo>
                  <a:lnTo>
                    <a:pt x="8935" y="7017"/>
                  </a:lnTo>
                  <a:lnTo>
                    <a:pt x="8897" y="6991"/>
                  </a:lnTo>
                  <a:lnTo>
                    <a:pt x="8861" y="6965"/>
                  </a:lnTo>
                  <a:lnTo>
                    <a:pt x="8826" y="6938"/>
                  </a:lnTo>
                  <a:lnTo>
                    <a:pt x="8793" y="6912"/>
                  </a:lnTo>
                  <a:lnTo>
                    <a:pt x="8761" y="6888"/>
                  </a:lnTo>
                  <a:lnTo>
                    <a:pt x="8731" y="6864"/>
                  </a:lnTo>
                  <a:lnTo>
                    <a:pt x="8703" y="6841"/>
                  </a:lnTo>
                  <a:lnTo>
                    <a:pt x="8677" y="6819"/>
                  </a:lnTo>
                  <a:lnTo>
                    <a:pt x="8654" y="6798"/>
                  </a:lnTo>
                  <a:lnTo>
                    <a:pt x="8632" y="6779"/>
                  </a:lnTo>
                  <a:lnTo>
                    <a:pt x="8612" y="6762"/>
                  </a:lnTo>
                  <a:lnTo>
                    <a:pt x="8595" y="6746"/>
                  </a:lnTo>
                  <a:lnTo>
                    <a:pt x="8580" y="6733"/>
                  </a:lnTo>
                  <a:lnTo>
                    <a:pt x="8568" y="6721"/>
                  </a:lnTo>
                  <a:lnTo>
                    <a:pt x="8559" y="6711"/>
                  </a:lnTo>
                  <a:lnTo>
                    <a:pt x="8551" y="6705"/>
                  </a:lnTo>
                  <a:lnTo>
                    <a:pt x="8547" y="6701"/>
                  </a:lnTo>
                  <a:lnTo>
                    <a:pt x="8545" y="6699"/>
                  </a:lnTo>
                  <a:lnTo>
                    <a:pt x="8546" y="6701"/>
                  </a:lnTo>
                  <a:lnTo>
                    <a:pt x="8547" y="6706"/>
                  </a:lnTo>
                  <a:lnTo>
                    <a:pt x="8549" y="6716"/>
                  </a:lnTo>
                  <a:lnTo>
                    <a:pt x="8553" y="6728"/>
                  </a:lnTo>
                  <a:lnTo>
                    <a:pt x="8559" y="6743"/>
                  </a:lnTo>
                  <a:lnTo>
                    <a:pt x="8565" y="6762"/>
                  </a:lnTo>
                  <a:lnTo>
                    <a:pt x="8574" y="6784"/>
                  </a:lnTo>
                  <a:lnTo>
                    <a:pt x="8584" y="6808"/>
                  </a:lnTo>
                  <a:lnTo>
                    <a:pt x="8597" y="6836"/>
                  </a:lnTo>
                  <a:lnTo>
                    <a:pt x="8612" y="6867"/>
                  </a:lnTo>
                  <a:lnTo>
                    <a:pt x="8630" y="6900"/>
                  </a:lnTo>
                  <a:lnTo>
                    <a:pt x="8651" y="6936"/>
                  </a:lnTo>
                  <a:lnTo>
                    <a:pt x="8674" y="6975"/>
                  </a:lnTo>
                  <a:lnTo>
                    <a:pt x="8701" y="7015"/>
                  </a:lnTo>
                  <a:lnTo>
                    <a:pt x="8730" y="7059"/>
                  </a:lnTo>
                  <a:lnTo>
                    <a:pt x="8764" y="7105"/>
                  </a:lnTo>
                  <a:lnTo>
                    <a:pt x="8812" y="7163"/>
                  </a:lnTo>
                  <a:lnTo>
                    <a:pt x="8862" y="7218"/>
                  </a:lnTo>
                  <a:lnTo>
                    <a:pt x="8914" y="7272"/>
                  </a:lnTo>
                  <a:lnTo>
                    <a:pt x="8966" y="7323"/>
                  </a:lnTo>
                  <a:lnTo>
                    <a:pt x="9019" y="7373"/>
                  </a:lnTo>
                  <a:lnTo>
                    <a:pt x="9071" y="7419"/>
                  </a:lnTo>
                  <a:lnTo>
                    <a:pt x="9121" y="7462"/>
                  </a:lnTo>
                  <a:lnTo>
                    <a:pt x="9169" y="7501"/>
                  </a:lnTo>
                  <a:lnTo>
                    <a:pt x="9214" y="7539"/>
                  </a:lnTo>
                  <a:lnTo>
                    <a:pt x="9235" y="7555"/>
                  </a:lnTo>
                  <a:lnTo>
                    <a:pt x="9255" y="7570"/>
                  </a:lnTo>
                  <a:lnTo>
                    <a:pt x="9275" y="7585"/>
                  </a:lnTo>
                  <a:lnTo>
                    <a:pt x="9293" y="7598"/>
                  </a:lnTo>
                  <a:lnTo>
                    <a:pt x="9309" y="7611"/>
                  </a:lnTo>
                  <a:lnTo>
                    <a:pt x="9325" y="7622"/>
                  </a:lnTo>
                  <a:lnTo>
                    <a:pt x="9338" y="7631"/>
                  </a:lnTo>
                  <a:lnTo>
                    <a:pt x="9350" y="7641"/>
                  </a:lnTo>
                  <a:lnTo>
                    <a:pt x="9362" y="7648"/>
                  </a:lnTo>
                  <a:lnTo>
                    <a:pt x="9370" y="7654"/>
                  </a:lnTo>
                  <a:lnTo>
                    <a:pt x="9377" y="7659"/>
                  </a:lnTo>
                  <a:lnTo>
                    <a:pt x="9382" y="7662"/>
                  </a:lnTo>
                  <a:lnTo>
                    <a:pt x="9386" y="7665"/>
                  </a:lnTo>
                  <a:lnTo>
                    <a:pt x="9387" y="7665"/>
                  </a:lnTo>
                  <a:lnTo>
                    <a:pt x="9387" y="7666"/>
                  </a:lnTo>
                  <a:lnTo>
                    <a:pt x="9386" y="7670"/>
                  </a:lnTo>
                  <a:lnTo>
                    <a:pt x="9382" y="7677"/>
                  </a:lnTo>
                  <a:lnTo>
                    <a:pt x="9379" y="7684"/>
                  </a:lnTo>
                  <a:lnTo>
                    <a:pt x="9376" y="7694"/>
                  </a:lnTo>
                  <a:lnTo>
                    <a:pt x="9371" y="7706"/>
                  </a:lnTo>
                  <a:lnTo>
                    <a:pt x="9366" y="7721"/>
                  </a:lnTo>
                  <a:lnTo>
                    <a:pt x="9360" y="7737"/>
                  </a:lnTo>
                  <a:lnTo>
                    <a:pt x="9352" y="7756"/>
                  </a:lnTo>
                  <a:lnTo>
                    <a:pt x="9344" y="7775"/>
                  </a:lnTo>
                  <a:lnTo>
                    <a:pt x="9336" y="7797"/>
                  </a:lnTo>
                  <a:lnTo>
                    <a:pt x="9327" y="7821"/>
                  </a:lnTo>
                  <a:lnTo>
                    <a:pt x="9317" y="7845"/>
                  </a:lnTo>
                  <a:lnTo>
                    <a:pt x="9307" y="7872"/>
                  </a:lnTo>
                  <a:lnTo>
                    <a:pt x="9296" y="7901"/>
                  </a:lnTo>
                  <a:lnTo>
                    <a:pt x="9284" y="7930"/>
                  </a:lnTo>
                  <a:lnTo>
                    <a:pt x="9272" y="7962"/>
                  </a:lnTo>
                  <a:lnTo>
                    <a:pt x="9260" y="7994"/>
                  </a:lnTo>
                  <a:lnTo>
                    <a:pt x="9246" y="8027"/>
                  </a:lnTo>
                  <a:lnTo>
                    <a:pt x="9232" y="8062"/>
                  </a:lnTo>
                  <a:lnTo>
                    <a:pt x="9217" y="8098"/>
                  </a:lnTo>
                  <a:lnTo>
                    <a:pt x="9203" y="8135"/>
                  </a:lnTo>
                  <a:lnTo>
                    <a:pt x="9172" y="8211"/>
                  </a:lnTo>
                  <a:lnTo>
                    <a:pt x="9139" y="8291"/>
                  </a:lnTo>
                  <a:lnTo>
                    <a:pt x="9105" y="8374"/>
                  </a:lnTo>
                  <a:lnTo>
                    <a:pt x="9070" y="8459"/>
                  </a:lnTo>
                  <a:lnTo>
                    <a:pt x="9032" y="8546"/>
                  </a:lnTo>
                  <a:lnTo>
                    <a:pt x="8994" y="8635"/>
                  </a:lnTo>
                  <a:lnTo>
                    <a:pt x="8956" y="8723"/>
                  </a:lnTo>
                  <a:lnTo>
                    <a:pt x="8878" y="8901"/>
                  </a:lnTo>
                  <a:lnTo>
                    <a:pt x="8837" y="8989"/>
                  </a:lnTo>
                  <a:lnTo>
                    <a:pt x="8797" y="9075"/>
                  </a:lnTo>
                  <a:lnTo>
                    <a:pt x="8757" y="9161"/>
                  </a:lnTo>
                  <a:lnTo>
                    <a:pt x="8717" y="9243"/>
                  </a:lnTo>
                  <a:lnTo>
                    <a:pt x="8676" y="9323"/>
                  </a:lnTo>
                  <a:lnTo>
                    <a:pt x="8637" y="9399"/>
                  </a:lnTo>
                  <a:lnTo>
                    <a:pt x="8617" y="9435"/>
                  </a:lnTo>
                  <a:lnTo>
                    <a:pt x="8599" y="9471"/>
                  </a:lnTo>
                  <a:lnTo>
                    <a:pt x="8579" y="9505"/>
                  </a:lnTo>
                  <a:lnTo>
                    <a:pt x="8561" y="9539"/>
                  </a:lnTo>
                  <a:lnTo>
                    <a:pt x="8542" y="9571"/>
                  </a:lnTo>
                  <a:lnTo>
                    <a:pt x="8524" y="9601"/>
                  </a:lnTo>
                  <a:lnTo>
                    <a:pt x="8506" y="9631"/>
                  </a:lnTo>
                  <a:lnTo>
                    <a:pt x="8488" y="9658"/>
                  </a:lnTo>
                  <a:lnTo>
                    <a:pt x="8471" y="9684"/>
                  </a:lnTo>
                  <a:lnTo>
                    <a:pt x="8453" y="9709"/>
                  </a:lnTo>
                  <a:lnTo>
                    <a:pt x="8437" y="9733"/>
                  </a:lnTo>
                  <a:lnTo>
                    <a:pt x="8420" y="9753"/>
                  </a:lnTo>
                  <a:lnTo>
                    <a:pt x="8388" y="9794"/>
                  </a:lnTo>
                  <a:lnTo>
                    <a:pt x="8354" y="9835"/>
                  </a:lnTo>
                  <a:lnTo>
                    <a:pt x="8284" y="9913"/>
                  </a:lnTo>
                  <a:lnTo>
                    <a:pt x="8210" y="9990"/>
                  </a:lnTo>
                  <a:lnTo>
                    <a:pt x="8132" y="10065"/>
                  </a:lnTo>
                  <a:lnTo>
                    <a:pt x="8052" y="10138"/>
                  </a:lnTo>
                  <a:lnTo>
                    <a:pt x="7969" y="10212"/>
                  </a:lnTo>
                  <a:lnTo>
                    <a:pt x="7885" y="10283"/>
                  </a:lnTo>
                  <a:lnTo>
                    <a:pt x="7798" y="10354"/>
                  </a:lnTo>
                  <a:lnTo>
                    <a:pt x="7709" y="10423"/>
                  </a:lnTo>
                  <a:lnTo>
                    <a:pt x="7620" y="10493"/>
                  </a:lnTo>
                  <a:lnTo>
                    <a:pt x="7440" y="10630"/>
                  </a:lnTo>
                  <a:lnTo>
                    <a:pt x="7258" y="10768"/>
                  </a:lnTo>
                  <a:lnTo>
                    <a:pt x="7169" y="10837"/>
                  </a:lnTo>
                  <a:lnTo>
                    <a:pt x="7080" y="10907"/>
                  </a:lnTo>
                  <a:lnTo>
                    <a:pt x="7046" y="10935"/>
                  </a:lnTo>
                  <a:lnTo>
                    <a:pt x="7013" y="10960"/>
                  </a:lnTo>
                  <a:lnTo>
                    <a:pt x="6981" y="10984"/>
                  </a:lnTo>
                  <a:lnTo>
                    <a:pt x="6951" y="11007"/>
                  </a:lnTo>
                  <a:lnTo>
                    <a:pt x="6921" y="11026"/>
                  </a:lnTo>
                  <a:lnTo>
                    <a:pt x="6894" y="11044"/>
                  </a:lnTo>
                  <a:lnTo>
                    <a:pt x="6866" y="11060"/>
                  </a:lnTo>
                  <a:lnTo>
                    <a:pt x="6839" y="11074"/>
                  </a:lnTo>
                  <a:lnTo>
                    <a:pt x="6813" y="11086"/>
                  </a:lnTo>
                  <a:lnTo>
                    <a:pt x="6788" y="11097"/>
                  </a:lnTo>
                  <a:lnTo>
                    <a:pt x="6763" y="11106"/>
                  </a:lnTo>
                  <a:lnTo>
                    <a:pt x="6739" y="11113"/>
                  </a:lnTo>
                  <a:lnTo>
                    <a:pt x="6715" y="11118"/>
                  </a:lnTo>
                  <a:lnTo>
                    <a:pt x="6691" y="11122"/>
                  </a:lnTo>
                  <a:lnTo>
                    <a:pt x="6667" y="11124"/>
                  </a:lnTo>
                  <a:lnTo>
                    <a:pt x="6645" y="11125"/>
                  </a:lnTo>
                  <a:lnTo>
                    <a:pt x="6627" y="11124"/>
                  </a:lnTo>
                  <a:lnTo>
                    <a:pt x="6610" y="11123"/>
                  </a:lnTo>
                  <a:lnTo>
                    <a:pt x="6592" y="11120"/>
                  </a:lnTo>
                  <a:lnTo>
                    <a:pt x="6576" y="11116"/>
                  </a:lnTo>
                  <a:lnTo>
                    <a:pt x="6558" y="11111"/>
                  </a:lnTo>
                  <a:lnTo>
                    <a:pt x="6541" y="11105"/>
                  </a:lnTo>
                  <a:lnTo>
                    <a:pt x="6524" y="11097"/>
                  </a:lnTo>
                  <a:lnTo>
                    <a:pt x="6506" y="11089"/>
                  </a:lnTo>
                  <a:lnTo>
                    <a:pt x="6489" y="11080"/>
                  </a:lnTo>
                  <a:lnTo>
                    <a:pt x="6471" y="11070"/>
                  </a:lnTo>
                  <a:lnTo>
                    <a:pt x="6454" y="11057"/>
                  </a:lnTo>
                  <a:lnTo>
                    <a:pt x="6436" y="11044"/>
                  </a:lnTo>
                  <a:lnTo>
                    <a:pt x="6418" y="11030"/>
                  </a:lnTo>
                  <a:lnTo>
                    <a:pt x="6399" y="11015"/>
                  </a:lnTo>
                  <a:lnTo>
                    <a:pt x="6379" y="10998"/>
                  </a:lnTo>
                  <a:lnTo>
                    <a:pt x="6360" y="10981"/>
                  </a:lnTo>
                  <a:lnTo>
                    <a:pt x="6340" y="10961"/>
                  </a:lnTo>
                  <a:lnTo>
                    <a:pt x="6320" y="10942"/>
                  </a:lnTo>
                  <a:lnTo>
                    <a:pt x="6299" y="10920"/>
                  </a:lnTo>
                  <a:lnTo>
                    <a:pt x="6277" y="10898"/>
                  </a:lnTo>
                  <a:lnTo>
                    <a:pt x="6255" y="10874"/>
                  </a:lnTo>
                  <a:lnTo>
                    <a:pt x="6232" y="10849"/>
                  </a:lnTo>
                  <a:lnTo>
                    <a:pt x="6208" y="10823"/>
                  </a:lnTo>
                  <a:lnTo>
                    <a:pt x="6184" y="10796"/>
                  </a:lnTo>
                  <a:lnTo>
                    <a:pt x="6160" y="10768"/>
                  </a:lnTo>
                  <a:lnTo>
                    <a:pt x="6134" y="10738"/>
                  </a:lnTo>
                  <a:lnTo>
                    <a:pt x="6107" y="10707"/>
                  </a:lnTo>
                  <a:lnTo>
                    <a:pt x="6079" y="10674"/>
                  </a:lnTo>
                  <a:lnTo>
                    <a:pt x="6050" y="10641"/>
                  </a:lnTo>
                  <a:lnTo>
                    <a:pt x="6021" y="10606"/>
                  </a:lnTo>
                  <a:lnTo>
                    <a:pt x="5990" y="10570"/>
                  </a:lnTo>
                  <a:lnTo>
                    <a:pt x="5958" y="10533"/>
                  </a:lnTo>
                  <a:lnTo>
                    <a:pt x="5938" y="10505"/>
                  </a:lnTo>
                  <a:lnTo>
                    <a:pt x="5917" y="10478"/>
                  </a:lnTo>
                  <a:lnTo>
                    <a:pt x="5897" y="10453"/>
                  </a:lnTo>
                  <a:lnTo>
                    <a:pt x="5880" y="10427"/>
                  </a:lnTo>
                  <a:lnTo>
                    <a:pt x="5846" y="10377"/>
                  </a:lnTo>
                  <a:lnTo>
                    <a:pt x="5817" y="10330"/>
                  </a:lnTo>
                  <a:lnTo>
                    <a:pt x="5791" y="10286"/>
                  </a:lnTo>
                  <a:lnTo>
                    <a:pt x="5769" y="10242"/>
                  </a:lnTo>
                  <a:lnTo>
                    <a:pt x="5751" y="10202"/>
                  </a:lnTo>
                  <a:lnTo>
                    <a:pt x="5735" y="10163"/>
                  </a:lnTo>
                  <a:lnTo>
                    <a:pt x="5724" y="10127"/>
                  </a:lnTo>
                  <a:lnTo>
                    <a:pt x="5715" y="10092"/>
                  </a:lnTo>
                  <a:lnTo>
                    <a:pt x="5708" y="10059"/>
                  </a:lnTo>
                  <a:lnTo>
                    <a:pt x="5705" y="10027"/>
                  </a:lnTo>
                  <a:lnTo>
                    <a:pt x="5705" y="9997"/>
                  </a:lnTo>
                  <a:lnTo>
                    <a:pt x="5706" y="9969"/>
                  </a:lnTo>
                  <a:lnTo>
                    <a:pt x="5710" y="9943"/>
                  </a:lnTo>
                  <a:lnTo>
                    <a:pt x="5718" y="9917"/>
                  </a:lnTo>
                  <a:lnTo>
                    <a:pt x="5726" y="9893"/>
                  </a:lnTo>
                  <a:lnTo>
                    <a:pt x="5735" y="9870"/>
                  </a:lnTo>
                  <a:lnTo>
                    <a:pt x="5748" y="9848"/>
                  </a:lnTo>
                  <a:lnTo>
                    <a:pt x="5761" y="9827"/>
                  </a:lnTo>
                  <a:lnTo>
                    <a:pt x="5776" y="9808"/>
                  </a:lnTo>
                  <a:lnTo>
                    <a:pt x="5792" y="9788"/>
                  </a:lnTo>
                  <a:lnTo>
                    <a:pt x="5810" y="9770"/>
                  </a:lnTo>
                  <a:lnTo>
                    <a:pt x="5827" y="9752"/>
                  </a:lnTo>
                  <a:lnTo>
                    <a:pt x="5866" y="9719"/>
                  </a:lnTo>
                  <a:lnTo>
                    <a:pt x="5907" y="9688"/>
                  </a:lnTo>
                  <a:lnTo>
                    <a:pt x="5949" y="9658"/>
                  </a:lnTo>
                  <a:lnTo>
                    <a:pt x="5990" y="9628"/>
                  </a:lnTo>
                  <a:lnTo>
                    <a:pt x="6073" y="9583"/>
                  </a:lnTo>
                  <a:lnTo>
                    <a:pt x="6156" y="9541"/>
                  </a:lnTo>
                  <a:lnTo>
                    <a:pt x="6197" y="9520"/>
                  </a:lnTo>
                  <a:lnTo>
                    <a:pt x="6237" y="9500"/>
                  </a:lnTo>
                  <a:lnTo>
                    <a:pt x="6276" y="9480"/>
                  </a:lnTo>
                  <a:lnTo>
                    <a:pt x="6313" y="9462"/>
                  </a:lnTo>
                  <a:lnTo>
                    <a:pt x="6348" y="9442"/>
                  </a:lnTo>
                  <a:lnTo>
                    <a:pt x="6383" y="9424"/>
                  </a:lnTo>
                  <a:lnTo>
                    <a:pt x="6413" y="9406"/>
                  </a:lnTo>
                  <a:lnTo>
                    <a:pt x="6441" y="9387"/>
                  </a:lnTo>
                  <a:lnTo>
                    <a:pt x="6466" y="9370"/>
                  </a:lnTo>
                  <a:lnTo>
                    <a:pt x="6488" y="9352"/>
                  </a:lnTo>
                  <a:lnTo>
                    <a:pt x="6505" y="9335"/>
                  </a:lnTo>
                  <a:lnTo>
                    <a:pt x="6514" y="9326"/>
                  </a:lnTo>
                  <a:lnTo>
                    <a:pt x="6520" y="9317"/>
                  </a:lnTo>
                  <a:lnTo>
                    <a:pt x="6525" y="9307"/>
                  </a:lnTo>
                  <a:lnTo>
                    <a:pt x="6530" y="9295"/>
                  </a:lnTo>
                  <a:lnTo>
                    <a:pt x="6535" y="9279"/>
                  </a:lnTo>
                  <a:lnTo>
                    <a:pt x="6538" y="9262"/>
                  </a:lnTo>
                  <a:lnTo>
                    <a:pt x="6543" y="9242"/>
                  </a:lnTo>
                  <a:lnTo>
                    <a:pt x="6546" y="9222"/>
                  </a:lnTo>
                  <a:lnTo>
                    <a:pt x="6549" y="9198"/>
                  </a:lnTo>
                  <a:lnTo>
                    <a:pt x="6551" y="9173"/>
                  </a:lnTo>
                  <a:lnTo>
                    <a:pt x="6553" y="9147"/>
                  </a:lnTo>
                  <a:lnTo>
                    <a:pt x="6555" y="9120"/>
                  </a:lnTo>
                  <a:lnTo>
                    <a:pt x="6556" y="9092"/>
                  </a:lnTo>
                  <a:lnTo>
                    <a:pt x="6557" y="9062"/>
                  </a:lnTo>
                  <a:lnTo>
                    <a:pt x="6558" y="9001"/>
                  </a:lnTo>
                  <a:lnTo>
                    <a:pt x="6559" y="8939"/>
                  </a:lnTo>
                  <a:lnTo>
                    <a:pt x="6558" y="8877"/>
                  </a:lnTo>
                  <a:lnTo>
                    <a:pt x="6558" y="8815"/>
                  </a:lnTo>
                  <a:lnTo>
                    <a:pt x="6556" y="8755"/>
                  </a:lnTo>
                  <a:lnTo>
                    <a:pt x="6556" y="8726"/>
                  </a:lnTo>
                  <a:lnTo>
                    <a:pt x="6555" y="8699"/>
                  </a:lnTo>
                  <a:lnTo>
                    <a:pt x="6554" y="8673"/>
                  </a:lnTo>
                  <a:lnTo>
                    <a:pt x="6554" y="8648"/>
                  </a:lnTo>
                  <a:lnTo>
                    <a:pt x="6553" y="8625"/>
                  </a:lnTo>
                  <a:lnTo>
                    <a:pt x="6552" y="8604"/>
                  </a:lnTo>
                  <a:lnTo>
                    <a:pt x="6552" y="8584"/>
                  </a:lnTo>
                  <a:lnTo>
                    <a:pt x="6552" y="8567"/>
                  </a:lnTo>
                  <a:lnTo>
                    <a:pt x="6551" y="8551"/>
                  </a:lnTo>
                  <a:lnTo>
                    <a:pt x="6551" y="8538"/>
                  </a:lnTo>
                  <a:lnTo>
                    <a:pt x="6548" y="8561"/>
                  </a:lnTo>
                  <a:lnTo>
                    <a:pt x="6543" y="8586"/>
                  </a:lnTo>
                  <a:lnTo>
                    <a:pt x="6537" y="8612"/>
                  </a:lnTo>
                  <a:lnTo>
                    <a:pt x="6530" y="8638"/>
                  </a:lnTo>
                  <a:lnTo>
                    <a:pt x="6522" y="8664"/>
                  </a:lnTo>
                  <a:lnTo>
                    <a:pt x="6512" y="8691"/>
                  </a:lnTo>
                  <a:lnTo>
                    <a:pt x="6500" y="8718"/>
                  </a:lnTo>
                  <a:lnTo>
                    <a:pt x="6488" y="8746"/>
                  </a:lnTo>
                  <a:lnTo>
                    <a:pt x="6474" y="8773"/>
                  </a:lnTo>
                  <a:lnTo>
                    <a:pt x="6458" y="8800"/>
                  </a:lnTo>
                  <a:lnTo>
                    <a:pt x="6441" y="8827"/>
                  </a:lnTo>
                  <a:lnTo>
                    <a:pt x="6422" y="8855"/>
                  </a:lnTo>
                  <a:lnTo>
                    <a:pt x="6401" y="8882"/>
                  </a:lnTo>
                  <a:lnTo>
                    <a:pt x="6379" y="8907"/>
                  </a:lnTo>
                  <a:lnTo>
                    <a:pt x="6355" y="8933"/>
                  </a:lnTo>
                  <a:lnTo>
                    <a:pt x="6329" y="8959"/>
                  </a:lnTo>
                  <a:lnTo>
                    <a:pt x="6301" y="8984"/>
                  </a:lnTo>
                  <a:lnTo>
                    <a:pt x="6271" y="9006"/>
                  </a:lnTo>
                  <a:lnTo>
                    <a:pt x="6239" y="9029"/>
                  </a:lnTo>
                  <a:lnTo>
                    <a:pt x="6205" y="9052"/>
                  </a:lnTo>
                  <a:lnTo>
                    <a:pt x="6169" y="9071"/>
                  </a:lnTo>
                  <a:lnTo>
                    <a:pt x="6131" y="9091"/>
                  </a:lnTo>
                  <a:lnTo>
                    <a:pt x="6089" y="9109"/>
                  </a:lnTo>
                  <a:lnTo>
                    <a:pt x="6047" y="9126"/>
                  </a:lnTo>
                  <a:lnTo>
                    <a:pt x="6002" y="9140"/>
                  </a:lnTo>
                  <a:lnTo>
                    <a:pt x="5954" y="9154"/>
                  </a:lnTo>
                  <a:lnTo>
                    <a:pt x="5905" y="9165"/>
                  </a:lnTo>
                  <a:lnTo>
                    <a:pt x="5852" y="9174"/>
                  </a:lnTo>
                  <a:lnTo>
                    <a:pt x="5796" y="9182"/>
                  </a:lnTo>
                  <a:lnTo>
                    <a:pt x="5739" y="9188"/>
                  </a:lnTo>
                  <a:lnTo>
                    <a:pt x="5678" y="9192"/>
                  </a:lnTo>
                  <a:lnTo>
                    <a:pt x="5616" y="9193"/>
                  </a:lnTo>
                  <a:lnTo>
                    <a:pt x="5554" y="9193"/>
                  </a:lnTo>
                  <a:lnTo>
                    <a:pt x="5477" y="9188"/>
                  </a:lnTo>
                  <a:lnTo>
                    <a:pt x="5403" y="9180"/>
                  </a:lnTo>
                  <a:lnTo>
                    <a:pt x="5334" y="9170"/>
                  </a:lnTo>
                  <a:lnTo>
                    <a:pt x="5267" y="9158"/>
                  </a:lnTo>
                  <a:lnTo>
                    <a:pt x="5204" y="9142"/>
                  </a:lnTo>
                  <a:lnTo>
                    <a:pt x="5144" y="9126"/>
                  </a:lnTo>
                  <a:lnTo>
                    <a:pt x="5086" y="9106"/>
                  </a:lnTo>
                  <a:lnTo>
                    <a:pt x="5032" y="9085"/>
                  </a:lnTo>
                  <a:lnTo>
                    <a:pt x="4982" y="9062"/>
                  </a:lnTo>
                  <a:lnTo>
                    <a:pt x="4934" y="9037"/>
                  </a:lnTo>
                  <a:lnTo>
                    <a:pt x="4889" y="9012"/>
                  </a:lnTo>
                  <a:lnTo>
                    <a:pt x="4847" y="8985"/>
                  </a:lnTo>
                  <a:lnTo>
                    <a:pt x="4807" y="8957"/>
                  </a:lnTo>
                  <a:lnTo>
                    <a:pt x="4771" y="8928"/>
                  </a:lnTo>
                  <a:lnTo>
                    <a:pt x="4736" y="8899"/>
                  </a:lnTo>
                  <a:lnTo>
                    <a:pt x="4704" y="8869"/>
                  </a:lnTo>
                  <a:lnTo>
                    <a:pt x="4675" y="8839"/>
                  </a:lnTo>
                  <a:lnTo>
                    <a:pt x="4647" y="8809"/>
                  </a:lnTo>
                  <a:lnTo>
                    <a:pt x="4622" y="8779"/>
                  </a:lnTo>
                  <a:lnTo>
                    <a:pt x="4600" y="8749"/>
                  </a:lnTo>
                  <a:lnTo>
                    <a:pt x="4579" y="8720"/>
                  </a:lnTo>
                  <a:lnTo>
                    <a:pt x="4560" y="8691"/>
                  </a:lnTo>
                  <a:lnTo>
                    <a:pt x="4543" y="8663"/>
                  </a:lnTo>
                  <a:lnTo>
                    <a:pt x="4528" y="8636"/>
                  </a:lnTo>
                  <a:lnTo>
                    <a:pt x="4515" y="8610"/>
                  </a:lnTo>
                  <a:lnTo>
                    <a:pt x="4503" y="8585"/>
                  </a:lnTo>
                  <a:lnTo>
                    <a:pt x="4492" y="8562"/>
                  </a:lnTo>
                  <a:lnTo>
                    <a:pt x="4484" y="8541"/>
                  </a:lnTo>
                  <a:lnTo>
                    <a:pt x="4477" y="8521"/>
                  </a:lnTo>
                  <a:lnTo>
                    <a:pt x="4471" y="8504"/>
                  </a:lnTo>
                  <a:lnTo>
                    <a:pt x="4467" y="8488"/>
                  </a:lnTo>
                  <a:lnTo>
                    <a:pt x="4462" y="8476"/>
                  </a:lnTo>
                  <a:lnTo>
                    <a:pt x="4465" y="8501"/>
                  </a:lnTo>
                  <a:lnTo>
                    <a:pt x="4469" y="8528"/>
                  </a:lnTo>
                  <a:lnTo>
                    <a:pt x="4471" y="8558"/>
                  </a:lnTo>
                  <a:lnTo>
                    <a:pt x="4473" y="8590"/>
                  </a:lnTo>
                  <a:lnTo>
                    <a:pt x="4475" y="8625"/>
                  </a:lnTo>
                  <a:lnTo>
                    <a:pt x="4477" y="8661"/>
                  </a:lnTo>
                  <a:lnTo>
                    <a:pt x="4479" y="8699"/>
                  </a:lnTo>
                  <a:lnTo>
                    <a:pt x="4480" y="8740"/>
                  </a:lnTo>
                  <a:lnTo>
                    <a:pt x="4482" y="8780"/>
                  </a:lnTo>
                  <a:lnTo>
                    <a:pt x="4483" y="8822"/>
                  </a:lnTo>
                  <a:lnTo>
                    <a:pt x="4485" y="8910"/>
                  </a:lnTo>
                  <a:lnTo>
                    <a:pt x="4486" y="8998"/>
                  </a:lnTo>
                  <a:lnTo>
                    <a:pt x="4486" y="9088"/>
                  </a:lnTo>
                  <a:lnTo>
                    <a:pt x="4486" y="9175"/>
                  </a:lnTo>
                  <a:lnTo>
                    <a:pt x="4485" y="9219"/>
                  </a:lnTo>
                  <a:lnTo>
                    <a:pt x="4485" y="9262"/>
                  </a:lnTo>
                  <a:lnTo>
                    <a:pt x="4484" y="9303"/>
                  </a:lnTo>
                  <a:lnTo>
                    <a:pt x="4483" y="9342"/>
                  </a:lnTo>
                  <a:lnTo>
                    <a:pt x="4482" y="9381"/>
                  </a:lnTo>
                  <a:lnTo>
                    <a:pt x="4480" y="9418"/>
                  </a:lnTo>
                  <a:lnTo>
                    <a:pt x="4479" y="9453"/>
                  </a:lnTo>
                  <a:lnTo>
                    <a:pt x="4477" y="9486"/>
                  </a:lnTo>
                  <a:lnTo>
                    <a:pt x="4475" y="9516"/>
                  </a:lnTo>
                  <a:lnTo>
                    <a:pt x="4473" y="9545"/>
                  </a:lnTo>
                  <a:lnTo>
                    <a:pt x="4471" y="9571"/>
                  </a:lnTo>
                  <a:lnTo>
                    <a:pt x="4469" y="9592"/>
                  </a:lnTo>
                  <a:lnTo>
                    <a:pt x="4465" y="9612"/>
                  </a:lnTo>
                  <a:lnTo>
                    <a:pt x="4462" y="9628"/>
                  </a:lnTo>
                  <a:lnTo>
                    <a:pt x="4459" y="9642"/>
                  </a:lnTo>
                  <a:lnTo>
                    <a:pt x="4454" y="9656"/>
                  </a:lnTo>
                  <a:lnTo>
                    <a:pt x="4448" y="9673"/>
                  </a:lnTo>
                  <a:lnTo>
                    <a:pt x="4441" y="9691"/>
                  </a:lnTo>
                  <a:lnTo>
                    <a:pt x="4431" y="9712"/>
                  </a:lnTo>
                  <a:lnTo>
                    <a:pt x="4422" y="9734"/>
                  </a:lnTo>
                  <a:lnTo>
                    <a:pt x="4412" y="9756"/>
                  </a:lnTo>
                  <a:lnTo>
                    <a:pt x="4400" y="9781"/>
                  </a:lnTo>
                  <a:lnTo>
                    <a:pt x="4388" y="9806"/>
                  </a:lnTo>
                  <a:lnTo>
                    <a:pt x="4376" y="9832"/>
                  </a:lnTo>
                  <a:lnTo>
                    <a:pt x="4349" y="9887"/>
                  </a:lnTo>
                  <a:lnTo>
                    <a:pt x="4320" y="9945"/>
                  </a:lnTo>
                  <a:lnTo>
                    <a:pt x="4291" y="10002"/>
                  </a:lnTo>
                  <a:lnTo>
                    <a:pt x="4262" y="10061"/>
                  </a:lnTo>
                  <a:lnTo>
                    <a:pt x="4234" y="10118"/>
                  </a:lnTo>
                  <a:lnTo>
                    <a:pt x="4207" y="10173"/>
                  </a:lnTo>
                  <a:lnTo>
                    <a:pt x="4194" y="10199"/>
                  </a:lnTo>
                  <a:lnTo>
                    <a:pt x="4183" y="10225"/>
                  </a:lnTo>
                  <a:lnTo>
                    <a:pt x="4171" y="10249"/>
                  </a:lnTo>
                  <a:lnTo>
                    <a:pt x="4160" y="10272"/>
                  </a:lnTo>
                  <a:lnTo>
                    <a:pt x="4151" y="10294"/>
                  </a:lnTo>
                  <a:lnTo>
                    <a:pt x="4142" y="10313"/>
                  </a:lnTo>
                  <a:lnTo>
                    <a:pt x="4135" y="10332"/>
                  </a:lnTo>
                  <a:lnTo>
                    <a:pt x="4129" y="10350"/>
                  </a:lnTo>
                  <a:lnTo>
                    <a:pt x="4124" y="10364"/>
                  </a:lnTo>
                  <a:lnTo>
                    <a:pt x="4120" y="10376"/>
                  </a:lnTo>
                  <a:lnTo>
                    <a:pt x="4118" y="10389"/>
                  </a:lnTo>
                  <a:lnTo>
                    <a:pt x="4116" y="10402"/>
                  </a:lnTo>
                  <a:lnTo>
                    <a:pt x="4113" y="10418"/>
                  </a:lnTo>
                  <a:lnTo>
                    <a:pt x="4112" y="10433"/>
                  </a:lnTo>
                  <a:lnTo>
                    <a:pt x="4110" y="10467"/>
                  </a:lnTo>
                  <a:lnTo>
                    <a:pt x="4108" y="10504"/>
                  </a:lnTo>
                  <a:lnTo>
                    <a:pt x="4107" y="10544"/>
                  </a:lnTo>
                  <a:lnTo>
                    <a:pt x="4106" y="10585"/>
                  </a:lnTo>
                  <a:lnTo>
                    <a:pt x="4104" y="10629"/>
                  </a:lnTo>
                  <a:lnTo>
                    <a:pt x="4100" y="10673"/>
                  </a:lnTo>
                  <a:lnTo>
                    <a:pt x="4095" y="10716"/>
                  </a:lnTo>
                  <a:lnTo>
                    <a:pt x="4088" y="10759"/>
                  </a:lnTo>
                  <a:lnTo>
                    <a:pt x="4076" y="10802"/>
                  </a:lnTo>
                  <a:lnTo>
                    <a:pt x="4063" y="10841"/>
                  </a:lnTo>
                  <a:lnTo>
                    <a:pt x="4055" y="10860"/>
                  </a:lnTo>
                  <a:lnTo>
                    <a:pt x="4045" y="10879"/>
                  </a:lnTo>
                  <a:lnTo>
                    <a:pt x="4035" y="10896"/>
                  </a:lnTo>
                  <a:lnTo>
                    <a:pt x="4024" y="10913"/>
                  </a:lnTo>
                  <a:lnTo>
                    <a:pt x="4010" y="10928"/>
                  </a:lnTo>
                  <a:lnTo>
                    <a:pt x="3996" y="10943"/>
                  </a:lnTo>
                  <a:lnTo>
                    <a:pt x="3981" y="10956"/>
                  </a:lnTo>
                  <a:lnTo>
                    <a:pt x="3964" y="10969"/>
                  </a:lnTo>
                  <a:lnTo>
                    <a:pt x="3951" y="10975"/>
                  </a:lnTo>
                  <a:lnTo>
                    <a:pt x="3938" y="10981"/>
                  </a:lnTo>
                  <a:lnTo>
                    <a:pt x="3922" y="10986"/>
                  </a:lnTo>
                  <a:lnTo>
                    <a:pt x="3906" y="10992"/>
                  </a:lnTo>
                  <a:lnTo>
                    <a:pt x="3888" y="10997"/>
                  </a:lnTo>
                  <a:lnTo>
                    <a:pt x="3869" y="11003"/>
                  </a:lnTo>
                  <a:lnTo>
                    <a:pt x="3849" y="11008"/>
                  </a:lnTo>
                  <a:lnTo>
                    <a:pt x="3828" y="11012"/>
                  </a:lnTo>
                  <a:lnTo>
                    <a:pt x="3805" y="11016"/>
                  </a:lnTo>
                  <a:lnTo>
                    <a:pt x="3782" y="11020"/>
                  </a:lnTo>
                  <a:lnTo>
                    <a:pt x="3732" y="11026"/>
                  </a:lnTo>
                  <a:lnTo>
                    <a:pt x="3678" y="11029"/>
                  </a:lnTo>
                  <a:lnTo>
                    <a:pt x="3621" y="11031"/>
                  </a:lnTo>
                  <a:lnTo>
                    <a:pt x="3556" y="11029"/>
                  </a:lnTo>
                  <a:lnTo>
                    <a:pt x="3490" y="11025"/>
                  </a:lnTo>
                  <a:lnTo>
                    <a:pt x="3423" y="11019"/>
                  </a:lnTo>
                  <a:lnTo>
                    <a:pt x="3355" y="11010"/>
                  </a:lnTo>
                  <a:lnTo>
                    <a:pt x="3286" y="10998"/>
                  </a:lnTo>
                  <a:lnTo>
                    <a:pt x="3215" y="10984"/>
                  </a:lnTo>
                  <a:lnTo>
                    <a:pt x="3145" y="10969"/>
                  </a:lnTo>
                  <a:lnTo>
                    <a:pt x="3075" y="10950"/>
                  </a:lnTo>
                  <a:lnTo>
                    <a:pt x="3005" y="10930"/>
                  </a:lnTo>
                  <a:lnTo>
                    <a:pt x="2936" y="10909"/>
                  </a:lnTo>
                  <a:lnTo>
                    <a:pt x="2865" y="10886"/>
                  </a:lnTo>
                  <a:lnTo>
                    <a:pt x="2796" y="10861"/>
                  </a:lnTo>
                  <a:lnTo>
                    <a:pt x="2728" y="10836"/>
                  </a:lnTo>
                  <a:lnTo>
                    <a:pt x="2661" y="10808"/>
                  </a:lnTo>
                  <a:lnTo>
                    <a:pt x="2595" y="10780"/>
                  </a:lnTo>
                  <a:lnTo>
                    <a:pt x="2531" y="10751"/>
                  </a:lnTo>
                  <a:lnTo>
                    <a:pt x="2507" y="10741"/>
                  </a:lnTo>
                  <a:lnTo>
                    <a:pt x="2482" y="10732"/>
                  </a:lnTo>
                  <a:lnTo>
                    <a:pt x="2457" y="10721"/>
                  </a:lnTo>
                  <a:lnTo>
                    <a:pt x="2429" y="10712"/>
                  </a:lnTo>
                  <a:lnTo>
                    <a:pt x="2374" y="10693"/>
                  </a:lnTo>
                  <a:lnTo>
                    <a:pt x="2348" y="10681"/>
                  </a:lnTo>
                  <a:lnTo>
                    <a:pt x="2322" y="10670"/>
                  </a:lnTo>
                  <a:lnTo>
                    <a:pt x="2298" y="10658"/>
                  </a:lnTo>
                  <a:lnTo>
                    <a:pt x="2276" y="10643"/>
                  </a:lnTo>
                  <a:lnTo>
                    <a:pt x="2256" y="10629"/>
                  </a:lnTo>
                  <a:lnTo>
                    <a:pt x="2240" y="10611"/>
                  </a:lnTo>
                  <a:lnTo>
                    <a:pt x="2226" y="10593"/>
                  </a:lnTo>
                  <a:lnTo>
                    <a:pt x="2221" y="10583"/>
                  </a:lnTo>
                  <a:lnTo>
                    <a:pt x="2216" y="10573"/>
                  </a:lnTo>
                  <a:lnTo>
                    <a:pt x="2213" y="10562"/>
                  </a:lnTo>
                  <a:lnTo>
                    <a:pt x="2211" y="10550"/>
                  </a:lnTo>
                  <a:lnTo>
                    <a:pt x="2210" y="10538"/>
                  </a:lnTo>
                  <a:lnTo>
                    <a:pt x="2211" y="10525"/>
                  </a:lnTo>
                  <a:lnTo>
                    <a:pt x="2214" y="10490"/>
                  </a:lnTo>
                  <a:lnTo>
                    <a:pt x="2219" y="10452"/>
                  </a:lnTo>
                  <a:lnTo>
                    <a:pt x="2225" y="10411"/>
                  </a:lnTo>
                  <a:lnTo>
                    <a:pt x="2233" y="10369"/>
                  </a:lnTo>
                  <a:lnTo>
                    <a:pt x="2241" y="10326"/>
                  </a:lnTo>
                  <a:lnTo>
                    <a:pt x="2250" y="10281"/>
                  </a:lnTo>
                  <a:lnTo>
                    <a:pt x="2260" y="10234"/>
                  </a:lnTo>
                  <a:lnTo>
                    <a:pt x="2271" y="10187"/>
                  </a:lnTo>
                  <a:lnTo>
                    <a:pt x="2296" y="10091"/>
                  </a:lnTo>
                  <a:lnTo>
                    <a:pt x="2321" y="9993"/>
                  </a:lnTo>
                  <a:lnTo>
                    <a:pt x="2349" y="9895"/>
                  </a:lnTo>
                  <a:lnTo>
                    <a:pt x="2377" y="9801"/>
                  </a:lnTo>
                  <a:lnTo>
                    <a:pt x="2391" y="9754"/>
                  </a:lnTo>
                  <a:lnTo>
                    <a:pt x="2405" y="9709"/>
                  </a:lnTo>
                  <a:lnTo>
                    <a:pt x="2418" y="9666"/>
                  </a:lnTo>
                  <a:lnTo>
                    <a:pt x="2432" y="9623"/>
                  </a:lnTo>
                  <a:lnTo>
                    <a:pt x="2444" y="9583"/>
                  </a:lnTo>
                  <a:lnTo>
                    <a:pt x="2457" y="9545"/>
                  </a:lnTo>
                  <a:lnTo>
                    <a:pt x="2469" y="9509"/>
                  </a:lnTo>
                  <a:lnTo>
                    <a:pt x="2479" y="9476"/>
                  </a:lnTo>
                  <a:lnTo>
                    <a:pt x="2490" y="9445"/>
                  </a:lnTo>
                  <a:lnTo>
                    <a:pt x="2499" y="9417"/>
                  </a:lnTo>
                  <a:lnTo>
                    <a:pt x="2508" y="9393"/>
                  </a:lnTo>
                  <a:lnTo>
                    <a:pt x="2515" y="9372"/>
                  </a:lnTo>
                  <a:lnTo>
                    <a:pt x="2522" y="9355"/>
                  </a:lnTo>
                  <a:lnTo>
                    <a:pt x="2526" y="9340"/>
                  </a:lnTo>
                  <a:lnTo>
                    <a:pt x="2528" y="9335"/>
                  </a:lnTo>
                  <a:lnTo>
                    <a:pt x="2530" y="9331"/>
                  </a:lnTo>
                  <a:lnTo>
                    <a:pt x="2531" y="9327"/>
                  </a:lnTo>
                  <a:lnTo>
                    <a:pt x="2532" y="9325"/>
                  </a:lnTo>
                  <a:lnTo>
                    <a:pt x="2531" y="9325"/>
                  </a:lnTo>
                  <a:lnTo>
                    <a:pt x="2530" y="9322"/>
                  </a:lnTo>
                  <a:lnTo>
                    <a:pt x="2528" y="9318"/>
                  </a:lnTo>
                  <a:lnTo>
                    <a:pt x="2525" y="9313"/>
                  </a:lnTo>
                  <a:lnTo>
                    <a:pt x="2521" y="9307"/>
                  </a:lnTo>
                  <a:lnTo>
                    <a:pt x="2515" y="9300"/>
                  </a:lnTo>
                  <a:lnTo>
                    <a:pt x="2509" y="9291"/>
                  </a:lnTo>
                  <a:lnTo>
                    <a:pt x="2503" y="9280"/>
                  </a:lnTo>
                  <a:lnTo>
                    <a:pt x="2496" y="9269"/>
                  </a:lnTo>
                  <a:lnTo>
                    <a:pt x="2488" y="9256"/>
                  </a:lnTo>
                  <a:lnTo>
                    <a:pt x="2479" y="9242"/>
                  </a:lnTo>
                  <a:lnTo>
                    <a:pt x="2469" y="9227"/>
                  </a:lnTo>
                  <a:lnTo>
                    <a:pt x="2460" y="9211"/>
                  </a:lnTo>
                  <a:lnTo>
                    <a:pt x="2448" y="9194"/>
                  </a:lnTo>
                  <a:lnTo>
                    <a:pt x="2437" y="9175"/>
                  </a:lnTo>
                  <a:lnTo>
                    <a:pt x="2425" y="9156"/>
                  </a:lnTo>
                  <a:lnTo>
                    <a:pt x="2399" y="9113"/>
                  </a:lnTo>
                  <a:lnTo>
                    <a:pt x="2371" y="9068"/>
                  </a:lnTo>
                  <a:lnTo>
                    <a:pt x="2341" y="9019"/>
                  </a:lnTo>
                  <a:lnTo>
                    <a:pt x="2310" y="8966"/>
                  </a:lnTo>
                  <a:lnTo>
                    <a:pt x="2276" y="8910"/>
                  </a:lnTo>
                  <a:lnTo>
                    <a:pt x="2242" y="8851"/>
                  </a:lnTo>
                  <a:lnTo>
                    <a:pt x="2206" y="8789"/>
                  </a:lnTo>
                  <a:lnTo>
                    <a:pt x="2169" y="8725"/>
                  </a:lnTo>
                  <a:lnTo>
                    <a:pt x="2131" y="8658"/>
                  </a:lnTo>
                  <a:lnTo>
                    <a:pt x="2093" y="8590"/>
                  </a:lnTo>
                  <a:lnTo>
                    <a:pt x="2054" y="8520"/>
                  </a:lnTo>
                  <a:lnTo>
                    <a:pt x="2015" y="8448"/>
                  </a:lnTo>
                  <a:lnTo>
                    <a:pt x="1976" y="8375"/>
                  </a:lnTo>
                  <a:lnTo>
                    <a:pt x="1937" y="8300"/>
                  </a:lnTo>
                  <a:lnTo>
                    <a:pt x="1860" y="8148"/>
                  </a:lnTo>
                  <a:lnTo>
                    <a:pt x="1823" y="8072"/>
                  </a:lnTo>
                  <a:lnTo>
                    <a:pt x="1786" y="7995"/>
                  </a:lnTo>
                  <a:lnTo>
                    <a:pt x="1750" y="7918"/>
                  </a:lnTo>
                  <a:lnTo>
                    <a:pt x="1716" y="7841"/>
                  </a:lnTo>
                  <a:lnTo>
                    <a:pt x="1683" y="7765"/>
                  </a:lnTo>
                  <a:lnTo>
                    <a:pt x="1652" y="7689"/>
                  </a:lnTo>
                  <a:lnTo>
                    <a:pt x="1622" y="7615"/>
                  </a:lnTo>
                  <a:lnTo>
                    <a:pt x="1596" y="7541"/>
                  </a:lnTo>
                  <a:lnTo>
                    <a:pt x="1571" y="7466"/>
                  </a:lnTo>
                  <a:lnTo>
                    <a:pt x="1548" y="7391"/>
                  </a:lnTo>
                  <a:lnTo>
                    <a:pt x="1530" y="7314"/>
                  </a:lnTo>
                  <a:lnTo>
                    <a:pt x="1512" y="7236"/>
                  </a:lnTo>
                  <a:lnTo>
                    <a:pt x="1498" y="7156"/>
                  </a:lnTo>
                  <a:lnTo>
                    <a:pt x="1485" y="7076"/>
                  </a:lnTo>
                  <a:lnTo>
                    <a:pt x="1476" y="6996"/>
                  </a:lnTo>
                  <a:lnTo>
                    <a:pt x="1468" y="6915"/>
                  </a:lnTo>
                  <a:lnTo>
                    <a:pt x="1461" y="6835"/>
                  </a:lnTo>
                  <a:lnTo>
                    <a:pt x="1457" y="6755"/>
                  </a:lnTo>
                  <a:lnTo>
                    <a:pt x="1454" y="6675"/>
                  </a:lnTo>
                  <a:lnTo>
                    <a:pt x="1452" y="6597"/>
                  </a:lnTo>
                  <a:lnTo>
                    <a:pt x="1452" y="6520"/>
                  </a:lnTo>
                  <a:lnTo>
                    <a:pt x="1454" y="6444"/>
                  </a:lnTo>
                  <a:lnTo>
                    <a:pt x="1456" y="6370"/>
                  </a:lnTo>
                  <a:lnTo>
                    <a:pt x="1459" y="6298"/>
                  </a:lnTo>
                  <a:lnTo>
                    <a:pt x="1464" y="6228"/>
                  </a:lnTo>
                  <a:lnTo>
                    <a:pt x="1468" y="6161"/>
                  </a:lnTo>
                  <a:lnTo>
                    <a:pt x="1474" y="6098"/>
                  </a:lnTo>
                  <a:lnTo>
                    <a:pt x="1479" y="6036"/>
                  </a:lnTo>
                  <a:lnTo>
                    <a:pt x="1485" y="5978"/>
                  </a:lnTo>
                  <a:lnTo>
                    <a:pt x="1491" y="5923"/>
                  </a:lnTo>
                  <a:lnTo>
                    <a:pt x="1494" y="5899"/>
                  </a:lnTo>
                  <a:lnTo>
                    <a:pt x="1498" y="5874"/>
                  </a:lnTo>
                  <a:lnTo>
                    <a:pt x="1501" y="5850"/>
                  </a:lnTo>
                  <a:lnTo>
                    <a:pt x="1504" y="5828"/>
                  </a:lnTo>
                  <a:lnTo>
                    <a:pt x="1507" y="5806"/>
                  </a:lnTo>
                  <a:lnTo>
                    <a:pt x="1510" y="5785"/>
                  </a:lnTo>
                  <a:lnTo>
                    <a:pt x="1512" y="5767"/>
                  </a:lnTo>
                  <a:lnTo>
                    <a:pt x="1515" y="5748"/>
                  </a:lnTo>
                  <a:lnTo>
                    <a:pt x="1518" y="5732"/>
                  </a:lnTo>
                  <a:lnTo>
                    <a:pt x="1520" y="5716"/>
                  </a:lnTo>
                  <a:lnTo>
                    <a:pt x="1522" y="5702"/>
                  </a:lnTo>
                  <a:lnTo>
                    <a:pt x="1524" y="5690"/>
                  </a:lnTo>
                  <a:lnTo>
                    <a:pt x="1526" y="5678"/>
                  </a:lnTo>
                  <a:lnTo>
                    <a:pt x="1529" y="5668"/>
                  </a:lnTo>
                  <a:lnTo>
                    <a:pt x="1530" y="5660"/>
                  </a:lnTo>
                  <a:lnTo>
                    <a:pt x="1531" y="5653"/>
                  </a:lnTo>
                  <a:lnTo>
                    <a:pt x="1532" y="5647"/>
                  </a:lnTo>
                  <a:lnTo>
                    <a:pt x="1533" y="5643"/>
                  </a:lnTo>
                  <a:lnTo>
                    <a:pt x="1534" y="5641"/>
                  </a:lnTo>
                  <a:lnTo>
                    <a:pt x="1534" y="5640"/>
                  </a:lnTo>
                  <a:lnTo>
                    <a:pt x="1533" y="5640"/>
                  </a:lnTo>
                  <a:lnTo>
                    <a:pt x="1530" y="5642"/>
                  </a:lnTo>
                  <a:lnTo>
                    <a:pt x="1523" y="5645"/>
                  </a:lnTo>
                  <a:lnTo>
                    <a:pt x="1516" y="5649"/>
                  </a:lnTo>
                  <a:lnTo>
                    <a:pt x="1506" y="5655"/>
                  </a:lnTo>
                  <a:lnTo>
                    <a:pt x="1493" y="5660"/>
                  </a:lnTo>
                  <a:lnTo>
                    <a:pt x="1480" y="5665"/>
                  </a:lnTo>
                  <a:lnTo>
                    <a:pt x="1464" y="5671"/>
                  </a:lnTo>
                  <a:lnTo>
                    <a:pt x="1445" y="5677"/>
                  </a:lnTo>
                  <a:lnTo>
                    <a:pt x="1423" y="5682"/>
                  </a:lnTo>
                  <a:lnTo>
                    <a:pt x="1401" y="5688"/>
                  </a:lnTo>
                  <a:lnTo>
                    <a:pt x="1376" y="5693"/>
                  </a:lnTo>
                  <a:lnTo>
                    <a:pt x="1348" y="5697"/>
                  </a:lnTo>
                  <a:lnTo>
                    <a:pt x="1318" y="5700"/>
                  </a:lnTo>
                  <a:lnTo>
                    <a:pt x="1287" y="5702"/>
                  </a:lnTo>
                  <a:lnTo>
                    <a:pt x="1253" y="5702"/>
                  </a:lnTo>
                  <a:lnTo>
                    <a:pt x="1216" y="5701"/>
                  </a:lnTo>
                  <a:lnTo>
                    <a:pt x="1177" y="5697"/>
                  </a:lnTo>
                  <a:lnTo>
                    <a:pt x="1134" y="5691"/>
                  </a:lnTo>
                  <a:lnTo>
                    <a:pt x="1089" y="5682"/>
                  </a:lnTo>
                  <a:lnTo>
                    <a:pt x="1041" y="5673"/>
                  </a:lnTo>
                  <a:lnTo>
                    <a:pt x="990" y="5663"/>
                  </a:lnTo>
                  <a:lnTo>
                    <a:pt x="936" y="5651"/>
                  </a:lnTo>
                  <a:lnTo>
                    <a:pt x="879" y="5640"/>
                  </a:lnTo>
                  <a:lnTo>
                    <a:pt x="848" y="5624"/>
                  </a:lnTo>
                  <a:lnTo>
                    <a:pt x="818" y="5606"/>
                  </a:lnTo>
                  <a:lnTo>
                    <a:pt x="791" y="5587"/>
                  </a:lnTo>
                  <a:lnTo>
                    <a:pt x="766" y="5564"/>
                  </a:lnTo>
                  <a:lnTo>
                    <a:pt x="742" y="5541"/>
                  </a:lnTo>
                  <a:lnTo>
                    <a:pt x="720" y="5516"/>
                  </a:lnTo>
                  <a:lnTo>
                    <a:pt x="700" y="5490"/>
                  </a:lnTo>
                  <a:lnTo>
                    <a:pt x="681" y="5462"/>
                  </a:lnTo>
                  <a:lnTo>
                    <a:pt x="663" y="5434"/>
                  </a:lnTo>
                  <a:lnTo>
                    <a:pt x="647" y="5404"/>
                  </a:lnTo>
                  <a:lnTo>
                    <a:pt x="632" y="5374"/>
                  </a:lnTo>
                  <a:lnTo>
                    <a:pt x="619" y="5345"/>
                  </a:lnTo>
                  <a:lnTo>
                    <a:pt x="608" y="5314"/>
                  </a:lnTo>
                  <a:lnTo>
                    <a:pt x="596" y="5284"/>
                  </a:lnTo>
                  <a:lnTo>
                    <a:pt x="587" y="5253"/>
                  </a:lnTo>
                  <a:lnTo>
                    <a:pt x="579" y="5223"/>
                  </a:lnTo>
                  <a:lnTo>
                    <a:pt x="564" y="5164"/>
                  </a:lnTo>
                  <a:lnTo>
                    <a:pt x="559" y="5136"/>
                  </a:lnTo>
                  <a:lnTo>
                    <a:pt x="554" y="5109"/>
                  </a:lnTo>
                  <a:lnTo>
                    <a:pt x="550" y="5083"/>
                  </a:lnTo>
                  <a:lnTo>
                    <a:pt x="546" y="5058"/>
                  </a:lnTo>
                  <a:lnTo>
                    <a:pt x="544" y="5034"/>
                  </a:lnTo>
                  <a:lnTo>
                    <a:pt x="541" y="5013"/>
                  </a:lnTo>
                  <a:lnTo>
                    <a:pt x="540" y="4993"/>
                  </a:lnTo>
                  <a:lnTo>
                    <a:pt x="538" y="4976"/>
                  </a:lnTo>
                  <a:lnTo>
                    <a:pt x="538" y="4960"/>
                  </a:lnTo>
                  <a:lnTo>
                    <a:pt x="536" y="4947"/>
                  </a:lnTo>
                  <a:lnTo>
                    <a:pt x="536" y="4937"/>
                  </a:lnTo>
                  <a:lnTo>
                    <a:pt x="535" y="4929"/>
                  </a:lnTo>
                  <a:lnTo>
                    <a:pt x="535" y="4924"/>
                  </a:lnTo>
                  <a:lnTo>
                    <a:pt x="535" y="4923"/>
                  </a:lnTo>
                  <a:lnTo>
                    <a:pt x="535" y="4922"/>
                  </a:lnTo>
                  <a:lnTo>
                    <a:pt x="533" y="4921"/>
                  </a:lnTo>
                  <a:lnTo>
                    <a:pt x="530" y="4920"/>
                  </a:lnTo>
                  <a:lnTo>
                    <a:pt x="526" y="4917"/>
                  </a:lnTo>
                  <a:lnTo>
                    <a:pt x="516" y="4909"/>
                  </a:lnTo>
                  <a:lnTo>
                    <a:pt x="503" y="4899"/>
                  </a:lnTo>
                  <a:lnTo>
                    <a:pt x="488" y="4884"/>
                  </a:lnTo>
                  <a:lnTo>
                    <a:pt x="471" y="4866"/>
                  </a:lnTo>
                  <a:lnTo>
                    <a:pt x="455" y="4844"/>
                  </a:lnTo>
                  <a:lnTo>
                    <a:pt x="438" y="4818"/>
                  </a:lnTo>
                  <a:lnTo>
                    <a:pt x="430" y="4804"/>
                  </a:lnTo>
                  <a:lnTo>
                    <a:pt x="423" y="4788"/>
                  </a:lnTo>
                  <a:lnTo>
                    <a:pt x="416" y="4772"/>
                  </a:lnTo>
                  <a:lnTo>
                    <a:pt x="410" y="4754"/>
                  </a:lnTo>
                  <a:lnTo>
                    <a:pt x="404" y="4736"/>
                  </a:lnTo>
                  <a:lnTo>
                    <a:pt x="399" y="4716"/>
                  </a:lnTo>
                  <a:lnTo>
                    <a:pt x="395" y="4696"/>
                  </a:lnTo>
                  <a:lnTo>
                    <a:pt x="391" y="4673"/>
                  </a:lnTo>
                  <a:lnTo>
                    <a:pt x="389" y="4650"/>
                  </a:lnTo>
                  <a:lnTo>
                    <a:pt x="388" y="4627"/>
                  </a:lnTo>
                  <a:lnTo>
                    <a:pt x="388" y="4601"/>
                  </a:lnTo>
                  <a:lnTo>
                    <a:pt x="390" y="4574"/>
                  </a:lnTo>
                  <a:lnTo>
                    <a:pt x="393" y="4546"/>
                  </a:lnTo>
                  <a:lnTo>
                    <a:pt x="397" y="4517"/>
                  </a:lnTo>
                  <a:lnTo>
                    <a:pt x="403" y="4488"/>
                  </a:lnTo>
                  <a:lnTo>
                    <a:pt x="412" y="4456"/>
                  </a:lnTo>
                  <a:lnTo>
                    <a:pt x="421" y="4424"/>
                  </a:lnTo>
                  <a:lnTo>
                    <a:pt x="433" y="4392"/>
                  </a:lnTo>
                  <a:lnTo>
                    <a:pt x="449" y="4361"/>
                  </a:lnTo>
                  <a:lnTo>
                    <a:pt x="465" y="4329"/>
                  </a:lnTo>
                  <a:lnTo>
                    <a:pt x="484" y="4298"/>
                  </a:lnTo>
                  <a:lnTo>
                    <a:pt x="503" y="4268"/>
                  </a:lnTo>
                  <a:lnTo>
                    <a:pt x="525" y="4238"/>
                  </a:lnTo>
                  <a:lnTo>
                    <a:pt x="548" y="4209"/>
                  </a:lnTo>
                  <a:lnTo>
                    <a:pt x="573" y="4181"/>
                  </a:lnTo>
                  <a:lnTo>
                    <a:pt x="597" y="4152"/>
                  </a:lnTo>
                  <a:lnTo>
                    <a:pt x="650" y="4098"/>
                  </a:lnTo>
                  <a:lnTo>
                    <a:pt x="704" y="4048"/>
                  </a:lnTo>
                  <a:lnTo>
                    <a:pt x="758" y="4000"/>
                  </a:lnTo>
                  <a:lnTo>
                    <a:pt x="785" y="3978"/>
                  </a:lnTo>
                  <a:lnTo>
                    <a:pt x="811" y="3957"/>
                  </a:lnTo>
                  <a:lnTo>
                    <a:pt x="837" y="3936"/>
                  </a:lnTo>
                  <a:lnTo>
                    <a:pt x="863" y="3918"/>
                  </a:lnTo>
                  <a:lnTo>
                    <a:pt x="886" y="3900"/>
                  </a:lnTo>
                  <a:lnTo>
                    <a:pt x="909" y="3884"/>
                  </a:lnTo>
                  <a:lnTo>
                    <a:pt x="931" y="3870"/>
                  </a:lnTo>
                  <a:lnTo>
                    <a:pt x="950" y="3855"/>
                  </a:lnTo>
                  <a:lnTo>
                    <a:pt x="969" y="3843"/>
                  </a:lnTo>
                  <a:lnTo>
                    <a:pt x="986" y="3832"/>
                  </a:lnTo>
                  <a:lnTo>
                    <a:pt x="1000" y="3823"/>
                  </a:lnTo>
                  <a:lnTo>
                    <a:pt x="1012" y="3815"/>
                  </a:lnTo>
                  <a:lnTo>
                    <a:pt x="1022" y="3810"/>
                  </a:lnTo>
                  <a:lnTo>
                    <a:pt x="1029" y="3805"/>
                  </a:lnTo>
                  <a:lnTo>
                    <a:pt x="1033" y="3803"/>
                  </a:lnTo>
                  <a:lnTo>
                    <a:pt x="1035" y="3802"/>
                  </a:lnTo>
                  <a:lnTo>
                    <a:pt x="1034" y="3803"/>
                  </a:lnTo>
                  <a:lnTo>
                    <a:pt x="1033" y="3805"/>
                  </a:lnTo>
                  <a:lnTo>
                    <a:pt x="1032" y="3809"/>
                  </a:lnTo>
                  <a:lnTo>
                    <a:pt x="1030" y="3814"/>
                  </a:lnTo>
                  <a:lnTo>
                    <a:pt x="1027" y="3821"/>
                  </a:lnTo>
                  <a:lnTo>
                    <a:pt x="1024" y="3830"/>
                  </a:lnTo>
                  <a:lnTo>
                    <a:pt x="1020" y="3841"/>
                  </a:lnTo>
                  <a:lnTo>
                    <a:pt x="1015" y="3852"/>
                  </a:lnTo>
                  <a:lnTo>
                    <a:pt x="1011" y="3865"/>
                  </a:lnTo>
                  <a:lnTo>
                    <a:pt x="1007" y="3881"/>
                  </a:lnTo>
                  <a:lnTo>
                    <a:pt x="1002" y="3897"/>
                  </a:lnTo>
                  <a:lnTo>
                    <a:pt x="997" y="3915"/>
                  </a:lnTo>
                  <a:lnTo>
                    <a:pt x="992" y="3933"/>
                  </a:lnTo>
                  <a:lnTo>
                    <a:pt x="987" y="3954"/>
                  </a:lnTo>
                  <a:lnTo>
                    <a:pt x="981" y="3977"/>
                  </a:lnTo>
                  <a:lnTo>
                    <a:pt x="976" y="4000"/>
                  </a:lnTo>
                  <a:lnTo>
                    <a:pt x="971" y="4025"/>
                  </a:lnTo>
                  <a:lnTo>
                    <a:pt x="966" y="4051"/>
                  </a:lnTo>
                  <a:lnTo>
                    <a:pt x="962" y="4079"/>
                  </a:lnTo>
                  <a:lnTo>
                    <a:pt x="957" y="4107"/>
                  </a:lnTo>
                  <a:lnTo>
                    <a:pt x="953" y="4137"/>
                  </a:lnTo>
                  <a:lnTo>
                    <a:pt x="949" y="4168"/>
                  </a:lnTo>
                  <a:lnTo>
                    <a:pt x="945" y="4201"/>
                  </a:lnTo>
                  <a:lnTo>
                    <a:pt x="942" y="4235"/>
                  </a:lnTo>
                  <a:lnTo>
                    <a:pt x="940" y="4270"/>
                  </a:lnTo>
                  <a:lnTo>
                    <a:pt x="938" y="4306"/>
                  </a:lnTo>
                  <a:lnTo>
                    <a:pt x="937" y="4344"/>
                  </a:lnTo>
                  <a:lnTo>
                    <a:pt x="936" y="4382"/>
                  </a:lnTo>
                  <a:lnTo>
                    <a:pt x="936" y="4423"/>
                  </a:lnTo>
                  <a:lnTo>
                    <a:pt x="937" y="4464"/>
                  </a:lnTo>
                  <a:lnTo>
                    <a:pt x="938" y="4506"/>
                  </a:lnTo>
                  <a:lnTo>
                    <a:pt x="941" y="4549"/>
                  </a:lnTo>
                  <a:lnTo>
                    <a:pt x="943" y="4575"/>
                  </a:lnTo>
                  <a:lnTo>
                    <a:pt x="943" y="4599"/>
                  </a:lnTo>
                  <a:lnTo>
                    <a:pt x="943" y="4621"/>
                  </a:lnTo>
                  <a:lnTo>
                    <a:pt x="940" y="4643"/>
                  </a:lnTo>
                  <a:lnTo>
                    <a:pt x="937" y="4664"/>
                  </a:lnTo>
                  <a:lnTo>
                    <a:pt x="933" y="4682"/>
                  </a:lnTo>
                  <a:lnTo>
                    <a:pt x="927" y="4700"/>
                  </a:lnTo>
                  <a:lnTo>
                    <a:pt x="921" y="4716"/>
                  </a:lnTo>
                  <a:lnTo>
                    <a:pt x="912" y="4732"/>
                  </a:lnTo>
                  <a:lnTo>
                    <a:pt x="904" y="4746"/>
                  </a:lnTo>
                  <a:lnTo>
                    <a:pt x="896" y="4758"/>
                  </a:lnTo>
                  <a:lnTo>
                    <a:pt x="885" y="4771"/>
                  </a:lnTo>
                  <a:lnTo>
                    <a:pt x="866" y="4792"/>
                  </a:lnTo>
                  <a:lnTo>
                    <a:pt x="844" y="4810"/>
                  </a:lnTo>
                  <a:lnTo>
                    <a:pt x="821" y="4824"/>
                  </a:lnTo>
                  <a:lnTo>
                    <a:pt x="801" y="4836"/>
                  </a:lnTo>
                  <a:lnTo>
                    <a:pt x="780" y="4845"/>
                  </a:lnTo>
                  <a:lnTo>
                    <a:pt x="762" y="4851"/>
                  </a:lnTo>
                  <a:lnTo>
                    <a:pt x="746" y="4856"/>
                  </a:lnTo>
                  <a:lnTo>
                    <a:pt x="740" y="4857"/>
                  </a:lnTo>
                  <a:lnTo>
                    <a:pt x="734" y="4858"/>
                  </a:lnTo>
                  <a:lnTo>
                    <a:pt x="730" y="4859"/>
                  </a:lnTo>
                  <a:lnTo>
                    <a:pt x="725" y="4860"/>
                  </a:lnTo>
                  <a:lnTo>
                    <a:pt x="723" y="4860"/>
                  </a:lnTo>
                  <a:lnTo>
                    <a:pt x="723" y="4860"/>
                  </a:lnTo>
                  <a:lnTo>
                    <a:pt x="723" y="4861"/>
                  </a:lnTo>
                  <a:lnTo>
                    <a:pt x="724" y="4865"/>
                  </a:lnTo>
                  <a:lnTo>
                    <a:pt x="726" y="4869"/>
                  </a:lnTo>
                  <a:lnTo>
                    <a:pt x="728" y="4874"/>
                  </a:lnTo>
                  <a:lnTo>
                    <a:pt x="733" y="4881"/>
                  </a:lnTo>
                  <a:lnTo>
                    <a:pt x="737" y="4889"/>
                  </a:lnTo>
                  <a:lnTo>
                    <a:pt x="741" y="4899"/>
                  </a:lnTo>
                  <a:lnTo>
                    <a:pt x="747" y="4910"/>
                  </a:lnTo>
                  <a:lnTo>
                    <a:pt x="760" y="4933"/>
                  </a:lnTo>
                  <a:lnTo>
                    <a:pt x="777" y="4959"/>
                  </a:lnTo>
                  <a:lnTo>
                    <a:pt x="798" y="4987"/>
                  </a:lnTo>
                  <a:lnTo>
                    <a:pt x="820" y="5017"/>
                  </a:lnTo>
                  <a:lnTo>
                    <a:pt x="847" y="5046"/>
                  </a:lnTo>
                  <a:lnTo>
                    <a:pt x="877" y="5074"/>
                  </a:lnTo>
                  <a:lnTo>
                    <a:pt x="910" y="5100"/>
                  </a:lnTo>
                  <a:lnTo>
                    <a:pt x="946" y="5124"/>
                  </a:lnTo>
                  <a:lnTo>
                    <a:pt x="966" y="5134"/>
                  </a:lnTo>
                  <a:lnTo>
                    <a:pt x="987" y="5144"/>
                  </a:lnTo>
                  <a:lnTo>
                    <a:pt x="1008" y="5152"/>
                  </a:lnTo>
                  <a:lnTo>
                    <a:pt x="1030" y="5159"/>
                  </a:lnTo>
                  <a:lnTo>
                    <a:pt x="1054" y="5164"/>
                  </a:lnTo>
                  <a:lnTo>
                    <a:pt x="1077" y="5168"/>
                  </a:lnTo>
                  <a:lnTo>
                    <a:pt x="1102" y="5171"/>
                  </a:lnTo>
                  <a:lnTo>
                    <a:pt x="1128" y="5173"/>
                  </a:lnTo>
                  <a:lnTo>
                    <a:pt x="1190" y="5173"/>
                  </a:lnTo>
                  <a:lnTo>
                    <a:pt x="1219" y="5168"/>
                  </a:lnTo>
                  <a:lnTo>
                    <a:pt x="1247" y="5163"/>
                  </a:lnTo>
                  <a:lnTo>
                    <a:pt x="1275" y="5155"/>
                  </a:lnTo>
                  <a:lnTo>
                    <a:pt x="1301" y="5146"/>
                  </a:lnTo>
                  <a:lnTo>
                    <a:pt x="1328" y="5133"/>
                  </a:lnTo>
                  <a:lnTo>
                    <a:pt x="1355" y="5120"/>
                  </a:lnTo>
                  <a:lnTo>
                    <a:pt x="1382" y="5104"/>
                  </a:lnTo>
                  <a:lnTo>
                    <a:pt x="1409" y="5085"/>
                  </a:lnTo>
                  <a:lnTo>
                    <a:pt x="1436" y="5064"/>
                  </a:lnTo>
                  <a:lnTo>
                    <a:pt x="1464" y="5041"/>
                  </a:lnTo>
                  <a:lnTo>
                    <a:pt x="1492" y="5015"/>
                  </a:lnTo>
                  <a:lnTo>
                    <a:pt x="1521" y="4986"/>
                  </a:lnTo>
                  <a:lnTo>
                    <a:pt x="1551" y="4955"/>
                  </a:lnTo>
                  <a:lnTo>
                    <a:pt x="1583" y="4921"/>
                  </a:lnTo>
                  <a:lnTo>
                    <a:pt x="1616" y="4885"/>
                  </a:lnTo>
                  <a:lnTo>
                    <a:pt x="1650" y="4845"/>
                  </a:lnTo>
                  <a:lnTo>
                    <a:pt x="1686" y="4803"/>
                  </a:lnTo>
                  <a:lnTo>
                    <a:pt x="1724" y="4757"/>
                  </a:lnTo>
                  <a:lnTo>
                    <a:pt x="1763" y="4709"/>
                  </a:lnTo>
                  <a:lnTo>
                    <a:pt x="1805" y="4657"/>
                  </a:lnTo>
                  <a:lnTo>
                    <a:pt x="1850" y="4603"/>
                  </a:lnTo>
                  <a:lnTo>
                    <a:pt x="1896" y="4544"/>
                  </a:lnTo>
                  <a:lnTo>
                    <a:pt x="1945" y="4483"/>
                  </a:lnTo>
                  <a:lnTo>
                    <a:pt x="1997" y="4419"/>
                  </a:lnTo>
                  <a:lnTo>
                    <a:pt x="2052" y="4351"/>
                  </a:lnTo>
                  <a:lnTo>
                    <a:pt x="2110" y="4278"/>
                  </a:lnTo>
                  <a:lnTo>
                    <a:pt x="2171" y="4203"/>
                  </a:lnTo>
                  <a:lnTo>
                    <a:pt x="2236" y="4124"/>
                  </a:lnTo>
                  <a:lnTo>
                    <a:pt x="2304" y="4042"/>
                  </a:lnTo>
                  <a:lnTo>
                    <a:pt x="2375" y="3955"/>
                  </a:lnTo>
                  <a:lnTo>
                    <a:pt x="2451" y="3864"/>
                  </a:lnTo>
                  <a:lnTo>
                    <a:pt x="2491" y="3818"/>
                  </a:lnTo>
                  <a:lnTo>
                    <a:pt x="2531" y="3770"/>
                  </a:lnTo>
                  <a:lnTo>
                    <a:pt x="2565" y="3730"/>
                  </a:lnTo>
                  <a:lnTo>
                    <a:pt x="2601" y="3692"/>
                  </a:lnTo>
                  <a:lnTo>
                    <a:pt x="2638" y="3655"/>
                  </a:lnTo>
                  <a:lnTo>
                    <a:pt x="2676" y="3619"/>
                  </a:lnTo>
                  <a:lnTo>
                    <a:pt x="2717" y="3583"/>
                  </a:lnTo>
                  <a:lnTo>
                    <a:pt x="2757" y="3548"/>
                  </a:lnTo>
                  <a:lnTo>
                    <a:pt x="2799" y="3514"/>
                  </a:lnTo>
                  <a:lnTo>
                    <a:pt x="2843" y="3481"/>
                  </a:lnTo>
                  <a:lnTo>
                    <a:pt x="2931" y="3417"/>
                  </a:lnTo>
                  <a:lnTo>
                    <a:pt x="3024" y="3357"/>
                  </a:lnTo>
                  <a:lnTo>
                    <a:pt x="3119" y="3299"/>
                  </a:lnTo>
                  <a:lnTo>
                    <a:pt x="3217" y="3244"/>
                  </a:lnTo>
                  <a:lnTo>
                    <a:pt x="3318" y="3193"/>
                  </a:lnTo>
                  <a:lnTo>
                    <a:pt x="3420" y="3144"/>
                  </a:lnTo>
                  <a:lnTo>
                    <a:pt x="3522" y="3098"/>
                  </a:lnTo>
                  <a:lnTo>
                    <a:pt x="3625" y="3055"/>
                  </a:lnTo>
                  <a:lnTo>
                    <a:pt x="3727" y="3015"/>
                  </a:lnTo>
                  <a:lnTo>
                    <a:pt x="3830" y="2976"/>
                  </a:lnTo>
                  <a:lnTo>
                    <a:pt x="3931" y="2941"/>
                  </a:lnTo>
                  <a:lnTo>
                    <a:pt x="4031" y="2908"/>
                  </a:lnTo>
                  <a:lnTo>
                    <a:pt x="4128" y="2879"/>
                  </a:lnTo>
                  <a:lnTo>
                    <a:pt x="4223" y="2851"/>
                  </a:lnTo>
                  <a:lnTo>
                    <a:pt x="4315" y="2825"/>
                  </a:lnTo>
                  <a:lnTo>
                    <a:pt x="4359" y="2814"/>
                  </a:lnTo>
                  <a:lnTo>
                    <a:pt x="4403" y="2802"/>
                  </a:lnTo>
                  <a:lnTo>
                    <a:pt x="4445" y="2792"/>
                  </a:lnTo>
                  <a:lnTo>
                    <a:pt x="4487" y="2782"/>
                  </a:lnTo>
                  <a:lnTo>
                    <a:pt x="4527" y="2771"/>
                  </a:lnTo>
                  <a:lnTo>
                    <a:pt x="4567" y="2762"/>
                  </a:lnTo>
                  <a:lnTo>
                    <a:pt x="4604" y="2754"/>
                  </a:lnTo>
                  <a:lnTo>
                    <a:pt x="4640" y="2746"/>
                  </a:lnTo>
                  <a:lnTo>
                    <a:pt x="4675" y="2739"/>
                  </a:lnTo>
                  <a:lnTo>
                    <a:pt x="4709" y="2731"/>
                  </a:lnTo>
                  <a:lnTo>
                    <a:pt x="4741" y="2724"/>
                  </a:lnTo>
                  <a:lnTo>
                    <a:pt x="4771" y="2719"/>
                  </a:lnTo>
                  <a:lnTo>
                    <a:pt x="4800" y="2713"/>
                  </a:lnTo>
                  <a:lnTo>
                    <a:pt x="4827" y="2708"/>
                  </a:lnTo>
                  <a:lnTo>
                    <a:pt x="4853" y="2702"/>
                  </a:lnTo>
                  <a:lnTo>
                    <a:pt x="4875" y="2698"/>
                  </a:lnTo>
                  <a:lnTo>
                    <a:pt x="4897" y="2695"/>
                  </a:lnTo>
                  <a:lnTo>
                    <a:pt x="4917" y="2691"/>
                  </a:lnTo>
                  <a:lnTo>
                    <a:pt x="4934" y="2688"/>
                  </a:lnTo>
                  <a:lnTo>
                    <a:pt x="4949" y="2686"/>
                  </a:lnTo>
                  <a:lnTo>
                    <a:pt x="4962" y="2684"/>
                  </a:lnTo>
                  <a:lnTo>
                    <a:pt x="4973" y="2682"/>
                  </a:lnTo>
                  <a:lnTo>
                    <a:pt x="4982" y="2681"/>
                  </a:lnTo>
                  <a:lnTo>
                    <a:pt x="4988" y="2680"/>
                  </a:lnTo>
                  <a:lnTo>
                    <a:pt x="4992" y="2679"/>
                  </a:lnTo>
                  <a:lnTo>
                    <a:pt x="4993" y="2679"/>
                  </a:lnTo>
                  <a:lnTo>
                    <a:pt x="4991" y="2681"/>
                  </a:lnTo>
                  <a:lnTo>
                    <a:pt x="4986" y="2686"/>
                  </a:lnTo>
                  <a:lnTo>
                    <a:pt x="4978" y="2695"/>
                  </a:lnTo>
                  <a:lnTo>
                    <a:pt x="4967" y="2708"/>
                  </a:lnTo>
                  <a:lnTo>
                    <a:pt x="4953" y="2723"/>
                  </a:lnTo>
                  <a:lnTo>
                    <a:pt x="4936" y="2742"/>
                  </a:lnTo>
                  <a:lnTo>
                    <a:pt x="4918" y="2762"/>
                  </a:lnTo>
                  <a:lnTo>
                    <a:pt x="4897" y="2785"/>
                  </a:lnTo>
                  <a:lnTo>
                    <a:pt x="4873" y="2811"/>
                  </a:lnTo>
                  <a:lnTo>
                    <a:pt x="4848" y="2838"/>
                  </a:lnTo>
                  <a:lnTo>
                    <a:pt x="4822" y="2868"/>
                  </a:lnTo>
                  <a:lnTo>
                    <a:pt x="4794" y="2899"/>
                  </a:lnTo>
                  <a:lnTo>
                    <a:pt x="4765" y="2932"/>
                  </a:lnTo>
                  <a:lnTo>
                    <a:pt x="4734" y="2966"/>
                  </a:lnTo>
                  <a:lnTo>
                    <a:pt x="4702" y="3001"/>
                  </a:lnTo>
                  <a:lnTo>
                    <a:pt x="4670" y="3037"/>
                  </a:lnTo>
                  <a:lnTo>
                    <a:pt x="4603" y="3111"/>
                  </a:lnTo>
                  <a:lnTo>
                    <a:pt x="4535" y="3188"/>
                  </a:lnTo>
                  <a:lnTo>
                    <a:pt x="4468" y="3263"/>
                  </a:lnTo>
                  <a:lnTo>
                    <a:pt x="4401" y="3337"/>
                  </a:lnTo>
                  <a:lnTo>
                    <a:pt x="4369" y="3372"/>
                  </a:lnTo>
                  <a:lnTo>
                    <a:pt x="4339" y="3407"/>
                  </a:lnTo>
                  <a:lnTo>
                    <a:pt x="4309" y="3440"/>
                  </a:lnTo>
                  <a:lnTo>
                    <a:pt x="4280" y="3473"/>
                  </a:lnTo>
                  <a:lnTo>
                    <a:pt x="4253" y="3503"/>
                  </a:lnTo>
                  <a:lnTo>
                    <a:pt x="4227" y="3532"/>
                  </a:lnTo>
                  <a:lnTo>
                    <a:pt x="4204" y="3558"/>
                  </a:lnTo>
                  <a:lnTo>
                    <a:pt x="4183" y="3583"/>
                  </a:lnTo>
                  <a:lnTo>
                    <a:pt x="4164" y="3607"/>
                  </a:lnTo>
                  <a:lnTo>
                    <a:pt x="4143" y="3634"/>
                  </a:lnTo>
                  <a:lnTo>
                    <a:pt x="4121" y="3661"/>
                  </a:lnTo>
                  <a:lnTo>
                    <a:pt x="4097" y="3691"/>
                  </a:lnTo>
                  <a:lnTo>
                    <a:pt x="4071" y="3723"/>
                  </a:lnTo>
                  <a:lnTo>
                    <a:pt x="4044" y="3756"/>
                  </a:lnTo>
                  <a:lnTo>
                    <a:pt x="4016" y="3791"/>
                  </a:lnTo>
                  <a:lnTo>
                    <a:pt x="3988" y="3828"/>
                  </a:lnTo>
                  <a:lnTo>
                    <a:pt x="3958" y="3865"/>
                  </a:lnTo>
                  <a:lnTo>
                    <a:pt x="3927" y="3905"/>
                  </a:lnTo>
                  <a:lnTo>
                    <a:pt x="3897" y="3945"/>
                  </a:lnTo>
                  <a:lnTo>
                    <a:pt x="3866" y="3987"/>
                  </a:lnTo>
                  <a:lnTo>
                    <a:pt x="3834" y="4029"/>
                  </a:lnTo>
                  <a:lnTo>
                    <a:pt x="3803" y="4073"/>
                  </a:lnTo>
                  <a:lnTo>
                    <a:pt x="3742" y="4163"/>
                  </a:lnTo>
                  <a:lnTo>
                    <a:pt x="3684" y="4257"/>
                  </a:lnTo>
                  <a:lnTo>
                    <a:pt x="3656" y="4305"/>
                  </a:lnTo>
                  <a:lnTo>
                    <a:pt x="3629" y="4354"/>
                  </a:lnTo>
                  <a:lnTo>
                    <a:pt x="3605" y="4402"/>
                  </a:lnTo>
                  <a:lnTo>
                    <a:pt x="3581" y="4451"/>
                  </a:lnTo>
                  <a:lnTo>
                    <a:pt x="3558" y="4502"/>
                  </a:lnTo>
                  <a:lnTo>
                    <a:pt x="3538" y="4551"/>
                  </a:lnTo>
                  <a:lnTo>
                    <a:pt x="3520" y="4602"/>
                  </a:lnTo>
                  <a:lnTo>
                    <a:pt x="3504" y="4652"/>
                  </a:lnTo>
                  <a:lnTo>
                    <a:pt x="3491" y="4703"/>
                  </a:lnTo>
                  <a:lnTo>
                    <a:pt x="3480" y="4753"/>
                  </a:lnTo>
                  <a:lnTo>
                    <a:pt x="3471" y="4804"/>
                  </a:lnTo>
                  <a:lnTo>
                    <a:pt x="3466" y="4854"/>
                  </a:lnTo>
                  <a:lnTo>
                    <a:pt x="3464" y="4905"/>
                  </a:lnTo>
                  <a:lnTo>
                    <a:pt x="3465" y="4954"/>
                  </a:lnTo>
                  <a:lnTo>
                    <a:pt x="3469" y="4984"/>
                  </a:lnTo>
                  <a:lnTo>
                    <a:pt x="3474" y="5014"/>
                  </a:lnTo>
                  <a:lnTo>
                    <a:pt x="3482" y="5045"/>
                  </a:lnTo>
                  <a:lnTo>
                    <a:pt x="3491" y="5076"/>
                  </a:lnTo>
                  <a:lnTo>
                    <a:pt x="3501" y="5107"/>
                  </a:lnTo>
                  <a:lnTo>
                    <a:pt x="3513" y="5139"/>
                  </a:lnTo>
                  <a:lnTo>
                    <a:pt x="3526" y="5170"/>
                  </a:lnTo>
                  <a:lnTo>
                    <a:pt x="3541" y="5202"/>
                  </a:lnTo>
                  <a:lnTo>
                    <a:pt x="3557" y="5234"/>
                  </a:lnTo>
                  <a:lnTo>
                    <a:pt x="3574" y="5267"/>
                  </a:lnTo>
                  <a:lnTo>
                    <a:pt x="3591" y="5300"/>
                  </a:lnTo>
                  <a:lnTo>
                    <a:pt x="3611" y="5333"/>
                  </a:lnTo>
                  <a:lnTo>
                    <a:pt x="3651" y="5399"/>
                  </a:lnTo>
                  <a:lnTo>
                    <a:pt x="3695" y="5465"/>
                  </a:lnTo>
                  <a:lnTo>
                    <a:pt x="3742" y="5530"/>
                  </a:lnTo>
                  <a:lnTo>
                    <a:pt x="3790" y="5595"/>
                  </a:lnTo>
                  <a:lnTo>
                    <a:pt x="3840" y="5659"/>
                  </a:lnTo>
                  <a:lnTo>
                    <a:pt x="3890" y="5722"/>
                  </a:lnTo>
                  <a:lnTo>
                    <a:pt x="3941" y="5782"/>
                  </a:lnTo>
                  <a:lnTo>
                    <a:pt x="3992" y="5841"/>
                  </a:lnTo>
                  <a:lnTo>
                    <a:pt x="4041" y="5898"/>
                  </a:lnTo>
                  <a:lnTo>
                    <a:pt x="4089" y="5951"/>
                  </a:lnTo>
                  <a:lnTo>
                    <a:pt x="4117" y="5986"/>
                  </a:lnTo>
                  <a:lnTo>
                    <a:pt x="4141" y="6020"/>
                  </a:lnTo>
                  <a:lnTo>
                    <a:pt x="4164" y="6052"/>
                  </a:lnTo>
                  <a:lnTo>
                    <a:pt x="4184" y="6084"/>
                  </a:lnTo>
                  <a:lnTo>
                    <a:pt x="4201" y="6114"/>
                  </a:lnTo>
                  <a:lnTo>
                    <a:pt x="4217" y="6142"/>
                  </a:lnTo>
                  <a:lnTo>
                    <a:pt x="4230" y="6169"/>
                  </a:lnTo>
                  <a:lnTo>
                    <a:pt x="4240" y="6193"/>
                  </a:lnTo>
                  <a:lnTo>
                    <a:pt x="4250" y="6215"/>
                  </a:lnTo>
                  <a:lnTo>
                    <a:pt x="4258" y="6236"/>
                  </a:lnTo>
                  <a:lnTo>
                    <a:pt x="4264" y="6253"/>
                  </a:lnTo>
                  <a:lnTo>
                    <a:pt x="4268" y="6267"/>
                  </a:lnTo>
                  <a:lnTo>
                    <a:pt x="4272" y="6279"/>
                  </a:lnTo>
                  <a:lnTo>
                    <a:pt x="4275" y="6287"/>
                  </a:lnTo>
                  <a:lnTo>
                    <a:pt x="4276" y="6293"/>
                  </a:lnTo>
                  <a:lnTo>
                    <a:pt x="4276" y="6294"/>
                  </a:lnTo>
                  <a:lnTo>
                    <a:pt x="3902" y="6856"/>
                  </a:lnTo>
                  <a:lnTo>
                    <a:pt x="3902" y="6856"/>
                  </a:lnTo>
                  <a:lnTo>
                    <a:pt x="3904" y="6858"/>
                  </a:lnTo>
                  <a:lnTo>
                    <a:pt x="3906" y="6861"/>
                  </a:lnTo>
                  <a:lnTo>
                    <a:pt x="3909" y="6865"/>
                  </a:lnTo>
                  <a:lnTo>
                    <a:pt x="3914" y="6870"/>
                  </a:lnTo>
                  <a:lnTo>
                    <a:pt x="3919" y="6877"/>
                  </a:lnTo>
                  <a:lnTo>
                    <a:pt x="3926" y="6884"/>
                  </a:lnTo>
                  <a:lnTo>
                    <a:pt x="3932" y="6893"/>
                  </a:lnTo>
                  <a:lnTo>
                    <a:pt x="3948" y="6912"/>
                  </a:lnTo>
                  <a:lnTo>
                    <a:pt x="3968" y="6936"/>
                  </a:lnTo>
                  <a:lnTo>
                    <a:pt x="3992" y="6963"/>
                  </a:lnTo>
                  <a:lnTo>
                    <a:pt x="4017" y="6993"/>
                  </a:lnTo>
                  <a:lnTo>
                    <a:pt x="4045" y="7025"/>
                  </a:lnTo>
                  <a:lnTo>
                    <a:pt x="4077" y="7059"/>
                  </a:lnTo>
                  <a:lnTo>
                    <a:pt x="4110" y="7095"/>
                  </a:lnTo>
                  <a:lnTo>
                    <a:pt x="4147" y="7133"/>
                  </a:lnTo>
                  <a:lnTo>
                    <a:pt x="4185" y="7173"/>
                  </a:lnTo>
                  <a:lnTo>
                    <a:pt x="4225" y="7213"/>
                  </a:lnTo>
                  <a:lnTo>
                    <a:pt x="4267" y="7254"/>
                  </a:lnTo>
                  <a:lnTo>
                    <a:pt x="4311" y="7295"/>
                  </a:lnTo>
                  <a:lnTo>
                    <a:pt x="4356" y="7338"/>
                  </a:lnTo>
                  <a:lnTo>
                    <a:pt x="4403" y="7379"/>
                  </a:lnTo>
                  <a:lnTo>
                    <a:pt x="4451" y="7419"/>
                  </a:lnTo>
                  <a:lnTo>
                    <a:pt x="4500" y="7459"/>
                  </a:lnTo>
                  <a:lnTo>
                    <a:pt x="4550" y="7498"/>
                  </a:lnTo>
                  <a:lnTo>
                    <a:pt x="4601" y="7535"/>
                  </a:lnTo>
                  <a:lnTo>
                    <a:pt x="4652" y="7571"/>
                  </a:lnTo>
                  <a:lnTo>
                    <a:pt x="4704" y="7604"/>
                  </a:lnTo>
                  <a:lnTo>
                    <a:pt x="4756" y="7635"/>
                  </a:lnTo>
                  <a:lnTo>
                    <a:pt x="4808" y="7664"/>
                  </a:lnTo>
                  <a:lnTo>
                    <a:pt x="4861" y="7690"/>
                  </a:lnTo>
                  <a:lnTo>
                    <a:pt x="4912" y="7712"/>
                  </a:lnTo>
                  <a:lnTo>
                    <a:pt x="4965" y="7730"/>
                  </a:lnTo>
                  <a:lnTo>
                    <a:pt x="4991" y="7737"/>
                  </a:lnTo>
                  <a:lnTo>
                    <a:pt x="5017" y="7744"/>
                  </a:lnTo>
                  <a:lnTo>
                    <a:pt x="5042" y="7750"/>
                  </a:lnTo>
                  <a:lnTo>
                    <a:pt x="5067" y="7754"/>
                  </a:lnTo>
                  <a:lnTo>
                    <a:pt x="5092" y="7757"/>
                  </a:lnTo>
                  <a:lnTo>
                    <a:pt x="5117" y="7759"/>
                  </a:lnTo>
                  <a:lnTo>
                    <a:pt x="5163" y="7758"/>
                  </a:lnTo>
                  <a:lnTo>
                    <a:pt x="5210" y="7755"/>
                  </a:lnTo>
                  <a:lnTo>
                    <a:pt x="5256" y="7750"/>
                  </a:lnTo>
                  <a:lnTo>
                    <a:pt x="5302" y="7742"/>
                  </a:lnTo>
                  <a:lnTo>
                    <a:pt x="5347" y="7733"/>
                  </a:lnTo>
                  <a:lnTo>
                    <a:pt x="5393" y="7723"/>
                  </a:lnTo>
                  <a:lnTo>
                    <a:pt x="5437" y="7711"/>
                  </a:lnTo>
                  <a:lnTo>
                    <a:pt x="5482" y="7696"/>
                  </a:lnTo>
                  <a:lnTo>
                    <a:pt x="5527" y="7681"/>
                  </a:lnTo>
                  <a:lnTo>
                    <a:pt x="5571" y="7664"/>
                  </a:lnTo>
                  <a:lnTo>
                    <a:pt x="5616" y="7646"/>
                  </a:lnTo>
                  <a:lnTo>
                    <a:pt x="5660" y="7626"/>
                  </a:lnTo>
                  <a:lnTo>
                    <a:pt x="5704" y="7605"/>
                  </a:lnTo>
                  <a:lnTo>
                    <a:pt x="5749" y="7584"/>
                  </a:lnTo>
                  <a:lnTo>
                    <a:pt x="5838" y="7538"/>
                  </a:lnTo>
                  <a:lnTo>
                    <a:pt x="5927" y="7487"/>
                  </a:lnTo>
                  <a:lnTo>
                    <a:pt x="6017" y="7435"/>
                  </a:lnTo>
                  <a:lnTo>
                    <a:pt x="6108" y="7381"/>
                  </a:lnTo>
                  <a:lnTo>
                    <a:pt x="6200" y="7325"/>
                  </a:lnTo>
                  <a:lnTo>
                    <a:pt x="6293" y="7269"/>
                  </a:lnTo>
                  <a:lnTo>
                    <a:pt x="6388" y="7213"/>
                  </a:lnTo>
                  <a:lnTo>
                    <a:pt x="6484" y="7158"/>
                  </a:lnTo>
                  <a:lnTo>
                    <a:pt x="6582" y="7105"/>
                  </a:lnTo>
                  <a:lnTo>
                    <a:pt x="6618" y="7087"/>
                  </a:lnTo>
                  <a:lnTo>
                    <a:pt x="6653" y="7072"/>
                  </a:lnTo>
                  <a:lnTo>
                    <a:pt x="6690" y="7059"/>
                  </a:lnTo>
                  <a:lnTo>
                    <a:pt x="6727" y="7045"/>
                  </a:lnTo>
                  <a:lnTo>
                    <a:pt x="6764" y="7034"/>
                  </a:lnTo>
                  <a:lnTo>
                    <a:pt x="6803" y="7025"/>
                  </a:lnTo>
                  <a:lnTo>
                    <a:pt x="6840" y="7015"/>
                  </a:lnTo>
                  <a:lnTo>
                    <a:pt x="6878" y="7007"/>
                  </a:lnTo>
                  <a:lnTo>
                    <a:pt x="6916" y="7001"/>
                  </a:lnTo>
                  <a:lnTo>
                    <a:pt x="6954" y="6995"/>
                  </a:lnTo>
                  <a:lnTo>
                    <a:pt x="7029" y="6986"/>
                  </a:lnTo>
                  <a:lnTo>
                    <a:pt x="7103" y="6981"/>
                  </a:lnTo>
                  <a:lnTo>
                    <a:pt x="7174" y="6980"/>
                  </a:lnTo>
                  <a:lnTo>
                    <a:pt x="7237" y="6981"/>
                  </a:lnTo>
                  <a:lnTo>
                    <a:pt x="7298" y="6984"/>
                  </a:lnTo>
                  <a:lnTo>
                    <a:pt x="7356" y="6988"/>
                  </a:lnTo>
                  <a:lnTo>
                    <a:pt x="7411" y="6995"/>
                  </a:lnTo>
                  <a:lnTo>
                    <a:pt x="7463" y="7002"/>
                  </a:lnTo>
                  <a:lnTo>
                    <a:pt x="7512" y="7009"/>
                  </a:lnTo>
                  <a:lnTo>
                    <a:pt x="7557" y="7018"/>
                  </a:lnTo>
                  <a:lnTo>
                    <a:pt x="7599" y="7027"/>
                  </a:lnTo>
                  <a:lnTo>
                    <a:pt x="7618" y="7031"/>
                  </a:lnTo>
                  <a:lnTo>
                    <a:pt x="7636" y="7035"/>
                  </a:lnTo>
                  <a:lnTo>
                    <a:pt x="7653" y="7040"/>
                  </a:lnTo>
                  <a:lnTo>
                    <a:pt x="7669" y="7044"/>
                  </a:lnTo>
                  <a:lnTo>
                    <a:pt x="7684" y="7048"/>
                  </a:lnTo>
                  <a:lnTo>
                    <a:pt x="7698" y="7051"/>
                  </a:lnTo>
                  <a:lnTo>
                    <a:pt x="7710" y="7055"/>
                  </a:lnTo>
                  <a:lnTo>
                    <a:pt x="7721" y="7059"/>
                  </a:lnTo>
                  <a:lnTo>
                    <a:pt x="7732" y="7062"/>
                  </a:lnTo>
                  <a:lnTo>
                    <a:pt x="7741" y="7065"/>
                  </a:lnTo>
                  <a:lnTo>
                    <a:pt x="7748" y="7067"/>
                  </a:lnTo>
                  <a:lnTo>
                    <a:pt x="7754" y="7069"/>
                  </a:lnTo>
                  <a:lnTo>
                    <a:pt x="7760" y="7071"/>
                  </a:lnTo>
                  <a:lnTo>
                    <a:pt x="7763" y="7072"/>
                  </a:lnTo>
                  <a:lnTo>
                    <a:pt x="7766" y="7073"/>
                  </a:lnTo>
                  <a:lnTo>
                    <a:pt x="7766" y="7073"/>
                  </a:lnTo>
                  <a:lnTo>
                    <a:pt x="7766" y="7073"/>
                  </a:lnTo>
                  <a:lnTo>
                    <a:pt x="7767" y="7071"/>
                  </a:lnTo>
                  <a:lnTo>
                    <a:pt x="7768" y="7069"/>
                  </a:lnTo>
                  <a:lnTo>
                    <a:pt x="7769" y="7065"/>
                  </a:lnTo>
                  <a:lnTo>
                    <a:pt x="7772" y="7054"/>
                  </a:lnTo>
                  <a:lnTo>
                    <a:pt x="7775" y="7040"/>
                  </a:lnTo>
                  <a:lnTo>
                    <a:pt x="7780" y="7021"/>
                  </a:lnTo>
                  <a:lnTo>
                    <a:pt x="7786" y="7000"/>
                  </a:lnTo>
                  <a:lnTo>
                    <a:pt x="7794" y="6974"/>
                  </a:lnTo>
                  <a:lnTo>
                    <a:pt x="7801" y="6945"/>
                  </a:lnTo>
                  <a:lnTo>
                    <a:pt x="7809" y="6913"/>
                  </a:lnTo>
                  <a:lnTo>
                    <a:pt x="7817" y="6879"/>
                  </a:lnTo>
                  <a:lnTo>
                    <a:pt x="7827" y="6841"/>
                  </a:lnTo>
                  <a:lnTo>
                    <a:pt x="7837" y="6800"/>
                  </a:lnTo>
                  <a:lnTo>
                    <a:pt x="7847" y="6758"/>
                  </a:lnTo>
                  <a:lnTo>
                    <a:pt x="7858" y="6711"/>
                  </a:lnTo>
                  <a:lnTo>
                    <a:pt x="7868" y="6664"/>
                  </a:lnTo>
                  <a:lnTo>
                    <a:pt x="7879" y="6614"/>
                  </a:lnTo>
                  <a:lnTo>
                    <a:pt x="7890" y="6562"/>
                  </a:lnTo>
                  <a:lnTo>
                    <a:pt x="7901" y="6507"/>
                  </a:lnTo>
                  <a:lnTo>
                    <a:pt x="7912" y="6452"/>
                  </a:lnTo>
                  <a:lnTo>
                    <a:pt x="7923" y="6395"/>
                  </a:lnTo>
                  <a:lnTo>
                    <a:pt x="7933" y="6336"/>
                  </a:lnTo>
                  <a:lnTo>
                    <a:pt x="7943" y="6276"/>
                  </a:lnTo>
                  <a:lnTo>
                    <a:pt x="7954" y="6215"/>
                  </a:lnTo>
                  <a:lnTo>
                    <a:pt x="7963" y="6153"/>
                  </a:lnTo>
                  <a:lnTo>
                    <a:pt x="7981" y="6026"/>
                  </a:lnTo>
                  <a:lnTo>
                    <a:pt x="7996" y="5899"/>
                  </a:lnTo>
                  <a:lnTo>
                    <a:pt x="8007" y="5769"/>
                  </a:lnTo>
                  <a:lnTo>
                    <a:pt x="8012" y="5704"/>
                  </a:lnTo>
                  <a:lnTo>
                    <a:pt x="8016" y="5640"/>
                  </a:lnTo>
                  <a:lnTo>
                    <a:pt x="8017" y="5597"/>
                  </a:lnTo>
                  <a:lnTo>
                    <a:pt x="8017" y="5555"/>
                  </a:lnTo>
                  <a:lnTo>
                    <a:pt x="8017" y="5513"/>
                  </a:lnTo>
                  <a:lnTo>
                    <a:pt x="8016" y="5473"/>
                  </a:lnTo>
                  <a:lnTo>
                    <a:pt x="8012" y="5397"/>
                  </a:lnTo>
                  <a:lnTo>
                    <a:pt x="8004" y="5323"/>
                  </a:lnTo>
                  <a:lnTo>
                    <a:pt x="7996" y="5253"/>
                  </a:lnTo>
                  <a:lnTo>
                    <a:pt x="7986" y="5186"/>
                  </a:lnTo>
                  <a:lnTo>
                    <a:pt x="7972" y="5121"/>
                  </a:lnTo>
                  <a:lnTo>
                    <a:pt x="7959" y="5058"/>
                  </a:lnTo>
                  <a:lnTo>
                    <a:pt x="7943" y="4997"/>
                  </a:lnTo>
                  <a:lnTo>
                    <a:pt x="7927" y="4938"/>
                  </a:lnTo>
                  <a:lnTo>
                    <a:pt x="7892" y="4820"/>
                  </a:lnTo>
                  <a:lnTo>
                    <a:pt x="7855" y="4704"/>
                  </a:lnTo>
                  <a:lnTo>
                    <a:pt x="7835" y="4644"/>
                  </a:lnTo>
                  <a:lnTo>
                    <a:pt x="7817" y="4584"/>
                  </a:lnTo>
                  <a:lnTo>
                    <a:pt x="7799" y="4523"/>
                  </a:lnTo>
                  <a:lnTo>
                    <a:pt x="7781" y="4460"/>
                  </a:lnTo>
                  <a:lnTo>
                    <a:pt x="7765" y="4395"/>
                  </a:lnTo>
                  <a:lnTo>
                    <a:pt x="7750" y="4327"/>
                  </a:lnTo>
                  <a:lnTo>
                    <a:pt x="7736" y="4256"/>
                  </a:lnTo>
                  <a:lnTo>
                    <a:pt x="7723" y="4183"/>
                  </a:lnTo>
                  <a:lnTo>
                    <a:pt x="7713" y="4104"/>
                  </a:lnTo>
                  <a:lnTo>
                    <a:pt x="7709" y="4064"/>
                  </a:lnTo>
                  <a:lnTo>
                    <a:pt x="7705" y="4023"/>
                  </a:lnTo>
                  <a:lnTo>
                    <a:pt x="7701" y="3981"/>
                  </a:lnTo>
                  <a:lnTo>
                    <a:pt x="7698" y="3936"/>
                  </a:lnTo>
                  <a:lnTo>
                    <a:pt x="7696" y="3892"/>
                  </a:lnTo>
                  <a:lnTo>
                    <a:pt x="7695" y="3846"/>
                  </a:lnTo>
                  <a:lnTo>
                    <a:pt x="7694" y="3798"/>
                  </a:lnTo>
                  <a:lnTo>
                    <a:pt x="7694" y="3750"/>
                  </a:lnTo>
                  <a:lnTo>
                    <a:pt x="7694" y="3700"/>
                  </a:lnTo>
                  <a:lnTo>
                    <a:pt x="7695" y="3648"/>
                  </a:lnTo>
                  <a:lnTo>
                    <a:pt x="7697" y="3596"/>
                  </a:lnTo>
                  <a:lnTo>
                    <a:pt x="7700" y="3541"/>
                  </a:lnTo>
                  <a:lnTo>
                    <a:pt x="7703" y="3484"/>
                  </a:lnTo>
                  <a:lnTo>
                    <a:pt x="7708" y="3427"/>
                  </a:lnTo>
                  <a:lnTo>
                    <a:pt x="7713" y="3367"/>
                  </a:lnTo>
                  <a:lnTo>
                    <a:pt x="7719" y="3306"/>
                  </a:lnTo>
                  <a:lnTo>
                    <a:pt x="7727" y="3243"/>
                  </a:lnTo>
                  <a:lnTo>
                    <a:pt x="7735" y="3178"/>
                  </a:lnTo>
                  <a:lnTo>
                    <a:pt x="7715" y="3213"/>
                  </a:lnTo>
                  <a:lnTo>
                    <a:pt x="7695" y="3250"/>
                  </a:lnTo>
                  <a:lnTo>
                    <a:pt x="7675" y="3289"/>
                  </a:lnTo>
                  <a:lnTo>
                    <a:pt x="7655" y="3328"/>
                  </a:lnTo>
                  <a:lnTo>
                    <a:pt x="7637" y="3368"/>
                  </a:lnTo>
                  <a:lnTo>
                    <a:pt x="7618" y="3410"/>
                  </a:lnTo>
                  <a:lnTo>
                    <a:pt x="7601" y="3453"/>
                  </a:lnTo>
                  <a:lnTo>
                    <a:pt x="7584" y="3499"/>
                  </a:lnTo>
                  <a:lnTo>
                    <a:pt x="7568" y="3545"/>
                  </a:lnTo>
                  <a:lnTo>
                    <a:pt x="7552" y="3592"/>
                  </a:lnTo>
                  <a:lnTo>
                    <a:pt x="7538" y="3643"/>
                  </a:lnTo>
                  <a:lnTo>
                    <a:pt x="7524" y="3694"/>
                  </a:lnTo>
                  <a:lnTo>
                    <a:pt x="7512" y="3747"/>
                  </a:lnTo>
                  <a:lnTo>
                    <a:pt x="7501" y="3803"/>
                  </a:lnTo>
                  <a:lnTo>
                    <a:pt x="7490" y="3859"/>
                  </a:lnTo>
                  <a:lnTo>
                    <a:pt x="7482" y="3918"/>
                  </a:lnTo>
                  <a:lnTo>
                    <a:pt x="7475" y="3979"/>
                  </a:lnTo>
                  <a:lnTo>
                    <a:pt x="7469" y="4042"/>
                  </a:lnTo>
                  <a:lnTo>
                    <a:pt x="7464" y="4107"/>
                  </a:lnTo>
                  <a:lnTo>
                    <a:pt x="7461" y="4174"/>
                  </a:lnTo>
                  <a:lnTo>
                    <a:pt x="7460" y="4243"/>
                  </a:lnTo>
                  <a:lnTo>
                    <a:pt x="7461" y="4316"/>
                  </a:lnTo>
                  <a:lnTo>
                    <a:pt x="7463" y="4390"/>
                  </a:lnTo>
                  <a:lnTo>
                    <a:pt x="7467" y="4466"/>
                  </a:lnTo>
                  <a:lnTo>
                    <a:pt x="7474" y="4545"/>
                  </a:lnTo>
                  <a:lnTo>
                    <a:pt x="7482" y="4627"/>
                  </a:lnTo>
                  <a:lnTo>
                    <a:pt x="7493" y="4711"/>
                  </a:lnTo>
                  <a:lnTo>
                    <a:pt x="7506" y="4798"/>
                  </a:lnTo>
                  <a:lnTo>
                    <a:pt x="7520" y="4887"/>
                  </a:lnTo>
                  <a:lnTo>
                    <a:pt x="7538" y="4980"/>
                  </a:lnTo>
                  <a:lnTo>
                    <a:pt x="7557" y="5075"/>
                  </a:lnTo>
                  <a:lnTo>
                    <a:pt x="7579" y="5173"/>
                  </a:lnTo>
                  <a:lnTo>
                    <a:pt x="7592" y="5228"/>
                  </a:lnTo>
                  <a:lnTo>
                    <a:pt x="7603" y="5287"/>
                  </a:lnTo>
                  <a:lnTo>
                    <a:pt x="7611" y="5346"/>
                  </a:lnTo>
                  <a:lnTo>
                    <a:pt x="7616" y="5405"/>
                  </a:lnTo>
                  <a:lnTo>
                    <a:pt x="7619" y="5466"/>
                  </a:lnTo>
                  <a:lnTo>
                    <a:pt x="7620" y="5528"/>
                  </a:lnTo>
                  <a:lnTo>
                    <a:pt x="7619" y="5589"/>
                  </a:lnTo>
                  <a:lnTo>
                    <a:pt x="7616" y="5651"/>
                  </a:lnTo>
                  <a:lnTo>
                    <a:pt x="7611" y="5713"/>
                  </a:lnTo>
                  <a:lnTo>
                    <a:pt x="7605" y="5774"/>
                  </a:lnTo>
                  <a:lnTo>
                    <a:pt x="7598" y="5836"/>
                  </a:lnTo>
                  <a:lnTo>
                    <a:pt x="7588" y="5896"/>
                  </a:lnTo>
                  <a:lnTo>
                    <a:pt x="7579" y="5955"/>
                  </a:lnTo>
                  <a:lnTo>
                    <a:pt x="7568" y="6014"/>
                  </a:lnTo>
                  <a:lnTo>
                    <a:pt x="7556" y="6071"/>
                  </a:lnTo>
                  <a:lnTo>
                    <a:pt x="7544" y="6126"/>
                  </a:lnTo>
                  <a:lnTo>
                    <a:pt x="7531" y="6181"/>
                  </a:lnTo>
                  <a:lnTo>
                    <a:pt x="7519" y="6232"/>
                  </a:lnTo>
                  <a:lnTo>
                    <a:pt x="7506" y="6282"/>
                  </a:lnTo>
                  <a:lnTo>
                    <a:pt x="7492" y="6329"/>
                  </a:lnTo>
                  <a:lnTo>
                    <a:pt x="7480" y="6375"/>
                  </a:lnTo>
                  <a:lnTo>
                    <a:pt x="7467" y="6417"/>
                  </a:lnTo>
                  <a:lnTo>
                    <a:pt x="7455" y="6456"/>
                  </a:lnTo>
                  <a:lnTo>
                    <a:pt x="7444" y="6491"/>
                  </a:lnTo>
                  <a:lnTo>
                    <a:pt x="7432" y="6524"/>
                  </a:lnTo>
                  <a:lnTo>
                    <a:pt x="7423" y="6553"/>
                  </a:lnTo>
                  <a:lnTo>
                    <a:pt x="7414" y="6578"/>
                  </a:lnTo>
                  <a:lnTo>
                    <a:pt x="7411" y="6589"/>
                  </a:lnTo>
                  <a:lnTo>
                    <a:pt x="7407" y="6598"/>
                  </a:lnTo>
                  <a:lnTo>
                    <a:pt x="7403" y="6607"/>
                  </a:lnTo>
                  <a:lnTo>
                    <a:pt x="7400" y="6615"/>
                  </a:lnTo>
                  <a:lnTo>
                    <a:pt x="7398" y="6622"/>
                  </a:lnTo>
                  <a:lnTo>
                    <a:pt x="7396" y="6627"/>
                  </a:lnTo>
                  <a:lnTo>
                    <a:pt x="7394" y="6631"/>
                  </a:lnTo>
                  <a:lnTo>
                    <a:pt x="7393" y="6634"/>
                  </a:lnTo>
                  <a:lnTo>
                    <a:pt x="7393" y="6636"/>
                  </a:lnTo>
                  <a:lnTo>
                    <a:pt x="7392" y="6637"/>
                  </a:lnTo>
                  <a:lnTo>
                    <a:pt x="7391" y="6636"/>
                  </a:lnTo>
                  <a:lnTo>
                    <a:pt x="7388" y="6635"/>
                  </a:lnTo>
                  <a:lnTo>
                    <a:pt x="7383" y="6634"/>
                  </a:lnTo>
                  <a:lnTo>
                    <a:pt x="7376" y="6632"/>
                  </a:lnTo>
                  <a:lnTo>
                    <a:pt x="7366" y="6630"/>
                  </a:lnTo>
                  <a:lnTo>
                    <a:pt x="7355" y="6627"/>
                  </a:lnTo>
                  <a:lnTo>
                    <a:pt x="7342" y="6625"/>
                  </a:lnTo>
                  <a:lnTo>
                    <a:pt x="7326" y="6622"/>
                  </a:lnTo>
                  <a:lnTo>
                    <a:pt x="7310" y="6619"/>
                  </a:lnTo>
                  <a:lnTo>
                    <a:pt x="7291" y="6616"/>
                  </a:lnTo>
                  <a:lnTo>
                    <a:pt x="7270" y="6614"/>
                  </a:lnTo>
                  <a:lnTo>
                    <a:pt x="7248" y="6610"/>
                  </a:lnTo>
                  <a:lnTo>
                    <a:pt x="7224" y="6609"/>
                  </a:lnTo>
                  <a:lnTo>
                    <a:pt x="7199" y="6607"/>
                  </a:lnTo>
                  <a:lnTo>
                    <a:pt x="7171" y="6606"/>
                  </a:lnTo>
                  <a:lnTo>
                    <a:pt x="7143" y="6606"/>
                  </a:lnTo>
                  <a:lnTo>
                    <a:pt x="7125" y="6606"/>
                  </a:lnTo>
                  <a:lnTo>
                    <a:pt x="7105" y="6606"/>
                  </a:lnTo>
                  <a:lnTo>
                    <a:pt x="7084" y="6606"/>
                  </a:lnTo>
                  <a:lnTo>
                    <a:pt x="7063" y="6606"/>
                  </a:lnTo>
                  <a:lnTo>
                    <a:pt x="7039" y="6607"/>
                  </a:lnTo>
                  <a:lnTo>
                    <a:pt x="7015" y="6607"/>
                  </a:lnTo>
                  <a:lnTo>
                    <a:pt x="6964" y="6610"/>
                  </a:lnTo>
                  <a:lnTo>
                    <a:pt x="6910" y="6614"/>
                  </a:lnTo>
                  <a:lnTo>
                    <a:pt x="6854" y="6619"/>
                  </a:lnTo>
                  <a:lnTo>
                    <a:pt x="6796" y="6627"/>
                  </a:lnTo>
                  <a:lnTo>
                    <a:pt x="6738" y="6637"/>
                  </a:lnTo>
                  <a:lnTo>
                    <a:pt x="6693" y="6648"/>
                  </a:lnTo>
                  <a:lnTo>
                    <a:pt x="6648" y="6660"/>
                  </a:lnTo>
                  <a:lnTo>
                    <a:pt x="6600" y="6675"/>
                  </a:lnTo>
                  <a:lnTo>
                    <a:pt x="6552" y="6692"/>
                  </a:lnTo>
                  <a:lnTo>
                    <a:pt x="6503" y="6711"/>
                  </a:lnTo>
                  <a:lnTo>
                    <a:pt x="6453" y="6733"/>
                  </a:lnTo>
                  <a:lnTo>
                    <a:pt x="6402" y="6756"/>
                  </a:lnTo>
                  <a:lnTo>
                    <a:pt x="6351" y="6779"/>
                  </a:lnTo>
                  <a:lnTo>
                    <a:pt x="6299" y="6805"/>
                  </a:lnTo>
                  <a:lnTo>
                    <a:pt x="6246" y="6832"/>
                  </a:lnTo>
                  <a:lnTo>
                    <a:pt x="6141" y="6889"/>
                  </a:lnTo>
                  <a:lnTo>
                    <a:pt x="6036" y="6947"/>
                  </a:lnTo>
                  <a:lnTo>
                    <a:pt x="5931" y="7007"/>
                  </a:lnTo>
                  <a:lnTo>
                    <a:pt x="5829" y="7067"/>
                  </a:lnTo>
                  <a:lnTo>
                    <a:pt x="5729" y="7124"/>
                  </a:lnTo>
                  <a:lnTo>
                    <a:pt x="5681" y="7152"/>
                  </a:lnTo>
                  <a:lnTo>
                    <a:pt x="5633" y="7179"/>
                  </a:lnTo>
                  <a:lnTo>
                    <a:pt x="5587" y="7205"/>
                  </a:lnTo>
                  <a:lnTo>
                    <a:pt x="5541" y="7228"/>
                  </a:lnTo>
                  <a:lnTo>
                    <a:pt x="5498" y="7251"/>
                  </a:lnTo>
                  <a:lnTo>
                    <a:pt x="5455" y="7273"/>
                  </a:lnTo>
                  <a:lnTo>
                    <a:pt x="5415" y="7292"/>
                  </a:lnTo>
                  <a:lnTo>
                    <a:pt x="5377" y="7309"/>
                  </a:lnTo>
                  <a:lnTo>
                    <a:pt x="5340" y="7324"/>
                  </a:lnTo>
                  <a:lnTo>
                    <a:pt x="5305" y="7337"/>
                  </a:lnTo>
                  <a:lnTo>
                    <a:pt x="5273" y="7347"/>
                  </a:lnTo>
                  <a:lnTo>
                    <a:pt x="5242" y="7354"/>
                  </a:lnTo>
                  <a:lnTo>
                    <a:pt x="5180" y="7354"/>
                  </a:lnTo>
                  <a:lnTo>
                    <a:pt x="5142" y="7352"/>
                  </a:lnTo>
                  <a:lnTo>
                    <a:pt x="5105" y="7349"/>
                  </a:lnTo>
                  <a:lnTo>
                    <a:pt x="5066" y="7343"/>
                  </a:lnTo>
                  <a:lnTo>
                    <a:pt x="5030" y="7334"/>
                  </a:lnTo>
                  <a:lnTo>
                    <a:pt x="4993" y="7323"/>
                  </a:lnTo>
                  <a:lnTo>
                    <a:pt x="4957" y="7311"/>
                  </a:lnTo>
                  <a:lnTo>
                    <a:pt x="4922" y="7296"/>
                  </a:lnTo>
                  <a:lnTo>
                    <a:pt x="4887" y="7281"/>
                  </a:lnTo>
                  <a:lnTo>
                    <a:pt x="4853" y="7264"/>
                  </a:lnTo>
                  <a:lnTo>
                    <a:pt x="4820" y="7245"/>
                  </a:lnTo>
                  <a:lnTo>
                    <a:pt x="4755" y="7206"/>
                  </a:lnTo>
                  <a:lnTo>
                    <a:pt x="4725" y="7185"/>
                  </a:lnTo>
                  <a:lnTo>
                    <a:pt x="4695" y="7164"/>
                  </a:lnTo>
                  <a:lnTo>
                    <a:pt x="4666" y="7142"/>
                  </a:lnTo>
                  <a:lnTo>
                    <a:pt x="4638" y="7120"/>
                  </a:lnTo>
                  <a:lnTo>
                    <a:pt x="4611" y="7099"/>
                  </a:lnTo>
                  <a:lnTo>
                    <a:pt x="4586" y="7076"/>
                  </a:lnTo>
                  <a:lnTo>
                    <a:pt x="4563" y="7055"/>
                  </a:lnTo>
                  <a:lnTo>
                    <a:pt x="4540" y="7034"/>
                  </a:lnTo>
                  <a:lnTo>
                    <a:pt x="4519" y="7014"/>
                  </a:lnTo>
                  <a:lnTo>
                    <a:pt x="4500" y="6995"/>
                  </a:lnTo>
                  <a:lnTo>
                    <a:pt x="4481" y="6976"/>
                  </a:lnTo>
                  <a:lnTo>
                    <a:pt x="4465" y="6960"/>
                  </a:lnTo>
                  <a:lnTo>
                    <a:pt x="4450" y="6943"/>
                  </a:lnTo>
                  <a:lnTo>
                    <a:pt x="4438" y="6930"/>
                  </a:lnTo>
                  <a:lnTo>
                    <a:pt x="4426" y="6917"/>
                  </a:lnTo>
                  <a:lnTo>
                    <a:pt x="4417" y="6906"/>
                  </a:lnTo>
                  <a:lnTo>
                    <a:pt x="4410" y="6898"/>
                  </a:lnTo>
                  <a:lnTo>
                    <a:pt x="4405" y="6892"/>
                  </a:lnTo>
                  <a:lnTo>
                    <a:pt x="4401" y="6888"/>
                  </a:lnTo>
                  <a:lnTo>
                    <a:pt x="4400" y="6887"/>
                  </a:lnTo>
                  <a:lnTo>
                    <a:pt x="5242" y="5142"/>
                  </a:lnTo>
                  <a:lnTo>
                    <a:pt x="4525" y="5983"/>
                  </a:lnTo>
                  <a:lnTo>
                    <a:pt x="4524" y="5981"/>
                  </a:lnTo>
                  <a:lnTo>
                    <a:pt x="4522" y="5977"/>
                  </a:lnTo>
                  <a:lnTo>
                    <a:pt x="4518" y="5970"/>
                  </a:lnTo>
                  <a:lnTo>
                    <a:pt x="4513" y="5959"/>
                  </a:lnTo>
                  <a:lnTo>
                    <a:pt x="4506" y="5946"/>
                  </a:lnTo>
                  <a:lnTo>
                    <a:pt x="4497" y="5931"/>
                  </a:lnTo>
                  <a:lnTo>
                    <a:pt x="4487" y="5911"/>
                  </a:lnTo>
                  <a:lnTo>
                    <a:pt x="4475" y="5889"/>
                  </a:lnTo>
                  <a:lnTo>
                    <a:pt x="4460" y="5865"/>
                  </a:lnTo>
                  <a:lnTo>
                    <a:pt x="4445" y="5837"/>
                  </a:lnTo>
                  <a:lnTo>
                    <a:pt x="4426" y="5806"/>
                  </a:lnTo>
                  <a:lnTo>
                    <a:pt x="4407" y="5772"/>
                  </a:lnTo>
                  <a:lnTo>
                    <a:pt x="4385" y="5736"/>
                  </a:lnTo>
                  <a:lnTo>
                    <a:pt x="4361" y="5697"/>
                  </a:lnTo>
                  <a:lnTo>
                    <a:pt x="4335" y="5654"/>
                  </a:lnTo>
                  <a:lnTo>
                    <a:pt x="4307" y="5608"/>
                  </a:lnTo>
                  <a:lnTo>
                    <a:pt x="4276" y="5562"/>
                  </a:lnTo>
                  <a:lnTo>
                    <a:pt x="4241" y="5517"/>
                  </a:lnTo>
                  <a:lnTo>
                    <a:pt x="4205" y="5471"/>
                  </a:lnTo>
                  <a:lnTo>
                    <a:pt x="4168" y="5426"/>
                  </a:lnTo>
                  <a:lnTo>
                    <a:pt x="4091" y="5336"/>
                  </a:lnTo>
                  <a:lnTo>
                    <a:pt x="4053" y="5292"/>
                  </a:lnTo>
                  <a:lnTo>
                    <a:pt x="4014" y="5247"/>
                  </a:lnTo>
                  <a:lnTo>
                    <a:pt x="3979" y="5201"/>
                  </a:lnTo>
                  <a:lnTo>
                    <a:pt x="3946" y="5155"/>
                  </a:lnTo>
                  <a:lnTo>
                    <a:pt x="3916" y="5109"/>
                  </a:lnTo>
                  <a:lnTo>
                    <a:pt x="3903" y="5085"/>
                  </a:lnTo>
                  <a:lnTo>
                    <a:pt x="3890" y="5061"/>
                  </a:lnTo>
                  <a:lnTo>
                    <a:pt x="3879" y="5037"/>
                  </a:lnTo>
                  <a:lnTo>
                    <a:pt x="3870" y="5013"/>
                  </a:lnTo>
                  <a:lnTo>
                    <a:pt x="3861" y="4988"/>
                  </a:lnTo>
                  <a:lnTo>
                    <a:pt x="3853" y="4963"/>
                  </a:lnTo>
                  <a:lnTo>
                    <a:pt x="3847" y="4938"/>
                  </a:lnTo>
                  <a:lnTo>
                    <a:pt x="3843" y="4913"/>
                  </a:lnTo>
                  <a:lnTo>
                    <a:pt x="3841" y="4887"/>
                  </a:lnTo>
                  <a:lnTo>
                    <a:pt x="3840" y="4860"/>
                  </a:lnTo>
                  <a:lnTo>
                    <a:pt x="3841" y="4833"/>
                  </a:lnTo>
                  <a:lnTo>
                    <a:pt x="3846" y="4803"/>
                  </a:lnTo>
                  <a:lnTo>
                    <a:pt x="3853" y="4770"/>
                  </a:lnTo>
                  <a:lnTo>
                    <a:pt x="3864" y="4734"/>
                  </a:lnTo>
                  <a:lnTo>
                    <a:pt x="3877" y="4696"/>
                  </a:lnTo>
                  <a:lnTo>
                    <a:pt x="3893" y="4655"/>
                  </a:lnTo>
                  <a:lnTo>
                    <a:pt x="3910" y="4612"/>
                  </a:lnTo>
                  <a:lnTo>
                    <a:pt x="3931" y="4568"/>
                  </a:lnTo>
                  <a:lnTo>
                    <a:pt x="3954" y="4522"/>
                  </a:lnTo>
                  <a:lnTo>
                    <a:pt x="3979" y="4473"/>
                  </a:lnTo>
                  <a:lnTo>
                    <a:pt x="4007" y="4423"/>
                  </a:lnTo>
                  <a:lnTo>
                    <a:pt x="4037" y="4371"/>
                  </a:lnTo>
                  <a:lnTo>
                    <a:pt x="4068" y="4319"/>
                  </a:lnTo>
                  <a:lnTo>
                    <a:pt x="4102" y="4264"/>
                  </a:lnTo>
                  <a:lnTo>
                    <a:pt x="4137" y="4208"/>
                  </a:lnTo>
                  <a:lnTo>
                    <a:pt x="4174" y="4152"/>
                  </a:lnTo>
                  <a:lnTo>
                    <a:pt x="4214" y="4094"/>
                  </a:lnTo>
                  <a:lnTo>
                    <a:pt x="4254" y="4036"/>
                  </a:lnTo>
                  <a:lnTo>
                    <a:pt x="4295" y="3978"/>
                  </a:lnTo>
                  <a:lnTo>
                    <a:pt x="4339" y="3918"/>
                  </a:lnTo>
                  <a:lnTo>
                    <a:pt x="4383" y="3858"/>
                  </a:lnTo>
                  <a:lnTo>
                    <a:pt x="4428" y="3798"/>
                  </a:lnTo>
                  <a:lnTo>
                    <a:pt x="4476" y="3738"/>
                  </a:lnTo>
                  <a:lnTo>
                    <a:pt x="4523" y="3678"/>
                  </a:lnTo>
                  <a:lnTo>
                    <a:pt x="4621" y="3557"/>
                  </a:lnTo>
                  <a:lnTo>
                    <a:pt x="4723" y="3439"/>
                  </a:lnTo>
                  <a:lnTo>
                    <a:pt x="4826" y="3323"/>
                  </a:lnTo>
                  <a:lnTo>
                    <a:pt x="4877" y="3265"/>
                  </a:lnTo>
                  <a:lnTo>
                    <a:pt x="4930" y="3209"/>
                  </a:lnTo>
                  <a:lnTo>
                    <a:pt x="5030" y="3097"/>
                  </a:lnTo>
                  <a:lnTo>
                    <a:pt x="5129" y="2984"/>
                  </a:lnTo>
                  <a:lnTo>
                    <a:pt x="5229" y="2870"/>
                  </a:lnTo>
                  <a:lnTo>
                    <a:pt x="5329" y="2758"/>
                  </a:lnTo>
                  <a:lnTo>
                    <a:pt x="5426" y="2648"/>
                  </a:lnTo>
                  <a:lnTo>
                    <a:pt x="5522" y="2541"/>
                  </a:lnTo>
                  <a:lnTo>
                    <a:pt x="5568" y="2489"/>
                  </a:lnTo>
                  <a:lnTo>
                    <a:pt x="5614" y="2438"/>
                  </a:lnTo>
                  <a:lnTo>
                    <a:pt x="5661" y="2388"/>
                  </a:lnTo>
                  <a:lnTo>
                    <a:pt x="5705" y="2340"/>
                  </a:lnTo>
                  <a:lnTo>
                    <a:pt x="5750" y="2294"/>
                  </a:lnTo>
                  <a:lnTo>
                    <a:pt x="5793" y="2248"/>
                  </a:lnTo>
                  <a:lnTo>
                    <a:pt x="5835" y="2205"/>
                  </a:lnTo>
                  <a:lnTo>
                    <a:pt x="5877" y="2164"/>
                  </a:lnTo>
                  <a:lnTo>
                    <a:pt x="5917" y="2125"/>
                  </a:lnTo>
                  <a:lnTo>
                    <a:pt x="5956" y="2089"/>
                  </a:lnTo>
                  <a:lnTo>
                    <a:pt x="5993" y="2054"/>
                  </a:lnTo>
                  <a:lnTo>
                    <a:pt x="6030" y="2022"/>
                  </a:lnTo>
                  <a:lnTo>
                    <a:pt x="6066" y="1992"/>
                  </a:lnTo>
                  <a:lnTo>
                    <a:pt x="6100" y="1965"/>
                  </a:lnTo>
                  <a:lnTo>
                    <a:pt x="6132" y="1941"/>
                  </a:lnTo>
                  <a:lnTo>
                    <a:pt x="6163" y="1920"/>
                  </a:lnTo>
                  <a:lnTo>
                    <a:pt x="6193" y="1902"/>
                  </a:lnTo>
                  <a:lnTo>
                    <a:pt x="6220" y="1888"/>
                  </a:lnTo>
                  <a:lnTo>
                    <a:pt x="6246" y="1876"/>
                  </a:lnTo>
                  <a:lnTo>
                    <a:pt x="6270" y="1869"/>
                  </a:lnTo>
                  <a:lnTo>
                    <a:pt x="6863" y="1775"/>
                  </a:lnTo>
                  <a:lnTo>
                    <a:pt x="6919" y="1767"/>
                  </a:lnTo>
                  <a:lnTo>
                    <a:pt x="6975" y="1758"/>
                  </a:lnTo>
                  <a:lnTo>
                    <a:pt x="7029" y="1749"/>
                  </a:lnTo>
                  <a:lnTo>
                    <a:pt x="7080" y="1739"/>
                  </a:lnTo>
                  <a:lnTo>
                    <a:pt x="7130" y="1730"/>
                  </a:lnTo>
                  <a:lnTo>
                    <a:pt x="7177" y="1721"/>
                  </a:lnTo>
                  <a:lnTo>
                    <a:pt x="7223" y="1712"/>
                  </a:lnTo>
                  <a:lnTo>
                    <a:pt x="7266" y="1702"/>
                  </a:lnTo>
                  <a:lnTo>
                    <a:pt x="7309" y="1693"/>
                  </a:lnTo>
                  <a:lnTo>
                    <a:pt x="7348" y="1684"/>
                  </a:lnTo>
                  <a:lnTo>
                    <a:pt x="7386" y="1674"/>
                  </a:lnTo>
                  <a:lnTo>
                    <a:pt x="7422" y="1665"/>
                  </a:lnTo>
                  <a:lnTo>
                    <a:pt x="7456" y="1657"/>
                  </a:lnTo>
                  <a:lnTo>
                    <a:pt x="7489" y="1648"/>
                  </a:lnTo>
                  <a:lnTo>
                    <a:pt x="7519" y="1639"/>
                  </a:lnTo>
                  <a:lnTo>
                    <a:pt x="7548" y="1631"/>
                  </a:lnTo>
                  <a:lnTo>
                    <a:pt x="7575" y="1623"/>
                  </a:lnTo>
                  <a:lnTo>
                    <a:pt x="7600" y="1616"/>
                  </a:lnTo>
                  <a:lnTo>
                    <a:pt x="7623" y="1609"/>
                  </a:lnTo>
                  <a:lnTo>
                    <a:pt x="7645" y="1601"/>
                  </a:lnTo>
                  <a:lnTo>
                    <a:pt x="7665" y="1595"/>
                  </a:lnTo>
                  <a:lnTo>
                    <a:pt x="7682" y="1589"/>
                  </a:lnTo>
                  <a:lnTo>
                    <a:pt x="7698" y="1584"/>
                  </a:lnTo>
                  <a:lnTo>
                    <a:pt x="7712" y="1579"/>
                  </a:lnTo>
                  <a:lnTo>
                    <a:pt x="7726" y="1574"/>
                  </a:lnTo>
                  <a:lnTo>
                    <a:pt x="7736" y="1569"/>
                  </a:lnTo>
                  <a:lnTo>
                    <a:pt x="7745" y="1566"/>
                  </a:lnTo>
                  <a:lnTo>
                    <a:pt x="7752" y="1563"/>
                  </a:lnTo>
                  <a:lnTo>
                    <a:pt x="7759" y="1560"/>
                  </a:lnTo>
                  <a:lnTo>
                    <a:pt x="7763" y="1559"/>
                  </a:lnTo>
                  <a:lnTo>
                    <a:pt x="7765" y="1558"/>
                  </a:lnTo>
                  <a:lnTo>
                    <a:pt x="7766" y="1557"/>
                  </a:lnTo>
                  <a:lnTo>
                    <a:pt x="6769" y="1589"/>
                  </a:lnTo>
                  <a:lnTo>
                    <a:pt x="6771" y="1588"/>
                  </a:lnTo>
                  <a:lnTo>
                    <a:pt x="6774" y="1585"/>
                  </a:lnTo>
                  <a:lnTo>
                    <a:pt x="6777" y="1581"/>
                  </a:lnTo>
                  <a:lnTo>
                    <a:pt x="6781" y="1575"/>
                  </a:lnTo>
                  <a:lnTo>
                    <a:pt x="6786" y="1567"/>
                  </a:lnTo>
                  <a:lnTo>
                    <a:pt x="6792" y="1558"/>
                  </a:lnTo>
                  <a:lnTo>
                    <a:pt x="6800" y="1548"/>
                  </a:lnTo>
                  <a:lnTo>
                    <a:pt x="6807" y="1535"/>
                  </a:lnTo>
                  <a:lnTo>
                    <a:pt x="6816" y="1522"/>
                  </a:lnTo>
                  <a:lnTo>
                    <a:pt x="6825" y="1507"/>
                  </a:lnTo>
                  <a:lnTo>
                    <a:pt x="6836" y="1491"/>
                  </a:lnTo>
                  <a:lnTo>
                    <a:pt x="6847" y="1474"/>
                  </a:lnTo>
                  <a:lnTo>
                    <a:pt x="6860" y="1455"/>
                  </a:lnTo>
                  <a:lnTo>
                    <a:pt x="6874" y="1436"/>
                  </a:lnTo>
                  <a:lnTo>
                    <a:pt x="6888" y="1415"/>
                  </a:lnTo>
                  <a:lnTo>
                    <a:pt x="6904" y="1394"/>
                  </a:lnTo>
                  <a:lnTo>
                    <a:pt x="6920" y="1372"/>
                  </a:lnTo>
                  <a:lnTo>
                    <a:pt x="6938" y="1348"/>
                  </a:lnTo>
                  <a:lnTo>
                    <a:pt x="6958" y="1324"/>
                  </a:lnTo>
                  <a:lnTo>
                    <a:pt x="6977" y="1300"/>
                  </a:lnTo>
                  <a:lnTo>
                    <a:pt x="6999" y="1274"/>
                  </a:lnTo>
                  <a:lnTo>
                    <a:pt x="7020" y="1248"/>
                  </a:lnTo>
                  <a:lnTo>
                    <a:pt x="7044" y="1221"/>
                  </a:lnTo>
                  <a:lnTo>
                    <a:pt x="7069" y="1194"/>
                  </a:lnTo>
                  <a:lnTo>
                    <a:pt x="7095" y="1167"/>
                  </a:lnTo>
                  <a:lnTo>
                    <a:pt x="7122" y="1139"/>
                  </a:lnTo>
                  <a:lnTo>
                    <a:pt x="7150" y="1110"/>
                  </a:lnTo>
                  <a:lnTo>
                    <a:pt x="7179" y="1081"/>
                  </a:lnTo>
                  <a:lnTo>
                    <a:pt x="7210" y="1052"/>
                  </a:lnTo>
                  <a:lnTo>
                    <a:pt x="7242" y="1023"/>
                  </a:lnTo>
                  <a:lnTo>
                    <a:pt x="7275" y="995"/>
                  </a:lnTo>
                  <a:lnTo>
                    <a:pt x="7311" y="966"/>
                  </a:lnTo>
                  <a:lnTo>
                    <a:pt x="7347" y="936"/>
                  </a:lnTo>
                  <a:lnTo>
                    <a:pt x="7384" y="907"/>
                  </a:lnTo>
                  <a:lnTo>
                    <a:pt x="7423" y="878"/>
                  </a:lnTo>
                  <a:lnTo>
                    <a:pt x="7463" y="849"/>
                  </a:lnTo>
                  <a:lnTo>
                    <a:pt x="7505" y="821"/>
                  </a:lnTo>
                  <a:lnTo>
                    <a:pt x="7548" y="792"/>
                  </a:lnTo>
                  <a:lnTo>
                    <a:pt x="7592" y="764"/>
                  </a:lnTo>
                  <a:lnTo>
                    <a:pt x="7639" y="736"/>
                  </a:lnTo>
                  <a:lnTo>
                    <a:pt x="7686" y="709"/>
                  </a:lnTo>
                  <a:lnTo>
                    <a:pt x="7735" y="683"/>
                  </a:lnTo>
                  <a:lnTo>
                    <a:pt x="7785" y="657"/>
                  </a:lnTo>
                  <a:lnTo>
                    <a:pt x="7838" y="631"/>
                  </a:lnTo>
                  <a:lnTo>
                    <a:pt x="7892" y="606"/>
                  </a:lnTo>
                  <a:lnTo>
                    <a:pt x="7946" y="583"/>
                  </a:lnTo>
                  <a:lnTo>
                    <a:pt x="8003" y="559"/>
                  </a:lnTo>
                  <a:lnTo>
                    <a:pt x="8062" y="536"/>
                  </a:lnTo>
                  <a:lnTo>
                    <a:pt x="8122" y="516"/>
                  </a:lnTo>
                  <a:lnTo>
                    <a:pt x="8184" y="495"/>
                  </a:lnTo>
                  <a:lnTo>
                    <a:pt x="8247" y="476"/>
                  </a:lnTo>
                  <a:lnTo>
                    <a:pt x="8312" y="457"/>
                  </a:lnTo>
                  <a:lnTo>
                    <a:pt x="8379" y="439"/>
                  </a:lnTo>
                  <a:lnTo>
                    <a:pt x="8447" y="424"/>
                  </a:lnTo>
                  <a:lnTo>
                    <a:pt x="8517" y="409"/>
                  </a:lnTo>
                  <a:lnTo>
                    <a:pt x="8590" y="395"/>
                  </a:lnTo>
                  <a:lnTo>
                    <a:pt x="8663" y="384"/>
                  </a:lnTo>
                  <a:lnTo>
                    <a:pt x="8739" y="373"/>
                  </a:lnTo>
                  <a:lnTo>
                    <a:pt x="8817" y="363"/>
                  </a:lnTo>
                  <a:lnTo>
                    <a:pt x="8895" y="356"/>
                  </a:lnTo>
                  <a:lnTo>
                    <a:pt x="8977" y="350"/>
                  </a:lnTo>
                  <a:lnTo>
                    <a:pt x="9059" y="346"/>
                  </a:lnTo>
                  <a:lnTo>
                    <a:pt x="9144" y="343"/>
                  </a:lnTo>
                  <a:lnTo>
                    <a:pt x="9231" y="342"/>
                  </a:lnTo>
                  <a:lnTo>
                    <a:pt x="9231" y="342"/>
                  </a:lnTo>
                  <a:close/>
                  <a:moveTo>
                    <a:pt x="13524" y="1924"/>
                  </a:moveTo>
                  <a:lnTo>
                    <a:pt x="13549" y="1924"/>
                  </a:lnTo>
                  <a:lnTo>
                    <a:pt x="13574" y="1921"/>
                  </a:lnTo>
                  <a:lnTo>
                    <a:pt x="13600" y="1918"/>
                  </a:lnTo>
                  <a:lnTo>
                    <a:pt x="13628" y="1912"/>
                  </a:lnTo>
                  <a:lnTo>
                    <a:pt x="13657" y="1905"/>
                  </a:lnTo>
                  <a:lnTo>
                    <a:pt x="13688" y="1896"/>
                  </a:lnTo>
                  <a:lnTo>
                    <a:pt x="13719" y="1886"/>
                  </a:lnTo>
                  <a:lnTo>
                    <a:pt x="13750" y="1873"/>
                  </a:lnTo>
                  <a:lnTo>
                    <a:pt x="13783" y="1860"/>
                  </a:lnTo>
                  <a:lnTo>
                    <a:pt x="13816" y="1843"/>
                  </a:lnTo>
                  <a:lnTo>
                    <a:pt x="13849" y="1826"/>
                  </a:lnTo>
                  <a:lnTo>
                    <a:pt x="13883" y="1806"/>
                  </a:lnTo>
                  <a:lnTo>
                    <a:pt x="13918" y="1785"/>
                  </a:lnTo>
                  <a:lnTo>
                    <a:pt x="13954" y="1760"/>
                  </a:lnTo>
                  <a:lnTo>
                    <a:pt x="13988" y="1734"/>
                  </a:lnTo>
                  <a:lnTo>
                    <a:pt x="14023" y="1706"/>
                  </a:lnTo>
                  <a:lnTo>
                    <a:pt x="14046" y="1688"/>
                  </a:lnTo>
                  <a:lnTo>
                    <a:pt x="14069" y="1669"/>
                  </a:lnTo>
                  <a:lnTo>
                    <a:pt x="14114" y="1628"/>
                  </a:lnTo>
                  <a:lnTo>
                    <a:pt x="14156" y="1585"/>
                  </a:lnTo>
                  <a:lnTo>
                    <a:pt x="14195" y="1539"/>
                  </a:lnTo>
                  <a:lnTo>
                    <a:pt x="14233" y="1490"/>
                  </a:lnTo>
                  <a:lnTo>
                    <a:pt x="14267" y="1442"/>
                  </a:lnTo>
                  <a:lnTo>
                    <a:pt x="14299" y="1392"/>
                  </a:lnTo>
                  <a:lnTo>
                    <a:pt x="14327" y="1344"/>
                  </a:lnTo>
                  <a:lnTo>
                    <a:pt x="14351" y="1296"/>
                  </a:lnTo>
                  <a:lnTo>
                    <a:pt x="14362" y="1273"/>
                  </a:lnTo>
                  <a:lnTo>
                    <a:pt x="14372" y="1250"/>
                  </a:lnTo>
                  <a:lnTo>
                    <a:pt x="14381" y="1228"/>
                  </a:lnTo>
                  <a:lnTo>
                    <a:pt x="14388" y="1207"/>
                  </a:lnTo>
                  <a:lnTo>
                    <a:pt x="14394" y="1187"/>
                  </a:lnTo>
                  <a:lnTo>
                    <a:pt x="14401" y="1167"/>
                  </a:lnTo>
                  <a:lnTo>
                    <a:pt x="14405" y="1148"/>
                  </a:lnTo>
                  <a:lnTo>
                    <a:pt x="14407" y="1131"/>
                  </a:lnTo>
                  <a:lnTo>
                    <a:pt x="14409" y="1114"/>
                  </a:lnTo>
                  <a:lnTo>
                    <a:pt x="14409" y="1099"/>
                  </a:lnTo>
                  <a:lnTo>
                    <a:pt x="14409" y="1085"/>
                  </a:lnTo>
                  <a:lnTo>
                    <a:pt x="14406" y="1072"/>
                  </a:lnTo>
                  <a:lnTo>
                    <a:pt x="14403" y="1062"/>
                  </a:lnTo>
                  <a:lnTo>
                    <a:pt x="14397" y="1051"/>
                  </a:lnTo>
                  <a:lnTo>
                    <a:pt x="14397" y="1050"/>
                  </a:lnTo>
                  <a:lnTo>
                    <a:pt x="14396" y="1047"/>
                  </a:lnTo>
                  <a:lnTo>
                    <a:pt x="14395" y="1042"/>
                  </a:lnTo>
                  <a:lnTo>
                    <a:pt x="14393" y="1036"/>
                  </a:lnTo>
                  <a:lnTo>
                    <a:pt x="14389" y="1031"/>
                  </a:lnTo>
                  <a:lnTo>
                    <a:pt x="14384" y="1026"/>
                  </a:lnTo>
                  <a:lnTo>
                    <a:pt x="14377" y="1022"/>
                  </a:lnTo>
                  <a:lnTo>
                    <a:pt x="14366" y="1020"/>
                  </a:lnTo>
                  <a:lnTo>
                    <a:pt x="14357" y="1021"/>
                  </a:lnTo>
                  <a:lnTo>
                    <a:pt x="14348" y="1025"/>
                  </a:lnTo>
                  <a:lnTo>
                    <a:pt x="14339" y="1030"/>
                  </a:lnTo>
                  <a:lnTo>
                    <a:pt x="14328" y="1036"/>
                  </a:lnTo>
                  <a:lnTo>
                    <a:pt x="14318" y="1044"/>
                  </a:lnTo>
                  <a:lnTo>
                    <a:pt x="14307" y="1053"/>
                  </a:lnTo>
                  <a:lnTo>
                    <a:pt x="14296" y="1065"/>
                  </a:lnTo>
                  <a:lnTo>
                    <a:pt x="14285" y="1077"/>
                  </a:lnTo>
                  <a:lnTo>
                    <a:pt x="14273" y="1090"/>
                  </a:lnTo>
                  <a:lnTo>
                    <a:pt x="14260" y="1105"/>
                  </a:lnTo>
                  <a:lnTo>
                    <a:pt x="14248" y="1120"/>
                  </a:lnTo>
                  <a:lnTo>
                    <a:pt x="14234" y="1137"/>
                  </a:lnTo>
                  <a:lnTo>
                    <a:pt x="14208" y="1173"/>
                  </a:lnTo>
                  <a:lnTo>
                    <a:pt x="14180" y="1211"/>
                  </a:lnTo>
                  <a:lnTo>
                    <a:pt x="14150" y="1252"/>
                  </a:lnTo>
                  <a:lnTo>
                    <a:pt x="14118" y="1293"/>
                  </a:lnTo>
                  <a:lnTo>
                    <a:pt x="14085" y="1335"/>
                  </a:lnTo>
                  <a:lnTo>
                    <a:pt x="14051" y="1376"/>
                  </a:lnTo>
                  <a:lnTo>
                    <a:pt x="14014" y="1415"/>
                  </a:lnTo>
                  <a:lnTo>
                    <a:pt x="13977" y="1453"/>
                  </a:lnTo>
                  <a:lnTo>
                    <a:pt x="13939" y="1488"/>
                  </a:lnTo>
                  <a:lnTo>
                    <a:pt x="13918" y="1505"/>
                  </a:lnTo>
                  <a:lnTo>
                    <a:pt x="13899" y="1519"/>
                  </a:lnTo>
                  <a:lnTo>
                    <a:pt x="13863" y="1548"/>
                  </a:lnTo>
                  <a:lnTo>
                    <a:pt x="13823" y="1575"/>
                  </a:lnTo>
                  <a:lnTo>
                    <a:pt x="13783" y="1600"/>
                  </a:lnTo>
                  <a:lnTo>
                    <a:pt x="13742" y="1624"/>
                  </a:lnTo>
                  <a:lnTo>
                    <a:pt x="13701" y="1646"/>
                  </a:lnTo>
                  <a:lnTo>
                    <a:pt x="13658" y="1666"/>
                  </a:lnTo>
                  <a:lnTo>
                    <a:pt x="13618" y="1685"/>
                  </a:lnTo>
                  <a:lnTo>
                    <a:pt x="13579" y="1702"/>
                  </a:lnTo>
                  <a:lnTo>
                    <a:pt x="13543" y="1718"/>
                  </a:lnTo>
                  <a:lnTo>
                    <a:pt x="13509" y="1731"/>
                  </a:lnTo>
                  <a:lnTo>
                    <a:pt x="13478" y="1742"/>
                  </a:lnTo>
                  <a:lnTo>
                    <a:pt x="13464" y="1747"/>
                  </a:lnTo>
                  <a:lnTo>
                    <a:pt x="13452" y="1752"/>
                  </a:lnTo>
                  <a:lnTo>
                    <a:pt x="13440" y="1756"/>
                  </a:lnTo>
                  <a:lnTo>
                    <a:pt x="13430" y="1759"/>
                  </a:lnTo>
                  <a:lnTo>
                    <a:pt x="13421" y="1762"/>
                  </a:lnTo>
                  <a:lnTo>
                    <a:pt x="13414" y="1764"/>
                  </a:lnTo>
                  <a:lnTo>
                    <a:pt x="13407" y="1766"/>
                  </a:lnTo>
                  <a:lnTo>
                    <a:pt x="13403" y="1767"/>
                  </a:lnTo>
                  <a:lnTo>
                    <a:pt x="13401" y="1768"/>
                  </a:lnTo>
                  <a:lnTo>
                    <a:pt x="13400" y="1768"/>
                  </a:lnTo>
                  <a:lnTo>
                    <a:pt x="13399" y="1768"/>
                  </a:lnTo>
                  <a:lnTo>
                    <a:pt x="13397" y="1768"/>
                  </a:lnTo>
                  <a:lnTo>
                    <a:pt x="13391" y="1770"/>
                  </a:lnTo>
                  <a:lnTo>
                    <a:pt x="13382" y="1773"/>
                  </a:lnTo>
                  <a:lnTo>
                    <a:pt x="13378" y="1776"/>
                  </a:lnTo>
                  <a:lnTo>
                    <a:pt x="13372" y="1781"/>
                  </a:lnTo>
                  <a:lnTo>
                    <a:pt x="13368" y="1785"/>
                  </a:lnTo>
                  <a:lnTo>
                    <a:pt x="13365" y="1791"/>
                  </a:lnTo>
                  <a:lnTo>
                    <a:pt x="13362" y="1799"/>
                  </a:lnTo>
                  <a:lnTo>
                    <a:pt x="13361" y="1808"/>
                  </a:lnTo>
                  <a:lnTo>
                    <a:pt x="13360" y="1819"/>
                  </a:lnTo>
                  <a:lnTo>
                    <a:pt x="13361" y="1831"/>
                  </a:lnTo>
                  <a:lnTo>
                    <a:pt x="13364" y="1845"/>
                  </a:lnTo>
                  <a:lnTo>
                    <a:pt x="13369" y="1862"/>
                  </a:lnTo>
                  <a:lnTo>
                    <a:pt x="13381" y="1873"/>
                  </a:lnTo>
                  <a:lnTo>
                    <a:pt x="13393" y="1885"/>
                  </a:lnTo>
                  <a:lnTo>
                    <a:pt x="13407" y="1895"/>
                  </a:lnTo>
                  <a:lnTo>
                    <a:pt x="13423" y="1905"/>
                  </a:lnTo>
                  <a:lnTo>
                    <a:pt x="13443" y="1912"/>
                  </a:lnTo>
                  <a:lnTo>
                    <a:pt x="13453" y="1916"/>
                  </a:lnTo>
                  <a:lnTo>
                    <a:pt x="13465" y="1919"/>
                  </a:lnTo>
                  <a:lnTo>
                    <a:pt x="13478" y="1921"/>
                  </a:lnTo>
                  <a:lnTo>
                    <a:pt x="13492" y="1923"/>
                  </a:lnTo>
                  <a:lnTo>
                    <a:pt x="13508" y="1924"/>
                  </a:lnTo>
                  <a:lnTo>
                    <a:pt x="13524" y="1924"/>
                  </a:lnTo>
                  <a:lnTo>
                    <a:pt x="13524" y="1924"/>
                  </a:lnTo>
                  <a:close/>
                  <a:moveTo>
                    <a:pt x="8857" y="3146"/>
                  </a:moveTo>
                  <a:lnTo>
                    <a:pt x="8858" y="3145"/>
                  </a:lnTo>
                  <a:lnTo>
                    <a:pt x="8860" y="3140"/>
                  </a:lnTo>
                  <a:lnTo>
                    <a:pt x="8864" y="3133"/>
                  </a:lnTo>
                  <a:lnTo>
                    <a:pt x="8869" y="3123"/>
                  </a:lnTo>
                  <a:lnTo>
                    <a:pt x="8877" y="3109"/>
                  </a:lnTo>
                  <a:lnTo>
                    <a:pt x="8885" y="3094"/>
                  </a:lnTo>
                  <a:lnTo>
                    <a:pt x="8893" y="3076"/>
                  </a:lnTo>
                  <a:lnTo>
                    <a:pt x="8904" y="3057"/>
                  </a:lnTo>
                  <a:lnTo>
                    <a:pt x="8916" y="3035"/>
                  </a:lnTo>
                  <a:lnTo>
                    <a:pt x="8928" y="3011"/>
                  </a:lnTo>
                  <a:lnTo>
                    <a:pt x="8942" y="2987"/>
                  </a:lnTo>
                  <a:lnTo>
                    <a:pt x="8956" y="2961"/>
                  </a:lnTo>
                  <a:lnTo>
                    <a:pt x="8971" y="2934"/>
                  </a:lnTo>
                  <a:lnTo>
                    <a:pt x="8987" y="2905"/>
                  </a:lnTo>
                  <a:lnTo>
                    <a:pt x="9021" y="2847"/>
                  </a:lnTo>
                  <a:lnTo>
                    <a:pt x="9057" y="2786"/>
                  </a:lnTo>
                  <a:lnTo>
                    <a:pt x="9094" y="2725"/>
                  </a:lnTo>
                  <a:lnTo>
                    <a:pt x="9134" y="2665"/>
                  </a:lnTo>
                  <a:lnTo>
                    <a:pt x="9173" y="2608"/>
                  </a:lnTo>
                  <a:lnTo>
                    <a:pt x="9192" y="2580"/>
                  </a:lnTo>
                  <a:lnTo>
                    <a:pt x="9212" y="2554"/>
                  </a:lnTo>
                  <a:lnTo>
                    <a:pt x="9232" y="2529"/>
                  </a:lnTo>
                  <a:lnTo>
                    <a:pt x="9250" y="2506"/>
                  </a:lnTo>
                  <a:lnTo>
                    <a:pt x="9270" y="2483"/>
                  </a:lnTo>
                  <a:lnTo>
                    <a:pt x="9288" y="2464"/>
                  </a:lnTo>
                  <a:lnTo>
                    <a:pt x="9307" y="2446"/>
                  </a:lnTo>
                  <a:lnTo>
                    <a:pt x="9325" y="2430"/>
                  </a:lnTo>
                  <a:lnTo>
                    <a:pt x="9345" y="2413"/>
                  </a:lnTo>
                  <a:lnTo>
                    <a:pt x="9367" y="2397"/>
                  </a:lnTo>
                  <a:lnTo>
                    <a:pt x="9412" y="2368"/>
                  </a:lnTo>
                  <a:lnTo>
                    <a:pt x="9460" y="2343"/>
                  </a:lnTo>
                  <a:lnTo>
                    <a:pt x="9509" y="2321"/>
                  </a:lnTo>
                  <a:lnTo>
                    <a:pt x="9559" y="2304"/>
                  </a:lnTo>
                  <a:lnTo>
                    <a:pt x="9607" y="2288"/>
                  </a:lnTo>
                  <a:lnTo>
                    <a:pt x="9656" y="2276"/>
                  </a:lnTo>
                  <a:lnTo>
                    <a:pt x="9702" y="2266"/>
                  </a:lnTo>
                  <a:lnTo>
                    <a:pt x="9747" y="2259"/>
                  </a:lnTo>
                  <a:lnTo>
                    <a:pt x="9787" y="2252"/>
                  </a:lnTo>
                  <a:lnTo>
                    <a:pt x="9806" y="2250"/>
                  </a:lnTo>
                  <a:lnTo>
                    <a:pt x="9823" y="2248"/>
                  </a:lnTo>
                  <a:lnTo>
                    <a:pt x="9840" y="2247"/>
                  </a:lnTo>
                  <a:lnTo>
                    <a:pt x="9855" y="2246"/>
                  </a:lnTo>
                  <a:lnTo>
                    <a:pt x="9869" y="2245"/>
                  </a:lnTo>
                  <a:lnTo>
                    <a:pt x="9881" y="2244"/>
                  </a:lnTo>
                  <a:lnTo>
                    <a:pt x="9891" y="2243"/>
                  </a:lnTo>
                  <a:lnTo>
                    <a:pt x="9901" y="2243"/>
                  </a:lnTo>
                  <a:lnTo>
                    <a:pt x="9908" y="2243"/>
                  </a:lnTo>
                  <a:lnTo>
                    <a:pt x="9913" y="2243"/>
                  </a:lnTo>
                  <a:lnTo>
                    <a:pt x="9916" y="2243"/>
                  </a:lnTo>
                  <a:lnTo>
                    <a:pt x="9917" y="2243"/>
                  </a:lnTo>
                  <a:lnTo>
                    <a:pt x="9916" y="2243"/>
                  </a:lnTo>
                  <a:lnTo>
                    <a:pt x="9913" y="2242"/>
                  </a:lnTo>
                  <a:lnTo>
                    <a:pt x="9909" y="2241"/>
                  </a:lnTo>
                  <a:lnTo>
                    <a:pt x="9903" y="2239"/>
                  </a:lnTo>
                  <a:lnTo>
                    <a:pt x="9895" y="2237"/>
                  </a:lnTo>
                  <a:lnTo>
                    <a:pt x="9886" y="2234"/>
                  </a:lnTo>
                  <a:lnTo>
                    <a:pt x="9876" y="2232"/>
                  </a:lnTo>
                  <a:lnTo>
                    <a:pt x="9865" y="2229"/>
                  </a:lnTo>
                  <a:lnTo>
                    <a:pt x="9851" y="2225"/>
                  </a:lnTo>
                  <a:lnTo>
                    <a:pt x="9837" y="2221"/>
                  </a:lnTo>
                  <a:lnTo>
                    <a:pt x="9821" y="2217"/>
                  </a:lnTo>
                  <a:lnTo>
                    <a:pt x="9805" y="2213"/>
                  </a:lnTo>
                  <a:lnTo>
                    <a:pt x="9770" y="2205"/>
                  </a:lnTo>
                  <a:lnTo>
                    <a:pt x="9730" y="2197"/>
                  </a:lnTo>
                  <a:lnTo>
                    <a:pt x="9688" y="2187"/>
                  </a:lnTo>
                  <a:lnTo>
                    <a:pt x="9643" y="2179"/>
                  </a:lnTo>
                  <a:lnTo>
                    <a:pt x="9596" y="2171"/>
                  </a:lnTo>
                  <a:lnTo>
                    <a:pt x="9549" y="2164"/>
                  </a:lnTo>
                  <a:lnTo>
                    <a:pt x="9500" y="2159"/>
                  </a:lnTo>
                  <a:lnTo>
                    <a:pt x="9452" y="2153"/>
                  </a:lnTo>
                  <a:lnTo>
                    <a:pt x="9403" y="2150"/>
                  </a:lnTo>
                  <a:lnTo>
                    <a:pt x="9356" y="2149"/>
                  </a:lnTo>
                  <a:lnTo>
                    <a:pt x="9320" y="2149"/>
                  </a:lnTo>
                  <a:lnTo>
                    <a:pt x="9286" y="2150"/>
                  </a:lnTo>
                  <a:lnTo>
                    <a:pt x="9252" y="2152"/>
                  </a:lnTo>
                  <a:lnTo>
                    <a:pt x="9219" y="2158"/>
                  </a:lnTo>
                  <a:lnTo>
                    <a:pt x="9188" y="2165"/>
                  </a:lnTo>
                  <a:lnTo>
                    <a:pt x="9173" y="2170"/>
                  </a:lnTo>
                  <a:lnTo>
                    <a:pt x="9158" y="2176"/>
                  </a:lnTo>
                  <a:lnTo>
                    <a:pt x="9145" y="2183"/>
                  </a:lnTo>
                  <a:lnTo>
                    <a:pt x="9132" y="2192"/>
                  </a:lnTo>
                  <a:lnTo>
                    <a:pt x="9118" y="2201"/>
                  </a:lnTo>
                  <a:lnTo>
                    <a:pt x="9107" y="2212"/>
                  </a:lnTo>
                  <a:lnTo>
                    <a:pt x="9100" y="2217"/>
                  </a:lnTo>
                  <a:lnTo>
                    <a:pt x="9092" y="2222"/>
                  </a:lnTo>
                  <a:lnTo>
                    <a:pt x="9078" y="2238"/>
                  </a:lnTo>
                  <a:lnTo>
                    <a:pt x="9064" y="2256"/>
                  </a:lnTo>
                  <a:lnTo>
                    <a:pt x="9051" y="2279"/>
                  </a:lnTo>
                  <a:lnTo>
                    <a:pt x="9039" y="2305"/>
                  </a:lnTo>
                  <a:lnTo>
                    <a:pt x="9025" y="2333"/>
                  </a:lnTo>
                  <a:lnTo>
                    <a:pt x="9014" y="2364"/>
                  </a:lnTo>
                  <a:lnTo>
                    <a:pt x="9002" y="2398"/>
                  </a:lnTo>
                  <a:lnTo>
                    <a:pt x="8990" y="2433"/>
                  </a:lnTo>
                  <a:lnTo>
                    <a:pt x="8980" y="2470"/>
                  </a:lnTo>
                  <a:lnTo>
                    <a:pt x="8970" y="2509"/>
                  </a:lnTo>
                  <a:lnTo>
                    <a:pt x="8959" y="2549"/>
                  </a:lnTo>
                  <a:lnTo>
                    <a:pt x="8941" y="2630"/>
                  </a:lnTo>
                  <a:lnTo>
                    <a:pt x="8923" y="2714"/>
                  </a:lnTo>
                  <a:lnTo>
                    <a:pt x="8909" y="2796"/>
                  </a:lnTo>
                  <a:lnTo>
                    <a:pt x="8901" y="2836"/>
                  </a:lnTo>
                  <a:lnTo>
                    <a:pt x="8895" y="2876"/>
                  </a:lnTo>
                  <a:lnTo>
                    <a:pt x="8889" y="2913"/>
                  </a:lnTo>
                  <a:lnTo>
                    <a:pt x="8884" y="2949"/>
                  </a:lnTo>
                  <a:lnTo>
                    <a:pt x="8879" y="2983"/>
                  </a:lnTo>
                  <a:lnTo>
                    <a:pt x="8875" y="3014"/>
                  </a:lnTo>
                  <a:lnTo>
                    <a:pt x="8870" y="3042"/>
                  </a:lnTo>
                  <a:lnTo>
                    <a:pt x="8867" y="3068"/>
                  </a:lnTo>
                  <a:lnTo>
                    <a:pt x="8864" y="3091"/>
                  </a:lnTo>
                  <a:lnTo>
                    <a:pt x="8861" y="3110"/>
                  </a:lnTo>
                  <a:lnTo>
                    <a:pt x="8860" y="3126"/>
                  </a:lnTo>
                  <a:lnTo>
                    <a:pt x="8859" y="3132"/>
                  </a:lnTo>
                  <a:lnTo>
                    <a:pt x="8858" y="3137"/>
                  </a:lnTo>
                  <a:lnTo>
                    <a:pt x="8858" y="3141"/>
                  </a:lnTo>
                  <a:lnTo>
                    <a:pt x="8858" y="3144"/>
                  </a:lnTo>
                  <a:lnTo>
                    <a:pt x="8857" y="3146"/>
                  </a:lnTo>
                  <a:lnTo>
                    <a:pt x="8857" y="3146"/>
                  </a:lnTo>
                  <a:lnTo>
                    <a:pt x="8857" y="3146"/>
                  </a:lnTo>
                  <a:close/>
                  <a:moveTo>
                    <a:pt x="9387" y="3926"/>
                  </a:moveTo>
                  <a:lnTo>
                    <a:pt x="9389" y="3924"/>
                  </a:lnTo>
                  <a:lnTo>
                    <a:pt x="9393" y="3920"/>
                  </a:lnTo>
                  <a:lnTo>
                    <a:pt x="9399" y="3914"/>
                  </a:lnTo>
                  <a:lnTo>
                    <a:pt x="9407" y="3906"/>
                  </a:lnTo>
                  <a:lnTo>
                    <a:pt x="9418" y="3895"/>
                  </a:lnTo>
                  <a:lnTo>
                    <a:pt x="9430" y="3883"/>
                  </a:lnTo>
                  <a:lnTo>
                    <a:pt x="9443" y="3870"/>
                  </a:lnTo>
                  <a:lnTo>
                    <a:pt x="9457" y="3856"/>
                  </a:lnTo>
                  <a:lnTo>
                    <a:pt x="9488" y="3825"/>
                  </a:lnTo>
                  <a:lnTo>
                    <a:pt x="9519" y="3794"/>
                  </a:lnTo>
                  <a:lnTo>
                    <a:pt x="9548" y="3764"/>
                  </a:lnTo>
                  <a:lnTo>
                    <a:pt x="9561" y="3751"/>
                  </a:lnTo>
                  <a:lnTo>
                    <a:pt x="9573" y="3739"/>
                  </a:lnTo>
                  <a:lnTo>
                    <a:pt x="9597" y="3717"/>
                  </a:lnTo>
                  <a:lnTo>
                    <a:pt x="9620" y="3699"/>
                  </a:lnTo>
                  <a:lnTo>
                    <a:pt x="9641" y="3682"/>
                  </a:lnTo>
                  <a:lnTo>
                    <a:pt x="9659" y="3669"/>
                  </a:lnTo>
                  <a:lnTo>
                    <a:pt x="9676" y="3658"/>
                  </a:lnTo>
                  <a:lnTo>
                    <a:pt x="9682" y="3654"/>
                  </a:lnTo>
                  <a:lnTo>
                    <a:pt x="9688" y="3651"/>
                  </a:lnTo>
                  <a:lnTo>
                    <a:pt x="9692" y="3648"/>
                  </a:lnTo>
                  <a:lnTo>
                    <a:pt x="9696" y="3647"/>
                  </a:lnTo>
                  <a:lnTo>
                    <a:pt x="9698" y="3646"/>
                  </a:lnTo>
                  <a:lnTo>
                    <a:pt x="9698" y="3645"/>
                  </a:lnTo>
                  <a:lnTo>
                    <a:pt x="9699" y="3652"/>
                  </a:lnTo>
                  <a:lnTo>
                    <a:pt x="9700" y="3659"/>
                  </a:lnTo>
                  <a:lnTo>
                    <a:pt x="9702" y="3669"/>
                  </a:lnTo>
                  <a:lnTo>
                    <a:pt x="9705" y="3679"/>
                  </a:lnTo>
                  <a:lnTo>
                    <a:pt x="9714" y="3702"/>
                  </a:lnTo>
                  <a:lnTo>
                    <a:pt x="9719" y="3714"/>
                  </a:lnTo>
                  <a:lnTo>
                    <a:pt x="9726" y="3727"/>
                  </a:lnTo>
                  <a:lnTo>
                    <a:pt x="9733" y="3741"/>
                  </a:lnTo>
                  <a:lnTo>
                    <a:pt x="9743" y="3754"/>
                  </a:lnTo>
                  <a:lnTo>
                    <a:pt x="9753" y="3768"/>
                  </a:lnTo>
                  <a:lnTo>
                    <a:pt x="9764" y="3781"/>
                  </a:lnTo>
                  <a:lnTo>
                    <a:pt x="9777" y="3794"/>
                  </a:lnTo>
                  <a:lnTo>
                    <a:pt x="9791" y="3808"/>
                  </a:lnTo>
                  <a:lnTo>
                    <a:pt x="9807" y="3820"/>
                  </a:lnTo>
                  <a:lnTo>
                    <a:pt x="9823" y="3832"/>
                  </a:lnTo>
                  <a:lnTo>
                    <a:pt x="9846" y="3854"/>
                  </a:lnTo>
                  <a:lnTo>
                    <a:pt x="9869" y="3875"/>
                  </a:lnTo>
                  <a:lnTo>
                    <a:pt x="9889" y="3893"/>
                  </a:lnTo>
                  <a:lnTo>
                    <a:pt x="9910" y="3910"/>
                  </a:lnTo>
                  <a:lnTo>
                    <a:pt x="9929" y="3924"/>
                  </a:lnTo>
                  <a:lnTo>
                    <a:pt x="9947" y="3936"/>
                  </a:lnTo>
                  <a:lnTo>
                    <a:pt x="9964" y="3948"/>
                  </a:lnTo>
                  <a:lnTo>
                    <a:pt x="9979" y="3957"/>
                  </a:lnTo>
                  <a:lnTo>
                    <a:pt x="9993" y="3965"/>
                  </a:lnTo>
                  <a:lnTo>
                    <a:pt x="10005" y="3971"/>
                  </a:lnTo>
                  <a:lnTo>
                    <a:pt x="10016" y="3978"/>
                  </a:lnTo>
                  <a:lnTo>
                    <a:pt x="10025" y="3982"/>
                  </a:lnTo>
                  <a:lnTo>
                    <a:pt x="10032" y="3985"/>
                  </a:lnTo>
                  <a:lnTo>
                    <a:pt x="10037" y="3987"/>
                  </a:lnTo>
                  <a:lnTo>
                    <a:pt x="10040" y="3988"/>
                  </a:lnTo>
                  <a:lnTo>
                    <a:pt x="10041" y="3988"/>
                  </a:lnTo>
                  <a:lnTo>
                    <a:pt x="10040" y="3989"/>
                  </a:lnTo>
                  <a:lnTo>
                    <a:pt x="10037" y="3992"/>
                  </a:lnTo>
                  <a:lnTo>
                    <a:pt x="10033" y="3997"/>
                  </a:lnTo>
                  <a:lnTo>
                    <a:pt x="10027" y="4004"/>
                  </a:lnTo>
                  <a:lnTo>
                    <a:pt x="10018" y="4013"/>
                  </a:lnTo>
                  <a:lnTo>
                    <a:pt x="10010" y="4023"/>
                  </a:lnTo>
                  <a:lnTo>
                    <a:pt x="10001" y="4034"/>
                  </a:lnTo>
                  <a:lnTo>
                    <a:pt x="9990" y="4047"/>
                  </a:lnTo>
                  <a:lnTo>
                    <a:pt x="9980" y="4060"/>
                  </a:lnTo>
                  <a:lnTo>
                    <a:pt x="9970" y="4074"/>
                  </a:lnTo>
                  <a:lnTo>
                    <a:pt x="9949" y="4106"/>
                  </a:lnTo>
                  <a:lnTo>
                    <a:pt x="9932" y="4140"/>
                  </a:lnTo>
                  <a:lnTo>
                    <a:pt x="9923" y="4158"/>
                  </a:lnTo>
                  <a:lnTo>
                    <a:pt x="9917" y="4175"/>
                  </a:lnTo>
                  <a:lnTo>
                    <a:pt x="9895" y="4211"/>
                  </a:lnTo>
                  <a:lnTo>
                    <a:pt x="9876" y="4249"/>
                  </a:lnTo>
                  <a:lnTo>
                    <a:pt x="9859" y="4286"/>
                  </a:lnTo>
                  <a:lnTo>
                    <a:pt x="9853" y="4303"/>
                  </a:lnTo>
                  <a:lnTo>
                    <a:pt x="9847" y="4320"/>
                  </a:lnTo>
                  <a:lnTo>
                    <a:pt x="9841" y="4335"/>
                  </a:lnTo>
                  <a:lnTo>
                    <a:pt x="9837" y="4350"/>
                  </a:lnTo>
                  <a:lnTo>
                    <a:pt x="9833" y="4362"/>
                  </a:lnTo>
                  <a:lnTo>
                    <a:pt x="9828" y="4372"/>
                  </a:lnTo>
                  <a:lnTo>
                    <a:pt x="9826" y="4381"/>
                  </a:lnTo>
                  <a:lnTo>
                    <a:pt x="9824" y="4388"/>
                  </a:lnTo>
                  <a:lnTo>
                    <a:pt x="9823" y="4392"/>
                  </a:lnTo>
                  <a:lnTo>
                    <a:pt x="9823" y="4394"/>
                  </a:lnTo>
                  <a:lnTo>
                    <a:pt x="9823" y="4393"/>
                  </a:lnTo>
                  <a:lnTo>
                    <a:pt x="9826" y="4391"/>
                  </a:lnTo>
                  <a:lnTo>
                    <a:pt x="9829" y="4387"/>
                  </a:lnTo>
                  <a:lnTo>
                    <a:pt x="9835" y="4381"/>
                  </a:lnTo>
                  <a:lnTo>
                    <a:pt x="9841" y="4374"/>
                  </a:lnTo>
                  <a:lnTo>
                    <a:pt x="9848" y="4366"/>
                  </a:lnTo>
                  <a:lnTo>
                    <a:pt x="9856" y="4357"/>
                  </a:lnTo>
                  <a:lnTo>
                    <a:pt x="9867" y="4346"/>
                  </a:lnTo>
                  <a:lnTo>
                    <a:pt x="9877" y="4335"/>
                  </a:lnTo>
                  <a:lnTo>
                    <a:pt x="9889" y="4322"/>
                  </a:lnTo>
                  <a:lnTo>
                    <a:pt x="9903" y="4308"/>
                  </a:lnTo>
                  <a:lnTo>
                    <a:pt x="9917" y="4293"/>
                  </a:lnTo>
                  <a:lnTo>
                    <a:pt x="9948" y="4261"/>
                  </a:lnTo>
                  <a:lnTo>
                    <a:pt x="9983" y="4226"/>
                  </a:lnTo>
                  <a:lnTo>
                    <a:pt x="10021" y="4188"/>
                  </a:lnTo>
                  <a:lnTo>
                    <a:pt x="10062" y="4149"/>
                  </a:lnTo>
                  <a:lnTo>
                    <a:pt x="10106" y="4107"/>
                  </a:lnTo>
                  <a:lnTo>
                    <a:pt x="10153" y="4064"/>
                  </a:lnTo>
                  <a:lnTo>
                    <a:pt x="10200" y="4022"/>
                  </a:lnTo>
                  <a:lnTo>
                    <a:pt x="10250" y="3979"/>
                  </a:lnTo>
                  <a:lnTo>
                    <a:pt x="10301" y="3936"/>
                  </a:lnTo>
                  <a:lnTo>
                    <a:pt x="10353" y="3894"/>
                  </a:lnTo>
                  <a:lnTo>
                    <a:pt x="10429" y="3838"/>
                  </a:lnTo>
                  <a:lnTo>
                    <a:pt x="10505" y="3785"/>
                  </a:lnTo>
                  <a:lnTo>
                    <a:pt x="10578" y="3736"/>
                  </a:lnTo>
                  <a:lnTo>
                    <a:pt x="10651" y="3690"/>
                  </a:lnTo>
                  <a:lnTo>
                    <a:pt x="10720" y="3648"/>
                  </a:lnTo>
                  <a:lnTo>
                    <a:pt x="10787" y="3610"/>
                  </a:lnTo>
                  <a:lnTo>
                    <a:pt x="10819" y="3592"/>
                  </a:lnTo>
                  <a:lnTo>
                    <a:pt x="10851" y="3575"/>
                  </a:lnTo>
                  <a:lnTo>
                    <a:pt x="10881" y="3559"/>
                  </a:lnTo>
                  <a:lnTo>
                    <a:pt x="10910" y="3544"/>
                  </a:lnTo>
                  <a:lnTo>
                    <a:pt x="10938" y="3530"/>
                  </a:lnTo>
                  <a:lnTo>
                    <a:pt x="10965" y="3517"/>
                  </a:lnTo>
                  <a:lnTo>
                    <a:pt x="10990" y="3505"/>
                  </a:lnTo>
                  <a:lnTo>
                    <a:pt x="11014" y="3494"/>
                  </a:lnTo>
                  <a:lnTo>
                    <a:pt x="11036" y="3482"/>
                  </a:lnTo>
                  <a:lnTo>
                    <a:pt x="11057" y="3473"/>
                  </a:lnTo>
                  <a:lnTo>
                    <a:pt x="11076" y="3465"/>
                  </a:lnTo>
                  <a:lnTo>
                    <a:pt x="11094" y="3456"/>
                  </a:lnTo>
                  <a:lnTo>
                    <a:pt x="11110" y="3449"/>
                  </a:lnTo>
                  <a:lnTo>
                    <a:pt x="11123" y="3444"/>
                  </a:lnTo>
                  <a:lnTo>
                    <a:pt x="11135" y="3439"/>
                  </a:lnTo>
                  <a:lnTo>
                    <a:pt x="11146" y="3435"/>
                  </a:lnTo>
                  <a:lnTo>
                    <a:pt x="11153" y="3432"/>
                  </a:lnTo>
                  <a:lnTo>
                    <a:pt x="11159" y="3430"/>
                  </a:lnTo>
                  <a:lnTo>
                    <a:pt x="11162" y="3428"/>
                  </a:lnTo>
                  <a:lnTo>
                    <a:pt x="11163" y="3428"/>
                  </a:lnTo>
                  <a:lnTo>
                    <a:pt x="11162" y="3428"/>
                  </a:lnTo>
                  <a:lnTo>
                    <a:pt x="11158" y="3428"/>
                  </a:lnTo>
                  <a:lnTo>
                    <a:pt x="11151" y="3428"/>
                  </a:lnTo>
                  <a:lnTo>
                    <a:pt x="11142" y="3429"/>
                  </a:lnTo>
                  <a:lnTo>
                    <a:pt x="11131" y="3430"/>
                  </a:lnTo>
                  <a:lnTo>
                    <a:pt x="11118" y="3431"/>
                  </a:lnTo>
                  <a:lnTo>
                    <a:pt x="11102" y="3433"/>
                  </a:lnTo>
                  <a:lnTo>
                    <a:pt x="11086" y="3435"/>
                  </a:lnTo>
                  <a:lnTo>
                    <a:pt x="11067" y="3439"/>
                  </a:lnTo>
                  <a:lnTo>
                    <a:pt x="11048" y="3443"/>
                  </a:lnTo>
                  <a:lnTo>
                    <a:pt x="11027" y="3447"/>
                  </a:lnTo>
                  <a:lnTo>
                    <a:pt x="11005" y="3453"/>
                  </a:lnTo>
                  <a:lnTo>
                    <a:pt x="10984" y="3461"/>
                  </a:lnTo>
                  <a:lnTo>
                    <a:pt x="10961" y="3469"/>
                  </a:lnTo>
                  <a:lnTo>
                    <a:pt x="10937" y="3479"/>
                  </a:lnTo>
                  <a:lnTo>
                    <a:pt x="10914" y="3489"/>
                  </a:lnTo>
                  <a:lnTo>
                    <a:pt x="10892" y="3496"/>
                  </a:lnTo>
                  <a:lnTo>
                    <a:pt x="10872" y="3501"/>
                  </a:lnTo>
                  <a:lnTo>
                    <a:pt x="10853" y="3507"/>
                  </a:lnTo>
                  <a:lnTo>
                    <a:pt x="10837" y="3512"/>
                  </a:lnTo>
                  <a:lnTo>
                    <a:pt x="10823" y="3518"/>
                  </a:lnTo>
                  <a:lnTo>
                    <a:pt x="10810" y="3523"/>
                  </a:lnTo>
                  <a:lnTo>
                    <a:pt x="10799" y="3528"/>
                  </a:lnTo>
                  <a:lnTo>
                    <a:pt x="10789" y="3533"/>
                  </a:lnTo>
                  <a:lnTo>
                    <a:pt x="10781" y="3537"/>
                  </a:lnTo>
                  <a:lnTo>
                    <a:pt x="10775" y="3541"/>
                  </a:lnTo>
                  <a:lnTo>
                    <a:pt x="10769" y="3544"/>
                  </a:lnTo>
                  <a:lnTo>
                    <a:pt x="10765" y="3547"/>
                  </a:lnTo>
                  <a:lnTo>
                    <a:pt x="10762" y="3549"/>
                  </a:lnTo>
                  <a:lnTo>
                    <a:pt x="10760" y="3550"/>
                  </a:lnTo>
                  <a:lnTo>
                    <a:pt x="10759" y="3552"/>
                  </a:lnTo>
                  <a:lnTo>
                    <a:pt x="10759" y="3550"/>
                  </a:lnTo>
                  <a:lnTo>
                    <a:pt x="10759" y="3545"/>
                  </a:lnTo>
                  <a:lnTo>
                    <a:pt x="10757" y="3537"/>
                  </a:lnTo>
                  <a:lnTo>
                    <a:pt x="10756" y="3525"/>
                  </a:lnTo>
                  <a:lnTo>
                    <a:pt x="10754" y="3512"/>
                  </a:lnTo>
                  <a:lnTo>
                    <a:pt x="10751" y="3496"/>
                  </a:lnTo>
                  <a:lnTo>
                    <a:pt x="10748" y="3478"/>
                  </a:lnTo>
                  <a:lnTo>
                    <a:pt x="10743" y="3459"/>
                  </a:lnTo>
                  <a:lnTo>
                    <a:pt x="10736" y="3437"/>
                  </a:lnTo>
                  <a:lnTo>
                    <a:pt x="10728" y="3415"/>
                  </a:lnTo>
                  <a:lnTo>
                    <a:pt x="10717" y="3392"/>
                  </a:lnTo>
                  <a:lnTo>
                    <a:pt x="10706" y="3368"/>
                  </a:lnTo>
                  <a:lnTo>
                    <a:pt x="10691" y="3343"/>
                  </a:lnTo>
                  <a:lnTo>
                    <a:pt x="10675" y="3319"/>
                  </a:lnTo>
                  <a:lnTo>
                    <a:pt x="10655" y="3295"/>
                  </a:lnTo>
                  <a:lnTo>
                    <a:pt x="10634" y="3271"/>
                  </a:lnTo>
                  <a:lnTo>
                    <a:pt x="10615" y="3249"/>
                  </a:lnTo>
                  <a:lnTo>
                    <a:pt x="10597" y="3229"/>
                  </a:lnTo>
                  <a:lnTo>
                    <a:pt x="10579" y="3210"/>
                  </a:lnTo>
                  <a:lnTo>
                    <a:pt x="10560" y="3195"/>
                  </a:lnTo>
                  <a:lnTo>
                    <a:pt x="10542" y="3180"/>
                  </a:lnTo>
                  <a:lnTo>
                    <a:pt x="10523" y="3167"/>
                  </a:lnTo>
                  <a:lnTo>
                    <a:pt x="10506" y="3157"/>
                  </a:lnTo>
                  <a:lnTo>
                    <a:pt x="10489" y="3146"/>
                  </a:lnTo>
                  <a:lnTo>
                    <a:pt x="10474" y="3139"/>
                  </a:lnTo>
                  <a:lnTo>
                    <a:pt x="10460" y="3132"/>
                  </a:lnTo>
                  <a:lnTo>
                    <a:pt x="10447" y="3127"/>
                  </a:lnTo>
                  <a:lnTo>
                    <a:pt x="10436" y="3123"/>
                  </a:lnTo>
                  <a:lnTo>
                    <a:pt x="10427" y="3120"/>
                  </a:lnTo>
                  <a:lnTo>
                    <a:pt x="10421" y="3118"/>
                  </a:lnTo>
                  <a:lnTo>
                    <a:pt x="10417" y="3117"/>
                  </a:lnTo>
                  <a:lnTo>
                    <a:pt x="10416" y="3116"/>
                  </a:lnTo>
                  <a:lnTo>
                    <a:pt x="10416" y="3114"/>
                  </a:lnTo>
                  <a:lnTo>
                    <a:pt x="10418" y="3110"/>
                  </a:lnTo>
                  <a:lnTo>
                    <a:pt x="10419" y="3107"/>
                  </a:lnTo>
                  <a:lnTo>
                    <a:pt x="10422" y="3104"/>
                  </a:lnTo>
                  <a:lnTo>
                    <a:pt x="10426" y="3100"/>
                  </a:lnTo>
                  <a:lnTo>
                    <a:pt x="10431" y="3096"/>
                  </a:lnTo>
                  <a:lnTo>
                    <a:pt x="10437" y="3092"/>
                  </a:lnTo>
                  <a:lnTo>
                    <a:pt x="10446" y="3087"/>
                  </a:lnTo>
                  <a:lnTo>
                    <a:pt x="10456" y="3082"/>
                  </a:lnTo>
                  <a:lnTo>
                    <a:pt x="10468" y="3076"/>
                  </a:lnTo>
                  <a:lnTo>
                    <a:pt x="10482" y="3071"/>
                  </a:lnTo>
                  <a:lnTo>
                    <a:pt x="10499" y="3065"/>
                  </a:lnTo>
                  <a:lnTo>
                    <a:pt x="10518" y="3059"/>
                  </a:lnTo>
                  <a:lnTo>
                    <a:pt x="10540" y="3054"/>
                  </a:lnTo>
                  <a:lnTo>
                    <a:pt x="10562" y="3048"/>
                  </a:lnTo>
                  <a:lnTo>
                    <a:pt x="10584" y="3041"/>
                  </a:lnTo>
                  <a:lnTo>
                    <a:pt x="10604" y="3036"/>
                  </a:lnTo>
                  <a:lnTo>
                    <a:pt x="10622" y="3030"/>
                  </a:lnTo>
                  <a:lnTo>
                    <a:pt x="10639" y="3025"/>
                  </a:lnTo>
                  <a:lnTo>
                    <a:pt x="10654" y="3020"/>
                  </a:lnTo>
                  <a:lnTo>
                    <a:pt x="10668" y="3016"/>
                  </a:lnTo>
                  <a:lnTo>
                    <a:pt x="10680" y="3010"/>
                  </a:lnTo>
                  <a:lnTo>
                    <a:pt x="10691" y="3006"/>
                  </a:lnTo>
                  <a:lnTo>
                    <a:pt x="10701" y="3002"/>
                  </a:lnTo>
                  <a:lnTo>
                    <a:pt x="10709" y="2999"/>
                  </a:lnTo>
                  <a:lnTo>
                    <a:pt x="10715" y="2996"/>
                  </a:lnTo>
                  <a:lnTo>
                    <a:pt x="10720" y="2994"/>
                  </a:lnTo>
                  <a:lnTo>
                    <a:pt x="10724" y="2993"/>
                  </a:lnTo>
                  <a:lnTo>
                    <a:pt x="10727" y="2992"/>
                  </a:lnTo>
                  <a:lnTo>
                    <a:pt x="10728" y="2991"/>
                  </a:lnTo>
                  <a:lnTo>
                    <a:pt x="10723" y="2991"/>
                  </a:lnTo>
                  <a:lnTo>
                    <a:pt x="10718" y="2991"/>
                  </a:lnTo>
                  <a:lnTo>
                    <a:pt x="10710" y="2991"/>
                  </a:lnTo>
                  <a:lnTo>
                    <a:pt x="10702" y="2992"/>
                  </a:lnTo>
                  <a:lnTo>
                    <a:pt x="10690" y="2992"/>
                  </a:lnTo>
                  <a:lnTo>
                    <a:pt x="10679" y="2993"/>
                  </a:lnTo>
                  <a:lnTo>
                    <a:pt x="10665" y="2994"/>
                  </a:lnTo>
                  <a:lnTo>
                    <a:pt x="10650" y="2995"/>
                  </a:lnTo>
                  <a:lnTo>
                    <a:pt x="10634" y="2997"/>
                  </a:lnTo>
                  <a:lnTo>
                    <a:pt x="10615" y="2999"/>
                  </a:lnTo>
                  <a:lnTo>
                    <a:pt x="10595" y="3001"/>
                  </a:lnTo>
                  <a:lnTo>
                    <a:pt x="10576" y="3004"/>
                  </a:lnTo>
                  <a:lnTo>
                    <a:pt x="10554" y="3008"/>
                  </a:lnTo>
                  <a:lnTo>
                    <a:pt x="10530" y="3013"/>
                  </a:lnTo>
                  <a:lnTo>
                    <a:pt x="10507" y="3017"/>
                  </a:lnTo>
                  <a:lnTo>
                    <a:pt x="10482" y="3023"/>
                  </a:lnTo>
                  <a:lnTo>
                    <a:pt x="10428" y="3035"/>
                  </a:lnTo>
                  <a:lnTo>
                    <a:pt x="10371" y="3052"/>
                  </a:lnTo>
                  <a:lnTo>
                    <a:pt x="10312" y="3072"/>
                  </a:lnTo>
                  <a:lnTo>
                    <a:pt x="10281" y="3084"/>
                  </a:lnTo>
                  <a:lnTo>
                    <a:pt x="10250" y="3096"/>
                  </a:lnTo>
                  <a:lnTo>
                    <a:pt x="10217" y="3110"/>
                  </a:lnTo>
                  <a:lnTo>
                    <a:pt x="10185" y="3125"/>
                  </a:lnTo>
                  <a:lnTo>
                    <a:pt x="10150" y="3141"/>
                  </a:lnTo>
                  <a:lnTo>
                    <a:pt x="10117" y="3158"/>
                  </a:lnTo>
                  <a:lnTo>
                    <a:pt x="10083" y="3176"/>
                  </a:lnTo>
                  <a:lnTo>
                    <a:pt x="10048" y="3197"/>
                  </a:lnTo>
                  <a:lnTo>
                    <a:pt x="10014" y="3217"/>
                  </a:lnTo>
                  <a:lnTo>
                    <a:pt x="9979" y="3240"/>
                  </a:lnTo>
                  <a:lnTo>
                    <a:pt x="9944" y="3262"/>
                  </a:lnTo>
                  <a:lnTo>
                    <a:pt x="9911" y="3284"/>
                  </a:lnTo>
                  <a:lnTo>
                    <a:pt x="9878" y="3308"/>
                  </a:lnTo>
                  <a:lnTo>
                    <a:pt x="9846" y="3333"/>
                  </a:lnTo>
                  <a:lnTo>
                    <a:pt x="9785" y="3384"/>
                  </a:lnTo>
                  <a:lnTo>
                    <a:pt x="9728" y="3439"/>
                  </a:lnTo>
                  <a:lnTo>
                    <a:pt x="9676" y="3496"/>
                  </a:lnTo>
                  <a:lnTo>
                    <a:pt x="9651" y="3524"/>
                  </a:lnTo>
                  <a:lnTo>
                    <a:pt x="9627" y="3553"/>
                  </a:lnTo>
                  <a:lnTo>
                    <a:pt x="9604" y="3581"/>
                  </a:lnTo>
                  <a:lnTo>
                    <a:pt x="9583" y="3610"/>
                  </a:lnTo>
                  <a:lnTo>
                    <a:pt x="9562" y="3638"/>
                  </a:lnTo>
                  <a:lnTo>
                    <a:pt x="9542" y="3665"/>
                  </a:lnTo>
                  <a:lnTo>
                    <a:pt x="9524" y="3691"/>
                  </a:lnTo>
                  <a:lnTo>
                    <a:pt x="9507" y="3717"/>
                  </a:lnTo>
                  <a:lnTo>
                    <a:pt x="9491" y="3743"/>
                  </a:lnTo>
                  <a:lnTo>
                    <a:pt x="9475" y="3767"/>
                  </a:lnTo>
                  <a:lnTo>
                    <a:pt x="9462" y="3789"/>
                  </a:lnTo>
                  <a:lnTo>
                    <a:pt x="9449" y="3811"/>
                  </a:lnTo>
                  <a:lnTo>
                    <a:pt x="9437" y="3831"/>
                  </a:lnTo>
                  <a:lnTo>
                    <a:pt x="9427" y="3850"/>
                  </a:lnTo>
                  <a:lnTo>
                    <a:pt x="9418" y="3866"/>
                  </a:lnTo>
                  <a:lnTo>
                    <a:pt x="9409" y="3881"/>
                  </a:lnTo>
                  <a:lnTo>
                    <a:pt x="9403" y="3894"/>
                  </a:lnTo>
                  <a:lnTo>
                    <a:pt x="9397" y="3906"/>
                  </a:lnTo>
                  <a:lnTo>
                    <a:pt x="9393" y="3914"/>
                  </a:lnTo>
                  <a:lnTo>
                    <a:pt x="9390" y="3921"/>
                  </a:lnTo>
                  <a:lnTo>
                    <a:pt x="9388" y="3924"/>
                  </a:lnTo>
                  <a:lnTo>
                    <a:pt x="9387" y="3926"/>
                  </a:lnTo>
                  <a:lnTo>
                    <a:pt x="9387" y="3926"/>
                  </a:lnTo>
                  <a:close/>
                  <a:moveTo>
                    <a:pt x="9231" y="0"/>
                  </a:moveTo>
                  <a:lnTo>
                    <a:pt x="9134" y="1"/>
                  </a:lnTo>
                  <a:lnTo>
                    <a:pt x="9040" y="4"/>
                  </a:lnTo>
                  <a:lnTo>
                    <a:pt x="8947" y="8"/>
                  </a:lnTo>
                  <a:lnTo>
                    <a:pt x="8856" y="15"/>
                  </a:lnTo>
                  <a:lnTo>
                    <a:pt x="8767" y="23"/>
                  </a:lnTo>
                  <a:lnTo>
                    <a:pt x="8680" y="34"/>
                  </a:lnTo>
                  <a:lnTo>
                    <a:pt x="8596" y="46"/>
                  </a:lnTo>
                  <a:lnTo>
                    <a:pt x="8513" y="59"/>
                  </a:lnTo>
                  <a:lnTo>
                    <a:pt x="8433" y="75"/>
                  </a:lnTo>
                  <a:lnTo>
                    <a:pt x="8354" y="91"/>
                  </a:lnTo>
                  <a:lnTo>
                    <a:pt x="8277" y="110"/>
                  </a:lnTo>
                  <a:lnTo>
                    <a:pt x="8202" y="129"/>
                  </a:lnTo>
                  <a:lnTo>
                    <a:pt x="8129" y="150"/>
                  </a:lnTo>
                  <a:lnTo>
                    <a:pt x="8058" y="172"/>
                  </a:lnTo>
                  <a:lnTo>
                    <a:pt x="7989" y="195"/>
                  </a:lnTo>
                  <a:lnTo>
                    <a:pt x="7921" y="219"/>
                  </a:lnTo>
                  <a:lnTo>
                    <a:pt x="7856" y="245"/>
                  </a:lnTo>
                  <a:lnTo>
                    <a:pt x="7792" y="272"/>
                  </a:lnTo>
                  <a:lnTo>
                    <a:pt x="7730" y="298"/>
                  </a:lnTo>
                  <a:lnTo>
                    <a:pt x="7669" y="326"/>
                  </a:lnTo>
                  <a:lnTo>
                    <a:pt x="7610" y="355"/>
                  </a:lnTo>
                  <a:lnTo>
                    <a:pt x="7553" y="385"/>
                  </a:lnTo>
                  <a:lnTo>
                    <a:pt x="7497" y="416"/>
                  </a:lnTo>
                  <a:lnTo>
                    <a:pt x="7444" y="447"/>
                  </a:lnTo>
                  <a:lnTo>
                    <a:pt x="7392" y="478"/>
                  </a:lnTo>
                  <a:lnTo>
                    <a:pt x="7342" y="510"/>
                  </a:lnTo>
                  <a:lnTo>
                    <a:pt x="7293" y="542"/>
                  </a:lnTo>
                  <a:lnTo>
                    <a:pt x="7246" y="575"/>
                  </a:lnTo>
                  <a:lnTo>
                    <a:pt x="7200" y="608"/>
                  </a:lnTo>
                  <a:lnTo>
                    <a:pt x="7157" y="641"/>
                  </a:lnTo>
                  <a:lnTo>
                    <a:pt x="7113" y="675"/>
                  </a:lnTo>
                  <a:lnTo>
                    <a:pt x="7073" y="708"/>
                  </a:lnTo>
                  <a:lnTo>
                    <a:pt x="7034" y="742"/>
                  </a:lnTo>
                  <a:lnTo>
                    <a:pt x="6996" y="775"/>
                  </a:lnTo>
                  <a:lnTo>
                    <a:pt x="6960" y="809"/>
                  </a:lnTo>
                  <a:lnTo>
                    <a:pt x="6924" y="842"/>
                  </a:lnTo>
                  <a:lnTo>
                    <a:pt x="6890" y="875"/>
                  </a:lnTo>
                  <a:lnTo>
                    <a:pt x="6858" y="908"/>
                  </a:lnTo>
                  <a:lnTo>
                    <a:pt x="6827" y="941"/>
                  </a:lnTo>
                  <a:lnTo>
                    <a:pt x="6799" y="973"/>
                  </a:lnTo>
                  <a:lnTo>
                    <a:pt x="6771" y="1005"/>
                  </a:lnTo>
                  <a:lnTo>
                    <a:pt x="6744" y="1036"/>
                  </a:lnTo>
                  <a:lnTo>
                    <a:pt x="6718" y="1067"/>
                  </a:lnTo>
                  <a:lnTo>
                    <a:pt x="6694" y="1097"/>
                  </a:lnTo>
                  <a:lnTo>
                    <a:pt x="6672" y="1127"/>
                  </a:lnTo>
                  <a:lnTo>
                    <a:pt x="6650" y="1154"/>
                  </a:lnTo>
                  <a:lnTo>
                    <a:pt x="6629" y="1182"/>
                  </a:lnTo>
                  <a:lnTo>
                    <a:pt x="6611" y="1209"/>
                  </a:lnTo>
                  <a:lnTo>
                    <a:pt x="6593" y="1235"/>
                  </a:lnTo>
                  <a:lnTo>
                    <a:pt x="6576" y="1259"/>
                  </a:lnTo>
                  <a:lnTo>
                    <a:pt x="6560" y="1283"/>
                  </a:lnTo>
                  <a:lnTo>
                    <a:pt x="6547" y="1306"/>
                  </a:lnTo>
                  <a:lnTo>
                    <a:pt x="6533" y="1327"/>
                  </a:lnTo>
                  <a:lnTo>
                    <a:pt x="6521" y="1347"/>
                  </a:lnTo>
                  <a:lnTo>
                    <a:pt x="6509" y="1365"/>
                  </a:lnTo>
                  <a:lnTo>
                    <a:pt x="6500" y="1383"/>
                  </a:lnTo>
                  <a:lnTo>
                    <a:pt x="6491" y="1399"/>
                  </a:lnTo>
                  <a:lnTo>
                    <a:pt x="6484" y="1414"/>
                  </a:lnTo>
                  <a:lnTo>
                    <a:pt x="6476" y="1426"/>
                  </a:lnTo>
                  <a:lnTo>
                    <a:pt x="6471" y="1438"/>
                  </a:lnTo>
                  <a:lnTo>
                    <a:pt x="6466" y="1447"/>
                  </a:lnTo>
                  <a:lnTo>
                    <a:pt x="6462" y="1454"/>
                  </a:lnTo>
                  <a:lnTo>
                    <a:pt x="6460" y="1460"/>
                  </a:lnTo>
                  <a:lnTo>
                    <a:pt x="6458" y="1464"/>
                  </a:lnTo>
                  <a:lnTo>
                    <a:pt x="6431" y="1476"/>
                  </a:lnTo>
                  <a:lnTo>
                    <a:pt x="6402" y="1487"/>
                  </a:lnTo>
                  <a:lnTo>
                    <a:pt x="6373" y="1496"/>
                  </a:lnTo>
                  <a:lnTo>
                    <a:pt x="6343" y="1506"/>
                  </a:lnTo>
                  <a:lnTo>
                    <a:pt x="6311" y="1513"/>
                  </a:lnTo>
                  <a:lnTo>
                    <a:pt x="6278" y="1519"/>
                  </a:lnTo>
                  <a:lnTo>
                    <a:pt x="6244" y="1523"/>
                  </a:lnTo>
                  <a:lnTo>
                    <a:pt x="6208" y="1526"/>
                  </a:lnTo>
                  <a:lnTo>
                    <a:pt x="6161" y="1540"/>
                  </a:lnTo>
                  <a:lnTo>
                    <a:pt x="6114" y="1557"/>
                  </a:lnTo>
                  <a:lnTo>
                    <a:pt x="6090" y="1567"/>
                  </a:lnTo>
                  <a:lnTo>
                    <a:pt x="6067" y="1579"/>
                  </a:lnTo>
                  <a:lnTo>
                    <a:pt x="6043" y="1591"/>
                  </a:lnTo>
                  <a:lnTo>
                    <a:pt x="6018" y="1604"/>
                  </a:lnTo>
                  <a:lnTo>
                    <a:pt x="5994" y="1619"/>
                  </a:lnTo>
                  <a:lnTo>
                    <a:pt x="5970" y="1634"/>
                  </a:lnTo>
                  <a:lnTo>
                    <a:pt x="5945" y="1651"/>
                  </a:lnTo>
                  <a:lnTo>
                    <a:pt x="5919" y="1668"/>
                  </a:lnTo>
                  <a:lnTo>
                    <a:pt x="5893" y="1688"/>
                  </a:lnTo>
                  <a:lnTo>
                    <a:pt x="5867" y="1708"/>
                  </a:lnTo>
                  <a:lnTo>
                    <a:pt x="5842" y="1729"/>
                  </a:lnTo>
                  <a:lnTo>
                    <a:pt x="5815" y="1752"/>
                  </a:lnTo>
                  <a:lnTo>
                    <a:pt x="5787" y="1776"/>
                  </a:lnTo>
                  <a:lnTo>
                    <a:pt x="5759" y="1801"/>
                  </a:lnTo>
                  <a:lnTo>
                    <a:pt x="5731" y="1828"/>
                  </a:lnTo>
                  <a:lnTo>
                    <a:pt x="5702" y="1856"/>
                  </a:lnTo>
                  <a:lnTo>
                    <a:pt x="5673" y="1886"/>
                  </a:lnTo>
                  <a:lnTo>
                    <a:pt x="5643" y="1917"/>
                  </a:lnTo>
                  <a:lnTo>
                    <a:pt x="5612" y="1948"/>
                  </a:lnTo>
                  <a:lnTo>
                    <a:pt x="5581" y="1981"/>
                  </a:lnTo>
                  <a:lnTo>
                    <a:pt x="5549" y="2017"/>
                  </a:lnTo>
                  <a:lnTo>
                    <a:pt x="5516" y="2054"/>
                  </a:lnTo>
                  <a:lnTo>
                    <a:pt x="5483" y="2092"/>
                  </a:lnTo>
                  <a:lnTo>
                    <a:pt x="5449" y="2131"/>
                  </a:lnTo>
                  <a:lnTo>
                    <a:pt x="5414" y="2172"/>
                  </a:lnTo>
                  <a:lnTo>
                    <a:pt x="5379" y="2215"/>
                  </a:lnTo>
                  <a:lnTo>
                    <a:pt x="5342" y="2260"/>
                  </a:lnTo>
                  <a:lnTo>
                    <a:pt x="5305" y="2305"/>
                  </a:lnTo>
                  <a:lnTo>
                    <a:pt x="4961" y="2368"/>
                  </a:lnTo>
                  <a:lnTo>
                    <a:pt x="4957" y="2368"/>
                  </a:lnTo>
                  <a:lnTo>
                    <a:pt x="4951" y="2368"/>
                  </a:lnTo>
                  <a:lnTo>
                    <a:pt x="4942" y="2369"/>
                  </a:lnTo>
                  <a:lnTo>
                    <a:pt x="4932" y="2370"/>
                  </a:lnTo>
                  <a:lnTo>
                    <a:pt x="4920" y="2371"/>
                  </a:lnTo>
                  <a:lnTo>
                    <a:pt x="4904" y="2373"/>
                  </a:lnTo>
                  <a:lnTo>
                    <a:pt x="4888" y="2375"/>
                  </a:lnTo>
                  <a:lnTo>
                    <a:pt x="4869" y="2378"/>
                  </a:lnTo>
                  <a:lnTo>
                    <a:pt x="4848" y="2380"/>
                  </a:lnTo>
                  <a:lnTo>
                    <a:pt x="4826" y="2384"/>
                  </a:lnTo>
                  <a:lnTo>
                    <a:pt x="4802" y="2387"/>
                  </a:lnTo>
                  <a:lnTo>
                    <a:pt x="4776" y="2391"/>
                  </a:lnTo>
                  <a:lnTo>
                    <a:pt x="4748" y="2397"/>
                  </a:lnTo>
                  <a:lnTo>
                    <a:pt x="4719" y="2402"/>
                  </a:lnTo>
                  <a:lnTo>
                    <a:pt x="4688" y="2407"/>
                  </a:lnTo>
                  <a:lnTo>
                    <a:pt x="4656" y="2413"/>
                  </a:lnTo>
                  <a:lnTo>
                    <a:pt x="4622" y="2419"/>
                  </a:lnTo>
                  <a:lnTo>
                    <a:pt x="4587" y="2426"/>
                  </a:lnTo>
                  <a:lnTo>
                    <a:pt x="4550" y="2435"/>
                  </a:lnTo>
                  <a:lnTo>
                    <a:pt x="4512" y="2443"/>
                  </a:lnTo>
                  <a:lnTo>
                    <a:pt x="4473" y="2451"/>
                  </a:lnTo>
                  <a:lnTo>
                    <a:pt x="4432" y="2460"/>
                  </a:lnTo>
                  <a:lnTo>
                    <a:pt x="4390" y="2471"/>
                  </a:lnTo>
                  <a:lnTo>
                    <a:pt x="4347" y="2481"/>
                  </a:lnTo>
                  <a:lnTo>
                    <a:pt x="4303" y="2492"/>
                  </a:lnTo>
                  <a:lnTo>
                    <a:pt x="4258" y="2505"/>
                  </a:lnTo>
                  <a:lnTo>
                    <a:pt x="4165" y="2530"/>
                  </a:lnTo>
                  <a:lnTo>
                    <a:pt x="4068" y="2558"/>
                  </a:lnTo>
                  <a:lnTo>
                    <a:pt x="3968" y="2590"/>
                  </a:lnTo>
                  <a:lnTo>
                    <a:pt x="3865" y="2624"/>
                  </a:lnTo>
                  <a:lnTo>
                    <a:pt x="3759" y="2662"/>
                  </a:lnTo>
                  <a:lnTo>
                    <a:pt x="3652" y="2702"/>
                  </a:lnTo>
                  <a:lnTo>
                    <a:pt x="3544" y="2747"/>
                  </a:lnTo>
                  <a:lnTo>
                    <a:pt x="3433" y="2795"/>
                  </a:lnTo>
                  <a:lnTo>
                    <a:pt x="3322" y="2846"/>
                  </a:lnTo>
                  <a:lnTo>
                    <a:pt x="3210" y="2901"/>
                  </a:lnTo>
                  <a:lnTo>
                    <a:pt x="3099" y="2960"/>
                  </a:lnTo>
                  <a:lnTo>
                    <a:pt x="2987" y="3023"/>
                  </a:lnTo>
                  <a:lnTo>
                    <a:pt x="2931" y="3056"/>
                  </a:lnTo>
                  <a:lnTo>
                    <a:pt x="2877" y="3090"/>
                  </a:lnTo>
                  <a:lnTo>
                    <a:pt x="2822" y="3125"/>
                  </a:lnTo>
                  <a:lnTo>
                    <a:pt x="2767" y="3161"/>
                  </a:lnTo>
                  <a:lnTo>
                    <a:pt x="2713" y="3198"/>
                  </a:lnTo>
                  <a:lnTo>
                    <a:pt x="2659" y="3236"/>
                  </a:lnTo>
                  <a:lnTo>
                    <a:pt x="2605" y="3275"/>
                  </a:lnTo>
                  <a:lnTo>
                    <a:pt x="2553" y="3315"/>
                  </a:lnTo>
                  <a:lnTo>
                    <a:pt x="2501" y="3358"/>
                  </a:lnTo>
                  <a:lnTo>
                    <a:pt x="2449" y="3400"/>
                  </a:lnTo>
                  <a:lnTo>
                    <a:pt x="2398" y="3444"/>
                  </a:lnTo>
                  <a:lnTo>
                    <a:pt x="2348" y="3489"/>
                  </a:lnTo>
                  <a:lnTo>
                    <a:pt x="2299" y="3536"/>
                  </a:lnTo>
                  <a:lnTo>
                    <a:pt x="2250" y="3583"/>
                  </a:lnTo>
                  <a:lnTo>
                    <a:pt x="2217" y="3616"/>
                  </a:lnTo>
                  <a:lnTo>
                    <a:pt x="2184" y="3650"/>
                  </a:lnTo>
                  <a:lnTo>
                    <a:pt x="2150" y="3687"/>
                  </a:lnTo>
                  <a:lnTo>
                    <a:pt x="2116" y="3725"/>
                  </a:lnTo>
                  <a:lnTo>
                    <a:pt x="2081" y="3764"/>
                  </a:lnTo>
                  <a:lnTo>
                    <a:pt x="2046" y="3805"/>
                  </a:lnTo>
                  <a:lnTo>
                    <a:pt x="1973" y="3888"/>
                  </a:lnTo>
                  <a:lnTo>
                    <a:pt x="1901" y="3975"/>
                  </a:lnTo>
                  <a:lnTo>
                    <a:pt x="1829" y="4063"/>
                  </a:lnTo>
                  <a:lnTo>
                    <a:pt x="1759" y="4151"/>
                  </a:lnTo>
                  <a:lnTo>
                    <a:pt x="1690" y="4236"/>
                  </a:lnTo>
                  <a:lnTo>
                    <a:pt x="1657" y="4278"/>
                  </a:lnTo>
                  <a:lnTo>
                    <a:pt x="1625" y="4320"/>
                  </a:lnTo>
                  <a:lnTo>
                    <a:pt x="1593" y="4360"/>
                  </a:lnTo>
                  <a:lnTo>
                    <a:pt x="1563" y="4399"/>
                  </a:lnTo>
                  <a:lnTo>
                    <a:pt x="1533" y="4436"/>
                  </a:lnTo>
                  <a:lnTo>
                    <a:pt x="1505" y="4472"/>
                  </a:lnTo>
                  <a:lnTo>
                    <a:pt x="1478" y="4506"/>
                  </a:lnTo>
                  <a:lnTo>
                    <a:pt x="1453" y="4538"/>
                  </a:lnTo>
                  <a:lnTo>
                    <a:pt x="1429" y="4568"/>
                  </a:lnTo>
                  <a:lnTo>
                    <a:pt x="1407" y="4596"/>
                  </a:lnTo>
                  <a:lnTo>
                    <a:pt x="1387" y="4621"/>
                  </a:lnTo>
                  <a:lnTo>
                    <a:pt x="1369" y="4644"/>
                  </a:lnTo>
                  <a:lnTo>
                    <a:pt x="1352" y="4664"/>
                  </a:lnTo>
                  <a:lnTo>
                    <a:pt x="1338" y="4681"/>
                  </a:lnTo>
                  <a:lnTo>
                    <a:pt x="1325" y="4695"/>
                  </a:lnTo>
                  <a:lnTo>
                    <a:pt x="1315" y="4705"/>
                  </a:lnTo>
                  <a:lnTo>
                    <a:pt x="1315" y="4699"/>
                  </a:lnTo>
                  <a:lnTo>
                    <a:pt x="1315" y="4689"/>
                  </a:lnTo>
                  <a:lnTo>
                    <a:pt x="1315" y="4678"/>
                  </a:lnTo>
                  <a:lnTo>
                    <a:pt x="1315" y="4666"/>
                  </a:lnTo>
                  <a:lnTo>
                    <a:pt x="1315" y="4651"/>
                  </a:lnTo>
                  <a:lnTo>
                    <a:pt x="1316" y="4636"/>
                  </a:lnTo>
                  <a:lnTo>
                    <a:pt x="1316" y="4618"/>
                  </a:lnTo>
                  <a:lnTo>
                    <a:pt x="1316" y="4599"/>
                  </a:lnTo>
                  <a:lnTo>
                    <a:pt x="1316" y="4579"/>
                  </a:lnTo>
                  <a:lnTo>
                    <a:pt x="1317" y="4558"/>
                  </a:lnTo>
                  <a:lnTo>
                    <a:pt x="1317" y="4535"/>
                  </a:lnTo>
                  <a:lnTo>
                    <a:pt x="1318" y="4511"/>
                  </a:lnTo>
                  <a:lnTo>
                    <a:pt x="1320" y="4462"/>
                  </a:lnTo>
                  <a:lnTo>
                    <a:pt x="1322" y="4410"/>
                  </a:lnTo>
                  <a:lnTo>
                    <a:pt x="1325" y="4356"/>
                  </a:lnTo>
                  <a:lnTo>
                    <a:pt x="1329" y="4300"/>
                  </a:lnTo>
                  <a:lnTo>
                    <a:pt x="1334" y="4244"/>
                  </a:lnTo>
                  <a:lnTo>
                    <a:pt x="1341" y="4189"/>
                  </a:lnTo>
                  <a:lnTo>
                    <a:pt x="1348" y="4135"/>
                  </a:lnTo>
                  <a:lnTo>
                    <a:pt x="1356" y="4083"/>
                  </a:lnTo>
                  <a:lnTo>
                    <a:pt x="1366" y="4033"/>
                  </a:lnTo>
                  <a:lnTo>
                    <a:pt x="1372" y="4011"/>
                  </a:lnTo>
                  <a:lnTo>
                    <a:pt x="1378" y="3988"/>
                  </a:lnTo>
                  <a:lnTo>
                    <a:pt x="1398" y="3917"/>
                  </a:lnTo>
                  <a:lnTo>
                    <a:pt x="1421" y="3848"/>
                  </a:lnTo>
                  <a:lnTo>
                    <a:pt x="1447" y="3779"/>
                  </a:lnTo>
                  <a:lnTo>
                    <a:pt x="1474" y="3711"/>
                  </a:lnTo>
                  <a:lnTo>
                    <a:pt x="1503" y="3644"/>
                  </a:lnTo>
                  <a:lnTo>
                    <a:pt x="1534" y="3578"/>
                  </a:lnTo>
                  <a:lnTo>
                    <a:pt x="1566" y="3512"/>
                  </a:lnTo>
                  <a:lnTo>
                    <a:pt x="1600" y="3446"/>
                  </a:lnTo>
                  <a:lnTo>
                    <a:pt x="1634" y="3381"/>
                  </a:lnTo>
                  <a:lnTo>
                    <a:pt x="1670" y="3316"/>
                  </a:lnTo>
                  <a:lnTo>
                    <a:pt x="1743" y="3186"/>
                  </a:lnTo>
                  <a:lnTo>
                    <a:pt x="1820" y="3054"/>
                  </a:lnTo>
                  <a:lnTo>
                    <a:pt x="1897" y="2921"/>
                  </a:lnTo>
                  <a:lnTo>
                    <a:pt x="1780" y="2979"/>
                  </a:lnTo>
                  <a:lnTo>
                    <a:pt x="1665" y="3037"/>
                  </a:lnTo>
                  <a:lnTo>
                    <a:pt x="1547" y="3096"/>
                  </a:lnTo>
                  <a:lnTo>
                    <a:pt x="1487" y="3127"/>
                  </a:lnTo>
                  <a:lnTo>
                    <a:pt x="1425" y="3158"/>
                  </a:lnTo>
                  <a:lnTo>
                    <a:pt x="1363" y="3191"/>
                  </a:lnTo>
                  <a:lnTo>
                    <a:pt x="1298" y="3224"/>
                  </a:lnTo>
                  <a:lnTo>
                    <a:pt x="1232" y="3259"/>
                  </a:lnTo>
                  <a:lnTo>
                    <a:pt x="1164" y="3296"/>
                  </a:lnTo>
                  <a:lnTo>
                    <a:pt x="1093" y="3334"/>
                  </a:lnTo>
                  <a:lnTo>
                    <a:pt x="1020" y="3374"/>
                  </a:lnTo>
                  <a:lnTo>
                    <a:pt x="944" y="3415"/>
                  </a:lnTo>
                  <a:lnTo>
                    <a:pt x="865" y="3460"/>
                  </a:lnTo>
                  <a:lnTo>
                    <a:pt x="797" y="3496"/>
                  </a:lnTo>
                  <a:lnTo>
                    <a:pt x="731" y="3534"/>
                  </a:lnTo>
                  <a:lnTo>
                    <a:pt x="664" y="3573"/>
                  </a:lnTo>
                  <a:lnTo>
                    <a:pt x="600" y="3615"/>
                  </a:lnTo>
                  <a:lnTo>
                    <a:pt x="538" y="3658"/>
                  </a:lnTo>
                  <a:lnTo>
                    <a:pt x="477" y="3705"/>
                  </a:lnTo>
                  <a:lnTo>
                    <a:pt x="418" y="3754"/>
                  </a:lnTo>
                  <a:lnTo>
                    <a:pt x="362" y="3807"/>
                  </a:lnTo>
                  <a:lnTo>
                    <a:pt x="308" y="3862"/>
                  </a:lnTo>
                  <a:lnTo>
                    <a:pt x="259" y="3921"/>
                  </a:lnTo>
                  <a:lnTo>
                    <a:pt x="211" y="3984"/>
                  </a:lnTo>
                  <a:lnTo>
                    <a:pt x="190" y="4017"/>
                  </a:lnTo>
                  <a:lnTo>
                    <a:pt x="168" y="4051"/>
                  </a:lnTo>
                  <a:lnTo>
                    <a:pt x="148" y="4086"/>
                  </a:lnTo>
                  <a:lnTo>
                    <a:pt x="129" y="4122"/>
                  </a:lnTo>
                  <a:lnTo>
                    <a:pt x="111" y="4159"/>
                  </a:lnTo>
                  <a:lnTo>
                    <a:pt x="94" y="4197"/>
                  </a:lnTo>
                  <a:lnTo>
                    <a:pt x="78" y="4236"/>
                  </a:lnTo>
                  <a:lnTo>
                    <a:pt x="63" y="4277"/>
                  </a:lnTo>
                  <a:lnTo>
                    <a:pt x="49" y="4319"/>
                  </a:lnTo>
                  <a:lnTo>
                    <a:pt x="37" y="4362"/>
                  </a:lnTo>
                  <a:lnTo>
                    <a:pt x="29" y="4394"/>
                  </a:lnTo>
                  <a:lnTo>
                    <a:pt x="21" y="4425"/>
                  </a:lnTo>
                  <a:lnTo>
                    <a:pt x="15" y="4456"/>
                  </a:lnTo>
                  <a:lnTo>
                    <a:pt x="11" y="4485"/>
                  </a:lnTo>
                  <a:lnTo>
                    <a:pt x="3" y="4542"/>
                  </a:lnTo>
                  <a:lnTo>
                    <a:pt x="0" y="4597"/>
                  </a:lnTo>
                  <a:lnTo>
                    <a:pt x="0" y="4649"/>
                  </a:lnTo>
                  <a:lnTo>
                    <a:pt x="3" y="4699"/>
                  </a:lnTo>
                  <a:lnTo>
                    <a:pt x="9" y="4746"/>
                  </a:lnTo>
                  <a:lnTo>
                    <a:pt x="17" y="4790"/>
                  </a:lnTo>
                  <a:lnTo>
                    <a:pt x="30" y="4834"/>
                  </a:lnTo>
                  <a:lnTo>
                    <a:pt x="43" y="4874"/>
                  </a:lnTo>
                  <a:lnTo>
                    <a:pt x="59" y="4913"/>
                  </a:lnTo>
                  <a:lnTo>
                    <a:pt x="77" y="4949"/>
                  </a:lnTo>
                  <a:lnTo>
                    <a:pt x="96" y="4984"/>
                  </a:lnTo>
                  <a:lnTo>
                    <a:pt x="117" y="5018"/>
                  </a:lnTo>
                  <a:lnTo>
                    <a:pt x="139" y="5049"/>
                  </a:lnTo>
                  <a:lnTo>
                    <a:pt x="162" y="5079"/>
                  </a:lnTo>
                  <a:lnTo>
                    <a:pt x="165" y="5104"/>
                  </a:lnTo>
                  <a:lnTo>
                    <a:pt x="169" y="5128"/>
                  </a:lnTo>
                  <a:lnTo>
                    <a:pt x="173" y="5154"/>
                  </a:lnTo>
                  <a:lnTo>
                    <a:pt x="178" y="5182"/>
                  </a:lnTo>
                  <a:lnTo>
                    <a:pt x="191" y="5238"/>
                  </a:lnTo>
                  <a:lnTo>
                    <a:pt x="206" y="5298"/>
                  </a:lnTo>
                  <a:lnTo>
                    <a:pt x="225" y="5360"/>
                  </a:lnTo>
                  <a:lnTo>
                    <a:pt x="246" y="5424"/>
                  </a:lnTo>
                  <a:lnTo>
                    <a:pt x="272" y="5487"/>
                  </a:lnTo>
                  <a:lnTo>
                    <a:pt x="287" y="5519"/>
                  </a:lnTo>
                  <a:lnTo>
                    <a:pt x="302" y="5551"/>
                  </a:lnTo>
                  <a:lnTo>
                    <a:pt x="319" y="5581"/>
                  </a:lnTo>
                  <a:lnTo>
                    <a:pt x="336" y="5612"/>
                  </a:lnTo>
                  <a:lnTo>
                    <a:pt x="356" y="5643"/>
                  </a:lnTo>
                  <a:lnTo>
                    <a:pt x="375" y="5673"/>
                  </a:lnTo>
                  <a:lnTo>
                    <a:pt x="397" y="5702"/>
                  </a:lnTo>
                  <a:lnTo>
                    <a:pt x="420" y="5730"/>
                  </a:lnTo>
                  <a:lnTo>
                    <a:pt x="444" y="5758"/>
                  </a:lnTo>
                  <a:lnTo>
                    <a:pt x="468" y="5784"/>
                  </a:lnTo>
                  <a:lnTo>
                    <a:pt x="495" y="5810"/>
                  </a:lnTo>
                  <a:lnTo>
                    <a:pt x="523" y="5835"/>
                  </a:lnTo>
                  <a:lnTo>
                    <a:pt x="553" y="5858"/>
                  </a:lnTo>
                  <a:lnTo>
                    <a:pt x="584" y="5879"/>
                  </a:lnTo>
                  <a:lnTo>
                    <a:pt x="616" y="5900"/>
                  </a:lnTo>
                  <a:lnTo>
                    <a:pt x="650" y="5918"/>
                  </a:lnTo>
                  <a:lnTo>
                    <a:pt x="686" y="5936"/>
                  </a:lnTo>
                  <a:lnTo>
                    <a:pt x="723" y="5951"/>
                  </a:lnTo>
                  <a:lnTo>
                    <a:pt x="751" y="5963"/>
                  </a:lnTo>
                  <a:lnTo>
                    <a:pt x="779" y="5974"/>
                  </a:lnTo>
                  <a:lnTo>
                    <a:pt x="805" y="5983"/>
                  </a:lnTo>
                  <a:lnTo>
                    <a:pt x="830" y="5992"/>
                  </a:lnTo>
                  <a:lnTo>
                    <a:pt x="877" y="6009"/>
                  </a:lnTo>
                  <a:lnTo>
                    <a:pt x="922" y="6021"/>
                  </a:lnTo>
                  <a:lnTo>
                    <a:pt x="965" y="6032"/>
                  </a:lnTo>
                  <a:lnTo>
                    <a:pt x="1008" y="6039"/>
                  </a:lnTo>
                  <a:lnTo>
                    <a:pt x="1052" y="6043"/>
                  </a:lnTo>
                  <a:lnTo>
                    <a:pt x="1097" y="6045"/>
                  </a:lnTo>
                  <a:lnTo>
                    <a:pt x="1094" y="6086"/>
                  </a:lnTo>
                  <a:lnTo>
                    <a:pt x="1091" y="6129"/>
                  </a:lnTo>
                  <a:lnTo>
                    <a:pt x="1089" y="6173"/>
                  </a:lnTo>
                  <a:lnTo>
                    <a:pt x="1086" y="6218"/>
                  </a:lnTo>
                  <a:lnTo>
                    <a:pt x="1081" y="6311"/>
                  </a:lnTo>
                  <a:lnTo>
                    <a:pt x="1077" y="6408"/>
                  </a:lnTo>
                  <a:lnTo>
                    <a:pt x="1075" y="6507"/>
                  </a:lnTo>
                  <a:lnTo>
                    <a:pt x="1075" y="6609"/>
                  </a:lnTo>
                  <a:lnTo>
                    <a:pt x="1077" y="6714"/>
                  </a:lnTo>
                  <a:lnTo>
                    <a:pt x="1082" y="6821"/>
                  </a:lnTo>
                  <a:lnTo>
                    <a:pt x="1089" y="6928"/>
                  </a:lnTo>
                  <a:lnTo>
                    <a:pt x="1099" y="7035"/>
                  </a:lnTo>
                  <a:lnTo>
                    <a:pt x="1114" y="7143"/>
                  </a:lnTo>
                  <a:lnTo>
                    <a:pt x="1123" y="7197"/>
                  </a:lnTo>
                  <a:lnTo>
                    <a:pt x="1132" y="7250"/>
                  </a:lnTo>
                  <a:lnTo>
                    <a:pt x="1142" y="7304"/>
                  </a:lnTo>
                  <a:lnTo>
                    <a:pt x="1155" y="7356"/>
                  </a:lnTo>
                  <a:lnTo>
                    <a:pt x="1168" y="7410"/>
                  </a:lnTo>
                  <a:lnTo>
                    <a:pt x="1182" y="7461"/>
                  </a:lnTo>
                  <a:lnTo>
                    <a:pt x="1198" y="7514"/>
                  </a:lnTo>
                  <a:lnTo>
                    <a:pt x="1215" y="7564"/>
                  </a:lnTo>
                  <a:lnTo>
                    <a:pt x="1233" y="7616"/>
                  </a:lnTo>
                  <a:lnTo>
                    <a:pt x="1253" y="7665"/>
                  </a:lnTo>
                  <a:lnTo>
                    <a:pt x="1277" y="7727"/>
                  </a:lnTo>
                  <a:lnTo>
                    <a:pt x="1301" y="7789"/>
                  </a:lnTo>
                  <a:lnTo>
                    <a:pt x="1354" y="7912"/>
                  </a:lnTo>
                  <a:lnTo>
                    <a:pt x="1410" y="8037"/>
                  </a:lnTo>
                  <a:lnTo>
                    <a:pt x="1468" y="8161"/>
                  </a:lnTo>
                  <a:lnTo>
                    <a:pt x="1528" y="8282"/>
                  </a:lnTo>
                  <a:lnTo>
                    <a:pt x="1589" y="8402"/>
                  </a:lnTo>
                  <a:lnTo>
                    <a:pt x="1650" y="8518"/>
                  </a:lnTo>
                  <a:lnTo>
                    <a:pt x="1681" y="8576"/>
                  </a:lnTo>
                  <a:lnTo>
                    <a:pt x="1712" y="8631"/>
                  </a:lnTo>
                  <a:lnTo>
                    <a:pt x="1743" y="8686"/>
                  </a:lnTo>
                  <a:lnTo>
                    <a:pt x="1773" y="8741"/>
                  </a:lnTo>
                  <a:lnTo>
                    <a:pt x="1803" y="8793"/>
                  </a:lnTo>
                  <a:lnTo>
                    <a:pt x="1833" y="8844"/>
                  </a:lnTo>
                  <a:lnTo>
                    <a:pt x="1862" y="8893"/>
                  </a:lnTo>
                  <a:lnTo>
                    <a:pt x="1890" y="8941"/>
                  </a:lnTo>
                  <a:lnTo>
                    <a:pt x="1918" y="8988"/>
                  </a:lnTo>
                  <a:lnTo>
                    <a:pt x="1946" y="9033"/>
                  </a:lnTo>
                  <a:lnTo>
                    <a:pt x="1971" y="9075"/>
                  </a:lnTo>
                  <a:lnTo>
                    <a:pt x="1997" y="9117"/>
                  </a:lnTo>
                  <a:lnTo>
                    <a:pt x="2021" y="9156"/>
                  </a:lnTo>
                  <a:lnTo>
                    <a:pt x="2045" y="9193"/>
                  </a:lnTo>
                  <a:lnTo>
                    <a:pt x="2066" y="9227"/>
                  </a:lnTo>
                  <a:lnTo>
                    <a:pt x="2088" y="9260"/>
                  </a:lnTo>
                  <a:lnTo>
                    <a:pt x="2108" y="9290"/>
                  </a:lnTo>
                  <a:lnTo>
                    <a:pt x="2125" y="9317"/>
                  </a:lnTo>
                  <a:lnTo>
                    <a:pt x="2121" y="9342"/>
                  </a:lnTo>
                  <a:lnTo>
                    <a:pt x="2115" y="9371"/>
                  </a:lnTo>
                  <a:lnTo>
                    <a:pt x="2108" y="9404"/>
                  </a:lnTo>
                  <a:lnTo>
                    <a:pt x="2099" y="9439"/>
                  </a:lnTo>
                  <a:lnTo>
                    <a:pt x="2089" y="9477"/>
                  </a:lnTo>
                  <a:lnTo>
                    <a:pt x="2078" y="9518"/>
                  </a:lnTo>
                  <a:lnTo>
                    <a:pt x="2065" y="9562"/>
                  </a:lnTo>
                  <a:lnTo>
                    <a:pt x="2052" y="9607"/>
                  </a:lnTo>
                  <a:lnTo>
                    <a:pt x="2037" y="9653"/>
                  </a:lnTo>
                  <a:lnTo>
                    <a:pt x="2023" y="9703"/>
                  </a:lnTo>
                  <a:lnTo>
                    <a:pt x="2008" y="9752"/>
                  </a:lnTo>
                  <a:lnTo>
                    <a:pt x="1991" y="9804"/>
                  </a:lnTo>
                  <a:lnTo>
                    <a:pt x="1958" y="9908"/>
                  </a:lnTo>
                  <a:lnTo>
                    <a:pt x="1925" y="10014"/>
                  </a:lnTo>
                  <a:lnTo>
                    <a:pt x="1893" y="10119"/>
                  </a:lnTo>
                  <a:lnTo>
                    <a:pt x="1876" y="10170"/>
                  </a:lnTo>
                  <a:lnTo>
                    <a:pt x="1862" y="10221"/>
                  </a:lnTo>
                  <a:lnTo>
                    <a:pt x="1848" y="10270"/>
                  </a:lnTo>
                  <a:lnTo>
                    <a:pt x="1833" y="10319"/>
                  </a:lnTo>
                  <a:lnTo>
                    <a:pt x="1821" y="10365"/>
                  </a:lnTo>
                  <a:lnTo>
                    <a:pt x="1808" y="10409"/>
                  </a:lnTo>
                  <a:lnTo>
                    <a:pt x="1797" y="10452"/>
                  </a:lnTo>
                  <a:lnTo>
                    <a:pt x="1788" y="10492"/>
                  </a:lnTo>
                  <a:lnTo>
                    <a:pt x="1779" y="10528"/>
                  </a:lnTo>
                  <a:lnTo>
                    <a:pt x="1773" y="10562"/>
                  </a:lnTo>
                  <a:lnTo>
                    <a:pt x="1768" y="10593"/>
                  </a:lnTo>
                  <a:lnTo>
                    <a:pt x="1764" y="10620"/>
                  </a:lnTo>
                  <a:lnTo>
                    <a:pt x="1763" y="10644"/>
                  </a:lnTo>
                  <a:lnTo>
                    <a:pt x="1763" y="10654"/>
                  </a:lnTo>
                  <a:lnTo>
                    <a:pt x="1763" y="10664"/>
                  </a:lnTo>
                  <a:lnTo>
                    <a:pt x="1766" y="10683"/>
                  </a:lnTo>
                  <a:lnTo>
                    <a:pt x="1772" y="10704"/>
                  </a:lnTo>
                  <a:lnTo>
                    <a:pt x="1780" y="10724"/>
                  </a:lnTo>
                  <a:lnTo>
                    <a:pt x="1792" y="10745"/>
                  </a:lnTo>
                  <a:lnTo>
                    <a:pt x="1805" y="10766"/>
                  </a:lnTo>
                  <a:lnTo>
                    <a:pt x="1822" y="10786"/>
                  </a:lnTo>
                  <a:lnTo>
                    <a:pt x="1840" y="10807"/>
                  </a:lnTo>
                  <a:lnTo>
                    <a:pt x="1861" y="10829"/>
                  </a:lnTo>
                  <a:lnTo>
                    <a:pt x="1884" y="10849"/>
                  </a:lnTo>
                  <a:lnTo>
                    <a:pt x="1909" y="10870"/>
                  </a:lnTo>
                  <a:lnTo>
                    <a:pt x="1936" y="10891"/>
                  </a:lnTo>
                  <a:lnTo>
                    <a:pt x="1966" y="10912"/>
                  </a:lnTo>
                  <a:lnTo>
                    <a:pt x="1997" y="10933"/>
                  </a:lnTo>
                  <a:lnTo>
                    <a:pt x="2030" y="10954"/>
                  </a:lnTo>
                  <a:lnTo>
                    <a:pt x="2065" y="10975"/>
                  </a:lnTo>
                  <a:lnTo>
                    <a:pt x="2101" y="10995"/>
                  </a:lnTo>
                  <a:lnTo>
                    <a:pt x="2140" y="11015"/>
                  </a:lnTo>
                  <a:lnTo>
                    <a:pt x="2179" y="11036"/>
                  </a:lnTo>
                  <a:lnTo>
                    <a:pt x="2219" y="11055"/>
                  </a:lnTo>
                  <a:lnTo>
                    <a:pt x="2261" y="11076"/>
                  </a:lnTo>
                  <a:lnTo>
                    <a:pt x="2305" y="11095"/>
                  </a:lnTo>
                  <a:lnTo>
                    <a:pt x="2349" y="11114"/>
                  </a:lnTo>
                  <a:lnTo>
                    <a:pt x="2395" y="11133"/>
                  </a:lnTo>
                  <a:lnTo>
                    <a:pt x="2441" y="11152"/>
                  </a:lnTo>
                  <a:lnTo>
                    <a:pt x="2536" y="11188"/>
                  </a:lnTo>
                  <a:lnTo>
                    <a:pt x="2634" y="11223"/>
                  </a:lnTo>
                  <a:lnTo>
                    <a:pt x="2734" y="11256"/>
                  </a:lnTo>
                  <a:lnTo>
                    <a:pt x="2836" y="11287"/>
                  </a:lnTo>
                  <a:lnTo>
                    <a:pt x="2939" y="11316"/>
                  </a:lnTo>
                  <a:lnTo>
                    <a:pt x="3041" y="11342"/>
                  </a:lnTo>
                  <a:lnTo>
                    <a:pt x="3143" y="11367"/>
                  </a:lnTo>
                  <a:lnTo>
                    <a:pt x="3243" y="11389"/>
                  </a:lnTo>
                  <a:lnTo>
                    <a:pt x="3341" y="11407"/>
                  </a:lnTo>
                  <a:lnTo>
                    <a:pt x="3437" y="11424"/>
                  </a:lnTo>
                  <a:lnTo>
                    <a:pt x="3529" y="11436"/>
                  </a:lnTo>
                  <a:lnTo>
                    <a:pt x="3574" y="11441"/>
                  </a:lnTo>
                  <a:lnTo>
                    <a:pt x="3618" y="11445"/>
                  </a:lnTo>
                  <a:lnTo>
                    <a:pt x="3660" y="11449"/>
                  </a:lnTo>
                  <a:lnTo>
                    <a:pt x="3702" y="11452"/>
                  </a:lnTo>
                  <a:lnTo>
                    <a:pt x="3741" y="11453"/>
                  </a:lnTo>
                  <a:lnTo>
                    <a:pt x="3779" y="11453"/>
                  </a:lnTo>
                  <a:lnTo>
                    <a:pt x="3816" y="11453"/>
                  </a:lnTo>
                  <a:lnTo>
                    <a:pt x="3851" y="11452"/>
                  </a:lnTo>
                  <a:lnTo>
                    <a:pt x="3884" y="11449"/>
                  </a:lnTo>
                  <a:lnTo>
                    <a:pt x="3916" y="11445"/>
                  </a:lnTo>
                  <a:lnTo>
                    <a:pt x="3946" y="11440"/>
                  </a:lnTo>
                  <a:lnTo>
                    <a:pt x="3974" y="11435"/>
                  </a:lnTo>
                  <a:lnTo>
                    <a:pt x="4000" y="11428"/>
                  </a:lnTo>
                  <a:lnTo>
                    <a:pt x="4024" y="11420"/>
                  </a:lnTo>
                  <a:lnTo>
                    <a:pt x="4045" y="11410"/>
                  </a:lnTo>
                  <a:lnTo>
                    <a:pt x="4064" y="11400"/>
                  </a:lnTo>
                  <a:lnTo>
                    <a:pt x="4080" y="11389"/>
                  </a:lnTo>
                  <a:lnTo>
                    <a:pt x="4095" y="11376"/>
                  </a:lnTo>
                  <a:lnTo>
                    <a:pt x="4122" y="11347"/>
                  </a:lnTo>
                  <a:lnTo>
                    <a:pt x="4147" y="11317"/>
                  </a:lnTo>
                  <a:lnTo>
                    <a:pt x="4170" y="11287"/>
                  </a:lnTo>
                  <a:lnTo>
                    <a:pt x="4192" y="11256"/>
                  </a:lnTo>
                  <a:lnTo>
                    <a:pt x="4213" y="11224"/>
                  </a:lnTo>
                  <a:lnTo>
                    <a:pt x="4232" y="11192"/>
                  </a:lnTo>
                  <a:lnTo>
                    <a:pt x="4250" y="11159"/>
                  </a:lnTo>
                  <a:lnTo>
                    <a:pt x="4266" y="11126"/>
                  </a:lnTo>
                  <a:lnTo>
                    <a:pt x="4282" y="11093"/>
                  </a:lnTo>
                  <a:lnTo>
                    <a:pt x="4296" y="11060"/>
                  </a:lnTo>
                  <a:lnTo>
                    <a:pt x="4309" y="11027"/>
                  </a:lnTo>
                  <a:lnTo>
                    <a:pt x="4321" y="10994"/>
                  </a:lnTo>
                  <a:lnTo>
                    <a:pt x="4331" y="10961"/>
                  </a:lnTo>
                  <a:lnTo>
                    <a:pt x="4341" y="10928"/>
                  </a:lnTo>
                  <a:lnTo>
                    <a:pt x="4358" y="10862"/>
                  </a:lnTo>
                  <a:lnTo>
                    <a:pt x="4371" y="10799"/>
                  </a:lnTo>
                  <a:lnTo>
                    <a:pt x="4381" y="10737"/>
                  </a:lnTo>
                  <a:lnTo>
                    <a:pt x="4389" y="10677"/>
                  </a:lnTo>
                  <a:lnTo>
                    <a:pt x="4394" y="10621"/>
                  </a:lnTo>
                  <a:lnTo>
                    <a:pt x="4396" y="10595"/>
                  </a:lnTo>
                  <a:lnTo>
                    <a:pt x="4397" y="10569"/>
                  </a:lnTo>
                  <a:lnTo>
                    <a:pt x="4398" y="10544"/>
                  </a:lnTo>
                  <a:lnTo>
                    <a:pt x="4399" y="10521"/>
                  </a:lnTo>
                  <a:lnTo>
                    <a:pt x="4400" y="10498"/>
                  </a:lnTo>
                  <a:lnTo>
                    <a:pt x="4400" y="10477"/>
                  </a:lnTo>
                  <a:lnTo>
                    <a:pt x="4400" y="10458"/>
                  </a:lnTo>
                  <a:lnTo>
                    <a:pt x="4400" y="10439"/>
                  </a:lnTo>
                  <a:lnTo>
                    <a:pt x="4400" y="10376"/>
                  </a:lnTo>
                  <a:lnTo>
                    <a:pt x="4405" y="10369"/>
                  </a:lnTo>
                  <a:lnTo>
                    <a:pt x="4410" y="10359"/>
                  </a:lnTo>
                  <a:lnTo>
                    <a:pt x="4416" y="10346"/>
                  </a:lnTo>
                  <a:lnTo>
                    <a:pt x="4423" y="10332"/>
                  </a:lnTo>
                  <a:lnTo>
                    <a:pt x="4431" y="10315"/>
                  </a:lnTo>
                  <a:lnTo>
                    <a:pt x="4441" y="10295"/>
                  </a:lnTo>
                  <a:lnTo>
                    <a:pt x="4451" y="10274"/>
                  </a:lnTo>
                  <a:lnTo>
                    <a:pt x="4462" y="10251"/>
                  </a:lnTo>
                  <a:lnTo>
                    <a:pt x="4474" y="10227"/>
                  </a:lnTo>
                  <a:lnTo>
                    <a:pt x="4487" y="10200"/>
                  </a:lnTo>
                  <a:lnTo>
                    <a:pt x="4500" y="10173"/>
                  </a:lnTo>
                  <a:lnTo>
                    <a:pt x="4513" y="10146"/>
                  </a:lnTo>
                  <a:lnTo>
                    <a:pt x="4540" y="10087"/>
                  </a:lnTo>
                  <a:lnTo>
                    <a:pt x="4568" y="10026"/>
                  </a:lnTo>
                  <a:lnTo>
                    <a:pt x="4596" y="9964"/>
                  </a:lnTo>
                  <a:lnTo>
                    <a:pt x="4621" y="9904"/>
                  </a:lnTo>
                  <a:lnTo>
                    <a:pt x="4646" y="9845"/>
                  </a:lnTo>
                  <a:lnTo>
                    <a:pt x="4658" y="9817"/>
                  </a:lnTo>
                  <a:lnTo>
                    <a:pt x="4668" y="9789"/>
                  </a:lnTo>
                  <a:lnTo>
                    <a:pt x="4677" y="9763"/>
                  </a:lnTo>
                  <a:lnTo>
                    <a:pt x="4686" y="9739"/>
                  </a:lnTo>
                  <a:lnTo>
                    <a:pt x="4694" y="9716"/>
                  </a:lnTo>
                  <a:lnTo>
                    <a:pt x="4700" y="9694"/>
                  </a:lnTo>
                  <a:lnTo>
                    <a:pt x="4705" y="9675"/>
                  </a:lnTo>
                  <a:lnTo>
                    <a:pt x="4709" y="9657"/>
                  </a:lnTo>
                  <a:lnTo>
                    <a:pt x="4711" y="9642"/>
                  </a:lnTo>
                  <a:lnTo>
                    <a:pt x="4712" y="9628"/>
                  </a:lnTo>
                  <a:lnTo>
                    <a:pt x="4713" y="9604"/>
                  </a:lnTo>
                  <a:lnTo>
                    <a:pt x="4717" y="9576"/>
                  </a:lnTo>
                  <a:lnTo>
                    <a:pt x="4722" y="9546"/>
                  </a:lnTo>
                  <a:lnTo>
                    <a:pt x="4728" y="9512"/>
                  </a:lnTo>
                  <a:lnTo>
                    <a:pt x="4734" y="9476"/>
                  </a:lnTo>
                  <a:lnTo>
                    <a:pt x="4739" y="9436"/>
                  </a:lnTo>
                  <a:lnTo>
                    <a:pt x="4742" y="9394"/>
                  </a:lnTo>
                  <a:lnTo>
                    <a:pt x="4743" y="9348"/>
                  </a:lnTo>
                  <a:lnTo>
                    <a:pt x="4779" y="9366"/>
                  </a:lnTo>
                  <a:lnTo>
                    <a:pt x="4816" y="9382"/>
                  </a:lnTo>
                  <a:lnTo>
                    <a:pt x="4855" y="9398"/>
                  </a:lnTo>
                  <a:lnTo>
                    <a:pt x="4894" y="9412"/>
                  </a:lnTo>
                  <a:lnTo>
                    <a:pt x="4935" y="9426"/>
                  </a:lnTo>
                  <a:lnTo>
                    <a:pt x="4976" y="9439"/>
                  </a:lnTo>
                  <a:lnTo>
                    <a:pt x="5020" y="9450"/>
                  </a:lnTo>
                  <a:lnTo>
                    <a:pt x="5063" y="9462"/>
                  </a:lnTo>
                  <a:lnTo>
                    <a:pt x="5107" y="9471"/>
                  </a:lnTo>
                  <a:lnTo>
                    <a:pt x="5152" y="9479"/>
                  </a:lnTo>
                  <a:lnTo>
                    <a:pt x="5197" y="9486"/>
                  </a:lnTo>
                  <a:lnTo>
                    <a:pt x="5243" y="9493"/>
                  </a:lnTo>
                  <a:lnTo>
                    <a:pt x="5289" y="9498"/>
                  </a:lnTo>
                  <a:lnTo>
                    <a:pt x="5336" y="9502"/>
                  </a:lnTo>
                  <a:lnTo>
                    <a:pt x="5382" y="9504"/>
                  </a:lnTo>
                  <a:lnTo>
                    <a:pt x="5429" y="9504"/>
                  </a:lnTo>
                  <a:lnTo>
                    <a:pt x="5406" y="9540"/>
                  </a:lnTo>
                  <a:lnTo>
                    <a:pt x="5382" y="9575"/>
                  </a:lnTo>
                  <a:lnTo>
                    <a:pt x="5361" y="9613"/>
                  </a:lnTo>
                  <a:lnTo>
                    <a:pt x="5340" y="9652"/>
                  </a:lnTo>
                  <a:lnTo>
                    <a:pt x="5320" y="9694"/>
                  </a:lnTo>
                  <a:lnTo>
                    <a:pt x="5311" y="9717"/>
                  </a:lnTo>
                  <a:lnTo>
                    <a:pt x="5302" y="9741"/>
                  </a:lnTo>
                  <a:lnTo>
                    <a:pt x="5293" y="9765"/>
                  </a:lnTo>
                  <a:lnTo>
                    <a:pt x="5286" y="9791"/>
                  </a:lnTo>
                  <a:lnTo>
                    <a:pt x="5279" y="9819"/>
                  </a:lnTo>
                  <a:lnTo>
                    <a:pt x="5273" y="9847"/>
                  </a:lnTo>
                  <a:lnTo>
                    <a:pt x="5269" y="9894"/>
                  </a:lnTo>
                  <a:lnTo>
                    <a:pt x="5268" y="9942"/>
                  </a:lnTo>
                  <a:lnTo>
                    <a:pt x="5270" y="9991"/>
                  </a:lnTo>
                  <a:lnTo>
                    <a:pt x="5274" y="10041"/>
                  </a:lnTo>
                  <a:lnTo>
                    <a:pt x="5282" y="10091"/>
                  </a:lnTo>
                  <a:lnTo>
                    <a:pt x="5294" y="10142"/>
                  </a:lnTo>
                  <a:lnTo>
                    <a:pt x="5309" y="10195"/>
                  </a:lnTo>
                  <a:lnTo>
                    <a:pt x="5327" y="10249"/>
                  </a:lnTo>
                  <a:lnTo>
                    <a:pt x="5350" y="10303"/>
                  </a:lnTo>
                  <a:lnTo>
                    <a:pt x="5376" y="10359"/>
                  </a:lnTo>
                  <a:lnTo>
                    <a:pt x="5406" y="10415"/>
                  </a:lnTo>
                  <a:lnTo>
                    <a:pt x="5440" y="10473"/>
                  </a:lnTo>
                  <a:lnTo>
                    <a:pt x="5477" y="10533"/>
                  </a:lnTo>
                  <a:lnTo>
                    <a:pt x="5498" y="10564"/>
                  </a:lnTo>
                  <a:lnTo>
                    <a:pt x="5519" y="10594"/>
                  </a:lnTo>
                  <a:lnTo>
                    <a:pt x="5542" y="10625"/>
                  </a:lnTo>
                  <a:lnTo>
                    <a:pt x="5565" y="10656"/>
                  </a:lnTo>
                  <a:lnTo>
                    <a:pt x="5590" y="10687"/>
                  </a:lnTo>
                  <a:lnTo>
                    <a:pt x="5616" y="10719"/>
                  </a:lnTo>
                  <a:lnTo>
                    <a:pt x="5651" y="10763"/>
                  </a:lnTo>
                  <a:lnTo>
                    <a:pt x="5685" y="10805"/>
                  </a:lnTo>
                  <a:lnTo>
                    <a:pt x="5718" y="10846"/>
                  </a:lnTo>
                  <a:lnTo>
                    <a:pt x="5751" y="10886"/>
                  </a:lnTo>
                  <a:lnTo>
                    <a:pt x="5783" y="10924"/>
                  </a:lnTo>
                  <a:lnTo>
                    <a:pt x="5815" y="10962"/>
                  </a:lnTo>
                  <a:lnTo>
                    <a:pt x="5846" y="10998"/>
                  </a:lnTo>
                  <a:lnTo>
                    <a:pt x="5877" y="11033"/>
                  </a:lnTo>
                  <a:lnTo>
                    <a:pt x="5907" y="11067"/>
                  </a:lnTo>
                  <a:lnTo>
                    <a:pt x="5937" y="11100"/>
                  </a:lnTo>
                  <a:lnTo>
                    <a:pt x="5966" y="11131"/>
                  </a:lnTo>
                  <a:lnTo>
                    <a:pt x="5995" y="11162"/>
                  </a:lnTo>
                  <a:lnTo>
                    <a:pt x="6024" y="11190"/>
                  </a:lnTo>
                  <a:lnTo>
                    <a:pt x="6053" y="11218"/>
                  </a:lnTo>
                  <a:lnTo>
                    <a:pt x="6082" y="11244"/>
                  </a:lnTo>
                  <a:lnTo>
                    <a:pt x="6111" y="11269"/>
                  </a:lnTo>
                  <a:lnTo>
                    <a:pt x="6139" y="11292"/>
                  </a:lnTo>
                  <a:lnTo>
                    <a:pt x="6168" y="11315"/>
                  </a:lnTo>
                  <a:lnTo>
                    <a:pt x="6196" y="11335"/>
                  </a:lnTo>
                  <a:lnTo>
                    <a:pt x="6225" y="11354"/>
                  </a:lnTo>
                  <a:lnTo>
                    <a:pt x="6252" y="11372"/>
                  </a:lnTo>
                  <a:lnTo>
                    <a:pt x="6281" y="11388"/>
                  </a:lnTo>
                  <a:lnTo>
                    <a:pt x="6310" y="11403"/>
                  </a:lnTo>
                  <a:lnTo>
                    <a:pt x="6339" y="11417"/>
                  </a:lnTo>
                  <a:lnTo>
                    <a:pt x="6368" y="11428"/>
                  </a:lnTo>
                  <a:lnTo>
                    <a:pt x="6398" y="11438"/>
                  </a:lnTo>
                  <a:lnTo>
                    <a:pt x="6427" y="11448"/>
                  </a:lnTo>
                  <a:lnTo>
                    <a:pt x="6458" y="11455"/>
                  </a:lnTo>
                  <a:lnTo>
                    <a:pt x="6488" y="11460"/>
                  </a:lnTo>
                  <a:lnTo>
                    <a:pt x="6519" y="11464"/>
                  </a:lnTo>
                  <a:lnTo>
                    <a:pt x="6550" y="11466"/>
                  </a:lnTo>
                  <a:lnTo>
                    <a:pt x="6582" y="11467"/>
                  </a:lnTo>
                  <a:lnTo>
                    <a:pt x="6628" y="11466"/>
                  </a:lnTo>
                  <a:lnTo>
                    <a:pt x="6674" y="11460"/>
                  </a:lnTo>
                  <a:lnTo>
                    <a:pt x="6719" y="11452"/>
                  </a:lnTo>
                  <a:lnTo>
                    <a:pt x="6763" y="11440"/>
                  </a:lnTo>
                  <a:lnTo>
                    <a:pt x="6807" y="11427"/>
                  </a:lnTo>
                  <a:lnTo>
                    <a:pt x="6849" y="11410"/>
                  </a:lnTo>
                  <a:lnTo>
                    <a:pt x="6891" y="11391"/>
                  </a:lnTo>
                  <a:lnTo>
                    <a:pt x="6933" y="11370"/>
                  </a:lnTo>
                  <a:lnTo>
                    <a:pt x="6973" y="11348"/>
                  </a:lnTo>
                  <a:lnTo>
                    <a:pt x="7013" y="11323"/>
                  </a:lnTo>
                  <a:lnTo>
                    <a:pt x="7052" y="11297"/>
                  </a:lnTo>
                  <a:lnTo>
                    <a:pt x="7091" y="11270"/>
                  </a:lnTo>
                  <a:lnTo>
                    <a:pt x="7165" y="11214"/>
                  </a:lnTo>
                  <a:lnTo>
                    <a:pt x="7236" y="11156"/>
                  </a:lnTo>
                  <a:lnTo>
                    <a:pt x="7271" y="11131"/>
                  </a:lnTo>
                  <a:lnTo>
                    <a:pt x="7306" y="11105"/>
                  </a:lnTo>
                  <a:lnTo>
                    <a:pt x="7342" y="11076"/>
                  </a:lnTo>
                  <a:lnTo>
                    <a:pt x="7377" y="11047"/>
                  </a:lnTo>
                  <a:lnTo>
                    <a:pt x="7412" y="11018"/>
                  </a:lnTo>
                  <a:lnTo>
                    <a:pt x="7447" y="10989"/>
                  </a:lnTo>
                  <a:lnTo>
                    <a:pt x="7482" y="10962"/>
                  </a:lnTo>
                  <a:lnTo>
                    <a:pt x="7517" y="10938"/>
                  </a:lnTo>
                  <a:lnTo>
                    <a:pt x="7658" y="10820"/>
                  </a:lnTo>
                  <a:lnTo>
                    <a:pt x="7802" y="10703"/>
                  </a:lnTo>
                  <a:lnTo>
                    <a:pt x="7944" y="10583"/>
                  </a:lnTo>
                  <a:lnTo>
                    <a:pt x="8086" y="10462"/>
                  </a:lnTo>
                  <a:lnTo>
                    <a:pt x="8156" y="10401"/>
                  </a:lnTo>
                  <a:lnTo>
                    <a:pt x="8224" y="10338"/>
                  </a:lnTo>
                  <a:lnTo>
                    <a:pt x="8292" y="10274"/>
                  </a:lnTo>
                  <a:lnTo>
                    <a:pt x="8358" y="10210"/>
                  </a:lnTo>
                  <a:lnTo>
                    <a:pt x="8423" y="10145"/>
                  </a:lnTo>
                  <a:lnTo>
                    <a:pt x="8487" y="10078"/>
                  </a:lnTo>
                  <a:lnTo>
                    <a:pt x="8548" y="10010"/>
                  </a:lnTo>
                  <a:lnTo>
                    <a:pt x="8608" y="9941"/>
                  </a:lnTo>
                  <a:lnTo>
                    <a:pt x="8623" y="9921"/>
                  </a:lnTo>
                  <a:lnTo>
                    <a:pt x="8638" y="9900"/>
                  </a:lnTo>
                  <a:lnTo>
                    <a:pt x="8653" y="9878"/>
                  </a:lnTo>
                  <a:lnTo>
                    <a:pt x="8668" y="9855"/>
                  </a:lnTo>
                  <a:lnTo>
                    <a:pt x="8685" y="9831"/>
                  </a:lnTo>
                  <a:lnTo>
                    <a:pt x="8700" y="9807"/>
                  </a:lnTo>
                  <a:lnTo>
                    <a:pt x="8733" y="9754"/>
                  </a:lnTo>
                  <a:lnTo>
                    <a:pt x="8766" y="9698"/>
                  </a:lnTo>
                  <a:lnTo>
                    <a:pt x="8799" y="9638"/>
                  </a:lnTo>
                  <a:lnTo>
                    <a:pt x="8834" y="9575"/>
                  </a:lnTo>
                  <a:lnTo>
                    <a:pt x="8868" y="9510"/>
                  </a:lnTo>
                  <a:lnTo>
                    <a:pt x="8903" y="9442"/>
                  </a:lnTo>
                  <a:lnTo>
                    <a:pt x="8939" y="9372"/>
                  </a:lnTo>
                  <a:lnTo>
                    <a:pt x="8975" y="9300"/>
                  </a:lnTo>
                  <a:lnTo>
                    <a:pt x="9010" y="9227"/>
                  </a:lnTo>
                  <a:lnTo>
                    <a:pt x="9045" y="9153"/>
                  </a:lnTo>
                  <a:lnTo>
                    <a:pt x="9080" y="9076"/>
                  </a:lnTo>
                  <a:lnTo>
                    <a:pt x="9149" y="8924"/>
                  </a:lnTo>
                  <a:lnTo>
                    <a:pt x="9217" y="8770"/>
                  </a:lnTo>
                  <a:lnTo>
                    <a:pt x="9250" y="8694"/>
                  </a:lnTo>
                  <a:lnTo>
                    <a:pt x="9282" y="8619"/>
                  </a:lnTo>
                  <a:lnTo>
                    <a:pt x="9313" y="8545"/>
                  </a:lnTo>
                  <a:lnTo>
                    <a:pt x="9343" y="8473"/>
                  </a:lnTo>
                  <a:lnTo>
                    <a:pt x="9373" y="8402"/>
                  </a:lnTo>
                  <a:lnTo>
                    <a:pt x="9401" y="8333"/>
                  </a:lnTo>
                  <a:lnTo>
                    <a:pt x="9428" y="8266"/>
                  </a:lnTo>
                  <a:lnTo>
                    <a:pt x="9454" y="8201"/>
                  </a:lnTo>
                  <a:lnTo>
                    <a:pt x="9477" y="8139"/>
                  </a:lnTo>
                  <a:lnTo>
                    <a:pt x="9500" y="8081"/>
                  </a:lnTo>
                  <a:lnTo>
                    <a:pt x="9522" y="8026"/>
                  </a:lnTo>
                  <a:lnTo>
                    <a:pt x="9540" y="7974"/>
                  </a:lnTo>
                  <a:lnTo>
                    <a:pt x="9550" y="7951"/>
                  </a:lnTo>
                  <a:lnTo>
                    <a:pt x="9558" y="7927"/>
                  </a:lnTo>
                  <a:lnTo>
                    <a:pt x="9566" y="7905"/>
                  </a:lnTo>
                  <a:lnTo>
                    <a:pt x="9573" y="7884"/>
                  </a:lnTo>
                  <a:lnTo>
                    <a:pt x="9644" y="7942"/>
                  </a:lnTo>
                  <a:lnTo>
                    <a:pt x="9714" y="7999"/>
                  </a:lnTo>
                  <a:lnTo>
                    <a:pt x="9784" y="8055"/>
                  </a:lnTo>
                  <a:lnTo>
                    <a:pt x="9819" y="8080"/>
                  </a:lnTo>
                  <a:lnTo>
                    <a:pt x="9854" y="8106"/>
                  </a:lnTo>
                  <a:lnTo>
                    <a:pt x="9889" y="8130"/>
                  </a:lnTo>
                  <a:lnTo>
                    <a:pt x="9924" y="8153"/>
                  </a:lnTo>
                  <a:lnTo>
                    <a:pt x="9960" y="8175"/>
                  </a:lnTo>
                  <a:lnTo>
                    <a:pt x="9995" y="8195"/>
                  </a:lnTo>
                  <a:lnTo>
                    <a:pt x="10030" y="8213"/>
                  </a:lnTo>
                  <a:lnTo>
                    <a:pt x="10065" y="8231"/>
                  </a:lnTo>
                  <a:lnTo>
                    <a:pt x="10100" y="8245"/>
                  </a:lnTo>
                  <a:lnTo>
                    <a:pt x="10135" y="8258"/>
                  </a:lnTo>
                  <a:lnTo>
                    <a:pt x="10205" y="8281"/>
                  </a:lnTo>
                  <a:lnTo>
                    <a:pt x="10274" y="8304"/>
                  </a:lnTo>
                  <a:lnTo>
                    <a:pt x="10344" y="8324"/>
                  </a:lnTo>
                  <a:lnTo>
                    <a:pt x="10412" y="8343"/>
                  </a:lnTo>
                  <a:lnTo>
                    <a:pt x="10478" y="8359"/>
                  </a:lnTo>
                  <a:lnTo>
                    <a:pt x="10511" y="8366"/>
                  </a:lnTo>
                  <a:lnTo>
                    <a:pt x="10543" y="8372"/>
                  </a:lnTo>
                  <a:lnTo>
                    <a:pt x="10574" y="8376"/>
                  </a:lnTo>
                  <a:lnTo>
                    <a:pt x="10605" y="8380"/>
                  </a:lnTo>
                  <a:lnTo>
                    <a:pt x="10636" y="8382"/>
                  </a:lnTo>
                  <a:lnTo>
                    <a:pt x="10665" y="8382"/>
                  </a:lnTo>
                  <a:lnTo>
                    <a:pt x="10706" y="8382"/>
                  </a:lnTo>
                  <a:lnTo>
                    <a:pt x="10745" y="8380"/>
                  </a:lnTo>
                  <a:lnTo>
                    <a:pt x="10785" y="8377"/>
                  </a:lnTo>
                  <a:lnTo>
                    <a:pt x="10825" y="8372"/>
                  </a:lnTo>
                  <a:lnTo>
                    <a:pt x="10863" y="8367"/>
                  </a:lnTo>
                  <a:lnTo>
                    <a:pt x="10901" y="8359"/>
                  </a:lnTo>
                  <a:lnTo>
                    <a:pt x="10938" y="8351"/>
                  </a:lnTo>
                  <a:lnTo>
                    <a:pt x="10975" y="8342"/>
                  </a:lnTo>
                  <a:lnTo>
                    <a:pt x="11011" y="8331"/>
                  </a:lnTo>
                  <a:lnTo>
                    <a:pt x="11048" y="8318"/>
                  </a:lnTo>
                  <a:lnTo>
                    <a:pt x="11083" y="8305"/>
                  </a:lnTo>
                  <a:lnTo>
                    <a:pt x="11118" y="8290"/>
                  </a:lnTo>
                  <a:lnTo>
                    <a:pt x="11152" y="8274"/>
                  </a:lnTo>
                  <a:lnTo>
                    <a:pt x="11186" y="8258"/>
                  </a:lnTo>
                  <a:lnTo>
                    <a:pt x="11220" y="8239"/>
                  </a:lnTo>
                  <a:lnTo>
                    <a:pt x="11253" y="8218"/>
                  </a:lnTo>
                  <a:lnTo>
                    <a:pt x="11286" y="8198"/>
                  </a:lnTo>
                  <a:lnTo>
                    <a:pt x="11318" y="8175"/>
                  </a:lnTo>
                  <a:lnTo>
                    <a:pt x="11349" y="8151"/>
                  </a:lnTo>
                  <a:lnTo>
                    <a:pt x="11381" y="8127"/>
                  </a:lnTo>
                  <a:lnTo>
                    <a:pt x="11412" y="8101"/>
                  </a:lnTo>
                  <a:lnTo>
                    <a:pt x="11442" y="8073"/>
                  </a:lnTo>
                  <a:lnTo>
                    <a:pt x="11472" y="8044"/>
                  </a:lnTo>
                  <a:lnTo>
                    <a:pt x="11502" y="8014"/>
                  </a:lnTo>
                  <a:lnTo>
                    <a:pt x="11531" y="7982"/>
                  </a:lnTo>
                  <a:lnTo>
                    <a:pt x="11560" y="7951"/>
                  </a:lnTo>
                  <a:lnTo>
                    <a:pt x="11587" y="7917"/>
                  </a:lnTo>
                  <a:lnTo>
                    <a:pt x="11616" y="7882"/>
                  </a:lnTo>
                  <a:lnTo>
                    <a:pt x="11643" y="7844"/>
                  </a:lnTo>
                  <a:lnTo>
                    <a:pt x="11671" y="7807"/>
                  </a:lnTo>
                  <a:lnTo>
                    <a:pt x="11698" y="7768"/>
                  </a:lnTo>
                  <a:lnTo>
                    <a:pt x="11724" y="7728"/>
                  </a:lnTo>
                  <a:lnTo>
                    <a:pt x="11746" y="7693"/>
                  </a:lnTo>
                  <a:lnTo>
                    <a:pt x="11768" y="7658"/>
                  </a:lnTo>
                  <a:lnTo>
                    <a:pt x="11788" y="7623"/>
                  </a:lnTo>
                  <a:lnTo>
                    <a:pt x="11806" y="7589"/>
                  </a:lnTo>
                  <a:lnTo>
                    <a:pt x="11824" y="7555"/>
                  </a:lnTo>
                  <a:lnTo>
                    <a:pt x="11839" y="7522"/>
                  </a:lnTo>
                  <a:lnTo>
                    <a:pt x="11855" y="7490"/>
                  </a:lnTo>
                  <a:lnTo>
                    <a:pt x="11868" y="7459"/>
                  </a:lnTo>
                  <a:lnTo>
                    <a:pt x="11881" y="7429"/>
                  </a:lnTo>
                  <a:lnTo>
                    <a:pt x="11893" y="7401"/>
                  </a:lnTo>
                  <a:lnTo>
                    <a:pt x="11903" y="7373"/>
                  </a:lnTo>
                  <a:lnTo>
                    <a:pt x="11913" y="7347"/>
                  </a:lnTo>
                  <a:lnTo>
                    <a:pt x="11921" y="7322"/>
                  </a:lnTo>
                  <a:lnTo>
                    <a:pt x="11929" y="7300"/>
                  </a:lnTo>
                  <a:lnTo>
                    <a:pt x="11936" y="7279"/>
                  </a:lnTo>
                  <a:lnTo>
                    <a:pt x="11943" y="7260"/>
                  </a:lnTo>
                  <a:lnTo>
                    <a:pt x="12038" y="7282"/>
                  </a:lnTo>
                  <a:lnTo>
                    <a:pt x="12135" y="7302"/>
                  </a:lnTo>
                  <a:lnTo>
                    <a:pt x="12235" y="7317"/>
                  </a:lnTo>
                  <a:lnTo>
                    <a:pt x="12336" y="7330"/>
                  </a:lnTo>
                  <a:lnTo>
                    <a:pt x="12439" y="7341"/>
                  </a:lnTo>
                  <a:lnTo>
                    <a:pt x="12543" y="7348"/>
                  </a:lnTo>
                  <a:lnTo>
                    <a:pt x="12648" y="7352"/>
                  </a:lnTo>
                  <a:lnTo>
                    <a:pt x="12753" y="7354"/>
                  </a:lnTo>
                  <a:lnTo>
                    <a:pt x="12846" y="7354"/>
                  </a:lnTo>
                  <a:lnTo>
                    <a:pt x="12899" y="7353"/>
                  </a:lnTo>
                  <a:lnTo>
                    <a:pt x="12951" y="7351"/>
                  </a:lnTo>
                  <a:lnTo>
                    <a:pt x="13004" y="7347"/>
                  </a:lnTo>
                  <a:lnTo>
                    <a:pt x="13056" y="7341"/>
                  </a:lnTo>
                  <a:lnTo>
                    <a:pt x="13109" y="7334"/>
                  </a:lnTo>
                  <a:lnTo>
                    <a:pt x="13161" y="7324"/>
                  </a:lnTo>
                  <a:lnTo>
                    <a:pt x="13213" y="7314"/>
                  </a:lnTo>
                  <a:lnTo>
                    <a:pt x="13265" y="7303"/>
                  </a:lnTo>
                  <a:lnTo>
                    <a:pt x="13318" y="7288"/>
                  </a:lnTo>
                  <a:lnTo>
                    <a:pt x="13369" y="7274"/>
                  </a:lnTo>
                  <a:lnTo>
                    <a:pt x="13421" y="7257"/>
                  </a:lnTo>
                  <a:lnTo>
                    <a:pt x="13472" y="7239"/>
                  </a:lnTo>
                  <a:lnTo>
                    <a:pt x="13524" y="7219"/>
                  </a:lnTo>
                  <a:lnTo>
                    <a:pt x="13575" y="7198"/>
                  </a:lnTo>
                  <a:lnTo>
                    <a:pt x="13625" y="7175"/>
                  </a:lnTo>
                  <a:lnTo>
                    <a:pt x="13676" y="7151"/>
                  </a:lnTo>
                  <a:lnTo>
                    <a:pt x="13726" y="7125"/>
                  </a:lnTo>
                  <a:lnTo>
                    <a:pt x="13776" y="7099"/>
                  </a:lnTo>
                  <a:lnTo>
                    <a:pt x="13826" y="7070"/>
                  </a:lnTo>
                  <a:lnTo>
                    <a:pt x="13875" y="7040"/>
                  </a:lnTo>
                  <a:lnTo>
                    <a:pt x="13925" y="7009"/>
                  </a:lnTo>
                  <a:lnTo>
                    <a:pt x="13973" y="6976"/>
                  </a:lnTo>
                  <a:lnTo>
                    <a:pt x="14022" y="6942"/>
                  </a:lnTo>
                  <a:lnTo>
                    <a:pt x="14069" y="6907"/>
                  </a:lnTo>
                  <a:lnTo>
                    <a:pt x="14117" y="6870"/>
                  </a:lnTo>
                  <a:lnTo>
                    <a:pt x="14164" y="6832"/>
                  </a:lnTo>
                  <a:lnTo>
                    <a:pt x="14211" y="6792"/>
                  </a:lnTo>
                  <a:lnTo>
                    <a:pt x="14256" y="6752"/>
                  </a:lnTo>
                  <a:lnTo>
                    <a:pt x="14302" y="6709"/>
                  </a:lnTo>
                  <a:lnTo>
                    <a:pt x="14347" y="6666"/>
                  </a:lnTo>
                  <a:lnTo>
                    <a:pt x="14392" y="6621"/>
                  </a:lnTo>
                  <a:lnTo>
                    <a:pt x="14436" y="6574"/>
                  </a:lnTo>
                  <a:lnTo>
                    <a:pt x="14502" y="6500"/>
                  </a:lnTo>
                  <a:lnTo>
                    <a:pt x="14566" y="6424"/>
                  </a:lnTo>
                  <a:lnTo>
                    <a:pt x="14629" y="6345"/>
                  </a:lnTo>
                  <a:lnTo>
                    <a:pt x="14689" y="6264"/>
                  </a:lnTo>
                  <a:lnTo>
                    <a:pt x="14746" y="6181"/>
                  </a:lnTo>
                  <a:lnTo>
                    <a:pt x="14802" y="6095"/>
                  </a:lnTo>
                  <a:lnTo>
                    <a:pt x="14856" y="6008"/>
                  </a:lnTo>
                  <a:lnTo>
                    <a:pt x="14907" y="5918"/>
                  </a:lnTo>
                  <a:lnTo>
                    <a:pt x="14957" y="5826"/>
                  </a:lnTo>
                  <a:lnTo>
                    <a:pt x="15004" y="5732"/>
                  </a:lnTo>
                  <a:lnTo>
                    <a:pt x="15050" y="5636"/>
                  </a:lnTo>
                  <a:lnTo>
                    <a:pt x="15092" y="5539"/>
                  </a:lnTo>
                  <a:lnTo>
                    <a:pt x="15133" y="5439"/>
                  </a:lnTo>
                  <a:lnTo>
                    <a:pt x="15172" y="5337"/>
                  </a:lnTo>
                  <a:lnTo>
                    <a:pt x="15208" y="5234"/>
                  </a:lnTo>
                  <a:lnTo>
                    <a:pt x="15242" y="5129"/>
                  </a:lnTo>
                  <a:lnTo>
                    <a:pt x="15274" y="5023"/>
                  </a:lnTo>
                  <a:lnTo>
                    <a:pt x="15303" y="4914"/>
                  </a:lnTo>
                  <a:lnTo>
                    <a:pt x="15331" y="4804"/>
                  </a:lnTo>
                  <a:lnTo>
                    <a:pt x="15355" y="4693"/>
                  </a:lnTo>
                  <a:lnTo>
                    <a:pt x="15377" y="4579"/>
                  </a:lnTo>
                  <a:lnTo>
                    <a:pt x="15398" y="4464"/>
                  </a:lnTo>
                  <a:lnTo>
                    <a:pt x="15415" y="4348"/>
                  </a:lnTo>
                  <a:lnTo>
                    <a:pt x="15431" y="4230"/>
                  </a:lnTo>
                  <a:lnTo>
                    <a:pt x="15443" y="4111"/>
                  </a:lnTo>
                  <a:lnTo>
                    <a:pt x="15454" y="3990"/>
                  </a:lnTo>
                  <a:lnTo>
                    <a:pt x="15462" y="3868"/>
                  </a:lnTo>
                  <a:lnTo>
                    <a:pt x="15467" y="3745"/>
                  </a:lnTo>
                  <a:lnTo>
                    <a:pt x="15470" y="3621"/>
                  </a:lnTo>
                  <a:lnTo>
                    <a:pt x="15471" y="3496"/>
                  </a:lnTo>
                  <a:lnTo>
                    <a:pt x="15469" y="3369"/>
                  </a:lnTo>
                  <a:lnTo>
                    <a:pt x="15464" y="3240"/>
                  </a:lnTo>
                  <a:lnTo>
                    <a:pt x="15460" y="3150"/>
                  </a:lnTo>
                  <a:lnTo>
                    <a:pt x="15455" y="3060"/>
                  </a:lnTo>
                  <a:lnTo>
                    <a:pt x="15448" y="2971"/>
                  </a:lnTo>
                  <a:lnTo>
                    <a:pt x="15441" y="2885"/>
                  </a:lnTo>
                  <a:lnTo>
                    <a:pt x="15435" y="2799"/>
                  </a:lnTo>
                  <a:lnTo>
                    <a:pt x="15427" y="2716"/>
                  </a:lnTo>
                  <a:lnTo>
                    <a:pt x="15418" y="2633"/>
                  </a:lnTo>
                  <a:lnTo>
                    <a:pt x="15409" y="2553"/>
                  </a:lnTo>
                  <a:lnTo>
                    <a:pt x="15400" y="2475"/>
                  </a:lnTo>
                  <a:lnTo>
                    <a:pt x="15390" y="2397"/>
                  </a:lnTo>
                  <a:lnTo>
                    <a:pt x="15379" y="2321"/>
                  </a:lnTo>
                  <a:lnTo>
                    <a:pt x="15369" y="2246"/>
                  </a:lnTo>
                  <a:lnTo>
                    <a:pt x="15356" y="2174"/>
                  </a:lnTo>
                  <a:lnTo>
                    <a:pt x="15345" y="2102"/>
                  </a:lnTo>
                  <a:lnTo>
                    <a:pt x="15332" y="2032"/>
                  </a:lnTo>
                  <a:lnTo>
                    <a:pt x="15319" y="1964"/>
                  </a:lnTo>
                  <a:lnTo>
                    <a:pt x="15306" y="1897"/>
                  </a:lnTo>
                  <a:lnTo>
                    <a:pt x="15291" y="1832"/>
                  </a:lnTo>
                  <a:lnTo>
                    <a:pt x="15277" y="1768"/>
                  </a:lnTo>
                  <a:lnTo>
                    <a:pt x="15261" y="1705"/>
                  </a:lnTo>
                  <a:lnTo>
                    <a:pt x="15247" y="1645"/>
                  </a:lnTo>
                  <a:lnTo>
                    <a:pt x="15231" y="1585"/>
                  </a:lnTo>
                  <a:lnTo>
                    <a:pt x="15214" y="1527"/>
                  </a:lnTo>
                  <a:lnTo>
                    <a:pt x="15197" y="1471"/>
                  </a:lnTo>
                  <a:lnTo>
                    <a:pt x="15181" y="1415"/>
                  </a:lnTo>
                  <a:lnTo>
                    <a:pt x="15163" y="1361"/>
                  </a:lnTo>
                  <a:lnTo>
                    <a:pt x="15146" y="1310"/>
                  </a:lnTo>
                  <a:lnTo>
                    <a:pt x="15127" y="1258"/>
                  </a:lnTo>
                  <a:lnTo>
                    <a:pt x="15109" y="1210"/>
                  </a:lnTo>
                  <a:lnTo>
                    <a:pt x="15090" y="1162"/>
                  </a:lnTo>
                  <a:lnTo>
                    <a:pt x="15071" y="1115"/>
                  </a:lnTo>
                  <a:lnTo>
                    <a:pt x="15051" y="1071"/>
                  </a:lnTo>
                  <a:lnTo>
                    <a:pt x="15031" y="1027"/>
                  </a:lnTo>
                  <a:lnTo>
                    <a:pt x="15011" y="985"/>
                  </a:lnTo>
                  <a:lnTo>
                    <a:pt x="14991" y="944"/>
                  </a:lnTo>
                  <a:lnTo>
                    <a:pt x="14969" y="905"/>
                  </a:lnTo>
                  <a:lnTo>
                    <a:pt x="14949" y="867"/>
                  </a:lnTo>
                  <a:lnTo>
                    <a:pt x="14927" y="831"/>
                  </a:lnTo>
                  <a:lnTo>
                    <a:pt x="14905" y="796"/>
                  </a:lnTo>
                  <a:lnTo>
                    <a:pt x="14884" y="763"/>
                  </a:lnTo>
                  <a:lnTo>
                    <a:pt x="14862" y="731"/>
                  </a:lnTo>
                  <a:lnTo>
                    <a:pt x="14839" y="700"/>
                  </a:lnTo>
                  <a:lnTo>
                    <a:pt x="14817" y="670"/>
                  </a:lnTo>
                  <a:lnTo>
                    <a:pt x="14794" y="642"/>
                  </a:lnTo>
                  <a:lnTo>
                    <a:pt x="14771" y="617"/>
                  </a:lnTo>
                  <a:lnTo>
                    <a:pt x="14748" y="591"/>
                  </a:lnTo>
                  <a:lnTo>
                    <a:pt x="14725" y="567"/>
                  </a:lnTo>
                  <a:lnTo>
                    <a:pt x="14702" y="546"/>
                  </a:lnTo>
                  <a:lnTo>
                    <a:pt x="14678" y="524"/>
                  </a:lnTo>
                  <a:lnTo>
                    <a:pt x="14654" y="504"/>
                  </a:lnTo>
                  <a:lnTo>
                    <a:pt x="14630" y="487"/>
                  </a:lnTo>
                  <a:lnTo>
                    <a:pt x="14606" y="469"/>
                  </a:lnTo>
                  <a:lnTo>
                    <a:pt x="14582" y="454"/>
                  </a:lnTo>
                  <a:lnTo>
                    <a:pt x="14557" y="440"/>
                  </a:lnTo>
                  <a:lnTo>
                    <a:pt x="14534" y="427"/>
                  </a:lnTo>
                  <a:lnTo>
                    <a:pt x="14509" y="416"/>
                  </a:lnTo>
                  <a:lnTo>
                    <a:pt x="14484" y="405"/>
                  </a:lnTo>
                  <a:lnTo>
                    <a:pt x="14459" y="397"/>
                  </a:lnTo>
                  <a:lnTo>
                    <a:pt x="14435" y="390"/>
                  </a:lnTo>
                  <a:lnTo>
                    <a:pt x="14410" y="384"/>
                  </a:lnTo>
                  <a:lnTo>
                    <a:pt x="14385" y="380"/>
                  </a:lnTo>
                  <a:lnTo>
                    <a:pt x="14360" y="376"/>
                  </a:lnTo>
                  <a:lnTo>
                    <a:pt x="14336" y="374"/>
                  </a:lnTo>
                  <a:lnTo>
                    <a:pt x="14311" y="374"/>
                  </a:lnTo>
                  <a:lnTo>
                    <a:pt x="14280" y="374"/>
                  </a:lnTo>
                  <a:lnTo>
                    <a:pt x="14251" y="377"/>
                  </a:lnTo>
                  <a:lnTo>
                    <a:pt x="14223" y="381"/>
                  </a:lnTo>
                  <a:lnTo>
                    <a:pt x="14170" y="393"/>
                  </a:lnTo>
                  <a:lnTo>
                    <a:pt x="14121" y="409"/>
                  </a:lnTo>
                  <a:lnTo>
                    <a:pt x="14074" y="428"/>
                  </a:lnTo>
                  <a:lnTo>
                    <a:pt x="14031" y="450"/>
                  </a:lnTo>
                  <a:lnTo>
                    <a:pt x="13990" y="473"/>
                  </a:lnTo>
                  <a:lnTo>
                    <a:pt x="13953" y="500"/>
                  </a:lnTo>
                  <a:lnTo>
                    <a:pt x="13917" y="529"/>
                  </a:lnTo>
                  <a:lnTo>
                    <a:pt x="13885" y="559"/>
                  </a:lnTo>
                  <a:lnTo>
                    <a:pt x="13855" y="590"/>
                  </a:lnTo>
                  <a:lnTo>
                    <a:pt x="13828" y="622"/>
                  </a:lnTo>
                  <a:lnTo>
                    <a:pt x="13802" y="654"/>
                  </a:lnTo>
                  <a:lnTo>
                    <a:pt x="13779" y="686"/>
                  </a:lnTo>
                  <a:lnTo>
                    <a:pt x="13757" y="718"/>
                  </a:lnTo>
                  <a:lnTo>
                    <a:pt x="13737" y="748"/>
                  </a:lnTo>
                  <a:lnTo>
                    <a:pt x="13719" y="778"/>
                  </a:lnTo>
                  <a:lnTo>
                    <a:pt x="13706" y="803"/>
                  </a:lnTo>
                  <a:lnTo>
                    <a:pt x="13690" y="829"/>
                  </a:lnTo>
                  <a:lnTo>
                    <a:pt x="13674" y="857"/>
                  </a:lnTo>
                  <a:lnTo>
                    <a:pt x="13656" y="883"/>
                  </a:lnTo>
                  <a:lnTo>
                    <a:pt x="13639" y="909"/>
                  </a:lnTo>
                  <a:lnTo>
                    <a:pt x="13622" y="932"/>
                  </a:lnTo>
                  <a:lnTo>
                    <a:pt x="13615" y="942"/>
                  </a:lnTo>
                  <a:lnTo>
                    <a:pt x="13607" y="951"/>
                  </a:lnTo>
                  <a:lnTo>
                    <a:pt x="13600" y="959"/>
                  </a:lnTo>
                  <a:lnTo>
                    <a:pt x="13594" y="966"/>
                  </a:lnTo>
                  <a:lnTo>
                    <a:pt x="13559" y="987"/>
                  </a:lnTo>
                  <a:lnTo>
                    <a:pt x="13524" y="1007"/>
                  </a:lnTo>
                  <a:lnTo>
                    <a:pt x="13489" y="1025"/>
                  </a:lnTo>
                  <a:lnTo>
                    <a:pt x="13454" y="1040"/>
                  </a:lnTo>
                  <a:lnTo>
                    <a:pt x="13419" y="1053"/>
                  </a:lnTo>
                  <a:lnTo>
                    <a:pt x="13384" y="1067"/>
                  </a:lnTo>
                  <a:lnTo>
                    <a:pt x="13314" y="1090"/>
                  </a:lnTo>
                  <a:lnTo>
                    <a:pt x="13266" y="1112"/>
                  </a:lnTo>
                  <a:lnTo>
                    <a:pt x="13214" y="1134"/>
                  </a:lnTo>
                  <a:lnTo>
                    <a:pt x="13162" y="1157"/>
                  </a:lnTo>
                  <a:lnTo>
                    <a:pt x="13135" y="1170"/>
                  </a:lnTo>
                  <a:lnTo>
                    <a:pt x="13107" y="1183"/>
                  </a:lnTo>
                  <a:lnTo>
                    <a:pt x="13079" y="1199"/>
                  </a:lnTo>
                  <a:lnTo>
                    <a:pt x="13051" y="1216"/>
                  </a:lnTo>
                  <a:lnTo>
                    <a:pt x="13022" y="1235"/>
                  </a:lnTo>
                  <a:lnTo>
                    <a:pt x="12993" y="1256"/>
                  </a:lnTo>
                  <a:lnTo>
                    <a:pt x="12965" y="1280"/>
                  </a:lnTo>
                  <a:lnTo>
                    <a:pt x="12936" y="1307"/>
                  </a:lnTo>
                  <a:lnTo>
                    <a:pt x="12907" y="1337"/>
                  </a:lnTo>
                  <a:lnTo>
                    <a:pt x="12878" y="1371"/>
                  </a:lnTo>
                  <a:lnTo>
                    <a:pt x="12858" y="1391"/>
                  </a:lnTo>
                  <a:lnTo>
                    <a:pt x="12840" y="1412"/>
                  </a:lnTo>
                  <a:lnTo>
                    <a:pt x="12823" y="1433"/>
                  </a:lnTo>
                  <a:lnTo>
                    <a:pt x="12809" y="1455"/>
                  </a:lnTo>
                  <a:lnTo>
                    <a:pt x="12795" y="1477"/>
                  </a:lnTo>
                  <a:lnTo>
                    <a:pt x="12783" y="1499"/>
                  </a:lnTo>
                  <a:lnTo>
                    <a:pt x="12772" y="1522"/>
                  </a:lnTo>
                  <a:lnTo>
                    <a:pt x="12762" y="1545"/>
                  </a:lnTo>
                  <a:lnTo>
                    <a:pt x="12754" y="1568"/>
                  </a:lnTo>
                  <a:lnTo>
                    <a:pt x="12747" y="1591"/>
                  </a:lnTo>
                  <a:lnTo>
                    <a:pt x="12741" y="1615"/>
                  </a:lnTo>
                  <a:lnTo>
                    <a:pt x="12735" y="1638"/>
                  </a:lnTo>
                  <a:lnTo>
                    <a:pt x="12729" y="1688"/>
                  </a:lnTo>
                  <a:lnTo>
                    <a:pt x="12725" y="1736"/>
                  </a:lnTo>
                  <a:lnTo>
                    <a:pt x="12726" y="1787"/>
                  </a:lnTo>
                  <a:lnTo>
                    <a:pt x="12728" y="1837"/>
                  </a:lnTo>
                  <a:lnTo>
                    <a:pt x="12734" y="1889"/>
                  </a:lnTo>
                  <a:lnTo>
                    <a:pt x="12742" y="1940"/>
                  </a:lnTo>
                  <a:lnTo>
                    <a:pt x="12751" y="1992"/>
                  </a:lnTo>
                  <a:lnTo>
                    <a:pt x="12761" y="2044"/>
                  </a:lnTo>
                  <a:lnTo>
                    <a:pt x="12784" y="2149"/>
                  </a:lnTo>
                  <a:lnTo>
                    <a:pt x="12795" y="2203"/>
                  </a:lnTo>
                  <a:lnTo>
                    <a:pt x="12809" y="2260"/>
                  </a:lnTo>
                  <a:lnTo>
                    <a:pt x="12821" y="2318"/>
                  </a:lnTo>
                  <a:lnTo>
                    <a:pt x="12835" y="2379"/>
                  </a:lnTo>
                  <a:lnTo>
                    <a:pt x="12847" y="2444"/>
                  </a:lnTo>
                  <a:lnTo>
                    <a:pt x="12859" y="2511"/>
                  </a:lnTo>
                  <a:lnTo>
                    <a:pt x="12871" y="2582"/>
                  </a:lnTo>
                  <a:lnTo>
                    <a:pt x="12881" y="2656"/>
                  </a:lnTo>
                  <a:lnTo>
                    <a:pt x="12891" y="2733"/>
                  </a:lnTo>
                  <a:lnTo>
                    <a:pt x="12900" y="2815"/>
                  </a:lnTo>
                  <a:lnTo>
                    <a:pt x="12903" y="2858"/>
                  </a:lnTo>
                  <a:lnTo>
                    <a:pt x="12906" y="2901"/>
                  </a:lnTo>
                  <a:lnTo>
                    <a:pt x="12909" y="2946"/>
                  </a:lnTo>
                  <a:lnTo>
                    <a:pt x="12911" y="2991"/>
                  </a:lnTo>
                  <a:lnTo>
                    <a:pt x="12913" y="3037"/>
                  </a:lnTo>
                  <a:lnTo>
                    <a:pt x="12914" y="3085"/>
                  </a:lnTo>
                  <a:lnTo>
                    <a:pt x="12915" y="3134"/>
                  </a:lnTo>
                  <a:lnTo>
                    <a:pt x="12915" y="3184"/>
                  </a:lnTo>
                  <a:lnTo>
                    <a:pt x="12914" y="3235"/>
                  </a:lnTo>
                  <a:lnTo>
                    <a:pt x="12913" y="3288"/>
                  </a:lnTo>
                  <a:lnTo>
                    <a:pt x="12911" y="3341"/>
                  </a:lnTo>
                  <a:lnTo>
                    <a:pt x="12909" y="3396"/>
                  </a:lnTo>
                  <a:lnTo>
                    <a:pt x="12901" y="3396"/>
                  </a:lnTo>
                  <a:lnTo>
                    <a:pt x="12890" y="3396"/>
                  </a:lnTo>
                  <a:lnTo>
                    <a:pt x="12869" y="3392"/>
                  </a:lnTo>
                  <a:lnTo>
                    <a:pt x="12843" y="3384"/>
                  </a:lnTo>
                  <a:lnTo>
                    <a:pt x="12815" y="3375"/>
                  </a:lnTo>
                  <a:lnTo>
                    <a:pt x="12785" y="3362"/>
                  </a:lnTo>
                  <a:lnTo>
                    <a:pt x="12754" y="3345"/>
                  </a:lnTo>
                  <a:lnTo>
                    <a:pt x="12722" y="3326"/>
                  </a:lnTo>
                  <a:lnTo>
                    <a:pt x="12690" y="3303"/>
                  </a:lnTo>
                  <a:lnTo>
                    <a:pt x="12690" y="3302"/>
                  </a:lnTo>
                  <a:lnTo>
                    <a:pt x="12688" y="3300"/>
                  </a:lnTo>
                  <a:lnTo>
                    <a:pt x="12685" y="3296"/>
                  </a:lnTo>
                  <a:lnTo>
                    <a:pt x="12681" y="3291"/>
                  </a:lnTo>
                  <a:lnTo>
                    <a:pt x="12676" y="3284"/>
                  </a:lnTo>
                  <a:lnTo>
                    <a:pt x="12669" y="3276"/>
                  </a:lnTo>
                  <a:lnTo>
                    <a:pt x="12662" y="3268"/>
                  </a:lnTo>
                  <a:lnTo>
                    <a:pt x="12654" y="3258"/>
                  </a:lnTo>
                  <a:lnTo>
                    <a:pt x="12636" y="3236"/>
                  </a:lnTo>
                  <a:lnTo>
                    <a:pt x="12615" y="3210"/>
                  </a:lnTo>
                  <a:lnTo>
                    <a:pt x="12591" y="3184"/>
                  </a:lnTo>
                  <a:lnTo>
                    <a:pt x="12566" y="3155"/>
                  </a:lnTo>
                  <a:lnTo>
                    <a:pt x="12539" y="3125"/>
                  </a:lnTo>
                  <a:lnTo>
                    <a:pt x="12511" y="3096"/>
                  </a:lnTo>
                  <a:lnTo>
                    <a:pt x="12482" y="3067"/>
                  </a:lnTo>
                  <a:lnTo>
                    <a:pt x="12454" y="3039"/>
                  </a:lnTo>
                  <a:lnTo>
                    <a:pt x="12426" y="3015"/>
                  </a:lnTo>
                  <a:lnTo>
                    <a:pt x="12398" y="2992"/>
                  </a:lnTo>
                  <a:lnTo>
                    <a:pt x="12384" y="2983"/>
                  </a:lnTo>
                  <a:lnTo>
                    <a:pt x="12372" y="2973"/>
                  </a:lnTo>
                  <a:lnTo>
                    <a:pt x="12360" y="2966"/>
                  </a:lnTo>
                  <a:lnTo>
                    <a:pt x="12347" y="2960"/>
                  </a:lnTo>
                  <a:lnTo>
                    <a:pt x="12370" y="2947"/>
                  </a:lnTo>
                  <a:lnTo>
                    <a:pt x="12390" y="2931"/>
                  </a:lnTo>
                  <a:lnTo>
                    <a:pt x="12408" y="2914"/>
                  </a:lnTo>
                  <a:lnTo>
                    <a:pt x="12426" y="2893"/>
                  </a:lnTo>
                  <a:lnTo>
                    <a:pt x="12443" y="2872"/>
                  </a:lnTo>
                  <a:lnTo>
                    <a:pt x="12462" y="2850"/>
                  </a:lnTo>
                  <a:lnTo>
                    <a:pt x="12481" y="2827"/>
                  </a:lnTo>
                  <a:lnTo>
                    <a:pt x="12503" y="2803"/>
                  </a:lnTo>
                  <a:lnTo>
                    <a:pt x="12519" y="2762"/>
                  </a:lnTo>
                  <a:lnTo>
                    <a:pt x="12531" y="2721"/>
                  </a:lnTo>
                  <a:lnTo>
                    <a:pt x="12539" y="2678"/>
                  </a:lnTo>
                  <a:lnTo>
                    <a:pt x="12544" y="2634"/>
                  </a:lnTo>
                  <a:lnTo>
                    <a:pt x="12546" y="2590"/>
                  </a:lnTo>
                  <a:lnTo>
                    <a:pt x="12544" y="2545"/>
                  </a:lnTo>
                  <a:lnTo>
                    <a:pt x="12539" y="2500"/>
                  </a:lnTo>
                  <a:lnTo>
                    <a:pt x="12531" y="2453"/>
                  </a:lnTo>
                  <a:lnTo>
                    <a:pt x="12519" y="2406"/>
                  </a:lnTo>
                  <a:lnTo>
                    <a:pt x="12503" y="2358"/>
                  </a:lnTo>
                  <a:lnTo>
                    <a:pt x="12486" y="2310"/>
                  </a:lnTo>
                  <a:lnTo>
                    <a:pt x="12464" y="2261"/>
                  </a:lnTo>
                  <a:lnTo>
                    <a:pt x="12439" y="2210"/>
                  </a:lnTo>
                  <a:lnTo>
                    <a:pt x="12411" y="2160"/>
                  </a:lnTo>
                  <a:lnTo>
                    <a:pt x="12381" y="2108"/>
                  </a:lnTo>
                  <a:lnTo>
                    <a:pt x="12347" y="2056"/>
                  </a:lnTo>
                  <a:lnTo>
                    <a:pt x="12327" y="2030"/>
                  </a:lnTo>
                  <a:lnTo>
                    <a:pt x="12306" y="2006"/>
                  </a:lnTo>
                  <a:lnTo>
                    <a:pt x="12285" y="1982"/>
                  </a:lnTo>
                  <a:lnTo>
                    <a:pt x="12265" y="1961"/>
                  </a:lnTo>
                  <a:lnTo>
                    <a:pt x="12243" y="1939"/>
                  </a:lnTo>
                  <a:lnTo>
                    <a:pt x="12222" y="1920"/>
                  </a:lnTo>
                  <a:lnTo>
                    <a:pt x="12179" y="1882"/>
                  </a:lnTo>
                  <a:lnTo>
                    <a:pt x="12136" y="1848"/>
                  </a:lnTo>
                  <a:lnTo>
                    <a:pt x="12092" y="1816"/>
                  </a:lnTo>
                  <a:lnTo>
                    <a:pt x="12048" y="1786"/>
                  </a:lnTo>
                  <a:lnTo>
                    <a:pt x="12005" y="1758"/>
                  </a:lnTo>
                  <a:lnTo>
                    <a:pt x="11960" y="1730"/>
                  </a:lnTo>
                  <a:lnTo>
                    <a:pt x="11917" y="1703"/>
                  </a:lnTo>
                  <a:lnTo>
                    <a:pt x="11830" y="1650"/>
                  </a:lnTo>
                  <a:lnTo>
                    <a:pt x="11787" y="1622"/>
                  </a:lnTo>
                  <a:lnTo>
                    <a:pt x="11744" y="1592"/>
                  </a:lnTo>
                  <a:lnTo>
                    <a:pt x="11703" y="1561"/>
                  </a:lnTo>
                  <a:lnTo>
                    <a:pt x="11662" y="1526"/>
                  </a:lnTo>
                  <a:lnTo>
                    <a:pt x="11628" y="1498"/>
                  </a:lnTo>
                  <a:lnTo>
                    <a:pt x="11594" y="1470"/>
                  </a:lnTo>
                  <a:lnTo>
                    <a:pt x="11577" y="1454"/>
                  </a:lnTo>
                  <a:lnTo>
                    <a:pt x="11562" y="1438"/>
                  </a:lnTo>
                  <a:lnTo>
                    <a:pt x="11548" y="1421"/>
                  </a:lnTo>
                  <a:lnTo>
                    <a:pt x="11537" y="1402"/>
                  </a:lnTo>
                  <a:lnTo>
                    <a:pt x="11510" y="1365"/>
                  </a:lnTo>
                  <a:lnTo>
                    <a:pt x="11479" y="1325"/>
                  </a:lnTo>
                  <a:lnTo>
                    <a:pt x="11447" y="1282"/>
                  </a:lnTo>
                  <a:lnTo>
                    <a:pt x="11412" y="1237"/>
                  </a:lnTo>
                  <a:lnTo>
                    <a:pt x="11374" y="1189"/>
                  </a:lnTo>
                  <a:lnTo>
                    <a:pt x="11334" y="1139"/>
                  </a:lnTo>
                  <a:lnTo>
                    <a:pt x="11290" y="1087"/>
                  </a:lnTo>
                  <a:lnTo>
                    <a:pt x="11245" y="1034"/>
                  </a:lnTo>
                  <a:lnTo>
                    <a:pt x="11196" y="979"/>
                  </a:lnTo>
                  <a:lnTo>
                    <a:pt x="11146" y="924"/>
                  </a:lnTo>
                  <a:lnTo>
                    <a:pt x="11092" y="867"/>
                  </a:lnTo>
                  <a:lnTo>
                    <a:pt x="11036" y="810"/>
                  </a:lnTo>
                  <a:lnTo>
                    <a:pt x="10977" y="754"/>
                  </a:lnTo>
                  <a:lnTo>
                    <a:pt x="10916" y="696"/>
                  </a:lnTo>
                  <a:lnTo>
                    <a:pt x="10852" y="639"/>
                  </a:lnTo>
                  <a:lnTo>
                    <a:pt x="10785" y="584"/>
                  </a:lnTo>
                  <a:lnTo>
                    <a:pt x="10716" y="529"/>
                  </a:lnTo>
                  <a:lnTo>
                    <a:pt x="10644" y="474"/>
                  </a:lnTo>
                  <a:lnTo>
                    <a:pt x="10570" y="423"/>
                  </a:lnTo>
                  <a:lnTo>
                    <a:pt x="10492" y="371"/>
                  </a:lnTo>
                  <a:lnTo>
                    <a:pt x="10413" y="323"/>
                  </a:lnTo>
                  <a:lnTo>
                    <a:pt x="10330" y="277"/>
                  </a:lnTo>
                  <a:lnTo>
                    <a:pt x="10244" y="233"/>
                  </a:lnTo>
                  <a:lnTo>
                    <a:pt x="10157" y="192"/>
                  </a:lnTo>
                  <a:lnTo>
                    <a:pt x="10066" y="154"/>
                  </a:lnTo>
                  <a:lnTo>
                    <a:pt x="9973" y="120"/>
                  </a:lnTo>
                  <a:lnTo>
                    <a:pt x="9877" y="89"/>
                  </a:lnTo>
                  <a:lnTo>
                    <a:pt x="9827" y="75"/>
                  </a:lnTo>
                  <a:lnTo>
                    <a:pt x="9778" y="62"/>
                  </a:lnTo>
                  <a:lnTo>
                    <a:pt x="9727" y="50"/>
                  </a:lnTo>
                  <a:lnTo>
                    <a:pt x="9677" y="40"/>
                  </a:lnTo>
                  <a:lnTo>
                    <a:pt x="9625" y="30"/>
                  </a:lnTo>
                  <a:lnTo>
                    <a:pt x="9572" y="21"/>
                  </a:lnTo>
                  <a:lnTo>
                    <a:pt x="9520" y="14"/>
                  </a:lnTo>
                  <a:lnTo>
                    <a:pt x="9465" y="8"/>
                  </a:lnTo>
                  <a:lnTo>
                    <a:pt x="9411" y="3"/>
                  </a:lnTo>
                  <a:lnTo>
                    <a:pt x="9356" y="0"/>
                  </a:lnTo>
                  <a:lnTo>
                    <a:pt x="9231" y="0"/>
                  </a:lnTo>
                  <a:lnTo>
                    <a:pt x="92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sp>
          <p:nvSpPr>
            <p:cNvPr id="217" name="Freeform 45"/>
            <p:cNvSpPr>
              <a:spLocks/>
            </p:cNvSpPr>
            <p:nvPr/>
          </p:nvSpPr>
          <p:spPr bwMode="auto">
            <a:xfrm>
              <a:off x="-1422419" y="-770563"/>
              <a:ext cx="415114" cy="424072"/>
            </a:xfrm>
            <a:custGeom>
              <a:avLst/>
              <a:gdLst>
                <a:gd name="T0" fmla="*/ 2086 w 2090"/>
                <a:gd name="T1" fmla="*/ 1 h 2119"/>
                <a:gd name="T2" fmla="*/ 2063 w 2090"/>
                <a:gd name="T3" fmla="*/ 8 h 2119"/>
                <a:gd name="T4" fmla="*/ 2023 w 2090"/>
                <a:gd name="T5" fmla="*/ 20 h 2119"/>
                <a:gd name="T6" fmla="*/ 1964 w 2090"/>
                <a:gd name="T7" fmla="*/ 35 h 2119"/>
                <a:gd name="T8" fmla="*/ 1887 w 2090"/>
                <a:gd name="T9" fmla="*/ 53 h 2119"/>
                <a:gd name="T10" fmla="*/ 1790 w 2090"/>
                <a:gd name="T11" fmla="*/ 73 h 2119"/>
                <a:gd name="T12" fmla="*/ 1673 w 2090"/>
                <a:gd name="T13" fmla="*/ 96 h 2119"/>
                <a:gd name="T14" fmla="*/ 1536 w 2090"/>
                <a:gd name="T15" fmla="*/ 119 h 2119"/>
                <a:gd name="T16" fmla="*/ 1298 w 2090"/>
                <a:gd name="T17" fmla="*/ 152 h 2119"/>
                <a:gd name="T18" fmla="*/ 1061 w 2090"/>
                <a:gd name="T19" fmla="*/ 171 h 2119"/>
                <a:gd name="T20" fmla="*/ 859 w 2090"/>
                <a:gd name="T21" fmla="*/ 192 h 2119"/>
                <a:gd name="T22" fmla="*/ 693 w 2090"/>
                <a:gd name="T23" fmla="*/ 233 h 2119"/>
                <a:gd name="T24" fmla="*/ 515 w 2090"/>
                <a:gd name="T25" fmla="*/ 347 h 2119"/>
                <a:gd name="T26" fmla="*/ 365 w 2090"/>
                <a:gd name="T27" fmla="*/ 513 h 2119"/>
                <a:gd name="T28" fmla="*/ 248 w 2090"/>
                <a:gd name="T29" fmla="*/ 723 h 2119"/>
                <a:gd name="T30" fmla="*/ 150 w 2090"/>
                <a:gd name="T31" fmla="*/ 986 h 2119"/>
                <a:gd name="T32" fmla="*/ 77 w 2090"/>
                <a:gd name="T33" fmla="*/ 1239 h 2119"/>
                <a:gd name="T34" fmla="*/ 19 w 2090"/>
                <a:gd name="T35" fmla="*/ 1600 h 2119"/>
                <a:gd name="T36" fmla="*/ 7 w 2090"/>
                <a:gd name="T37" fmla="*/ 1765 h 2119"/>
                <a:gd name="T38" fmla="*/ 1 w 2090"/>
                <a:gd name="T39" fmla="*/ 1907 h 2119"/>
                <a:gd name="T40" fmla="*/ 1 w 2090"/>
                <a:gd name="T41" fmla="*/ 2019 h 2119"/>
                <a:gd name="T42" fmla="*/ 2 w 2090"/>
                <a:gd name="T43" fmla="*/ 2093 h 2119"/>
                <a:gd name="T44" fmla="*/ 3 w 2090"/>
                <a:gd name="T45" fmla="*/ 2119 h 2119"/>
                <a:gd name="T46" fmla="*/ 5 w 2090"/>
                <a:gd name="T47" fmla="*/ 2110 h 2119"/>
                <a:gd name="T48" fmla="*/ 12 w 2090"/>
                <a:gd name="T49" fmla="*/ 2082 h 2119"/>
                <a:gd name="T50" fmla="*/ 40 w 2090"/>
                <a:gd name="T51" fmla="*/ 1983 h 2119"/>
                <a:gd name="T52" fmla="*/ 83 w 2090"/>
                <a:gd name="T53" fmla="*/ 1837 h 2119"/>
                <a:gd name="T54" fmla="*/ 139 w 2090"/>
                <a:gd name="T55" fmla="*/ 1659 h 2119"/>
                <a:gd name="T56" fmla="*/ 260 w 2090"/>
                <a:gd name="T57" fmla="*/ 1325 h 2119"/>
                <a:gd name="T58" fmla="*/ 337 w 2090"/>
                <a:gd name="T59" fmla="*/ 1145 h 2119"/>
                <a:gd name="T60" fmla="*/ 419 w 2090"/>
                <a:gd name="T61" fmla="*/ 997 h 2119"/>
                <a:gd name="T62" fmla="*/ 481 w 2090"/>
                <a:gd name="T63" fmla="*/ 901 h 2119"/>
                <a:gd name="T64" fmla="*/ 565 w 2090"/>
                <a:gd name="T65" fmla="*/ 784 h 2119"/>
                <a:gd name="T66" fmla="*/ 636 w 2090"/>
                <a:gd name="T67" fmla="*/ 701 h 2119"/>
                <a:gd name="T68" fmla="*/ 679 w 2090"/>
                <a:gd name="T69" fmla="*/ 662 h 2119"/>
                <a:gd name="T70" fmla="*/ 687 w 2090"/>
                <a:gd name="T71" fmla="*/ 656 h 2119"/>
                <a:gd name="T72" fmla="*/ 675 w 2090"/>
                <a:gd name="T73" fmla="*/ 694 h 2119"/>
                <a:gd name="T74" fmla="*/ 657 w 2090"/>
                <a:gd name="T75" fmla="*/ 770 h 2119"/>
                <a:gd name="T76" fmla="*/ 648 w 2090"/>
                <a:gd name="T77" fmla="*/ 863 h 2119"/>
                <a:gd name="T78" fmla="*/ 663 w 2090"/>
                <a:gd name="T79" fmla="*/ 987 h 2119"/>
                <a:gd name="T80" fmla="*/ 699 w 2090"/>
                <a:gd name="T81" fmla="*/ 1175 h 2119"/>
                <a:gd name="T82" fmla="*/ 741 w 2090"/>
                <a:gd name="T83" fmla="*/ 1322 h 2119"/>
                <a:gd name="T84" fmla="*/ 767 w 2090"/>
                <a:gd name="T85" fmla="*/ 1395 h 2119"/>
                <a:gd name="T86" fmla="*/ 778 w 2090"/>
                <a:gd name="T87" fmla="*/ 1424 h 2119"/>
                <a:gd name="T88" fmla="*/ 782 w 2090"/>
                <a:gd name="T89" fmla="*/ 1434 h 2119"/>
                <a:gd name="T90" fmla="*/ 783 w 2090"/>
                <a:gd name="T91" fmla="*/ 1407 h 2119"/>
                <a:gd name="T92" fmla="*/ 790 w 2090"/>
                <a:gd name="T93" fmla="*/ 1337 h 2119"/>
                <a:gd name="T94" fmla="*/ 803 w 2090"/>
                <a:gd name="T95" fmla="*/ 1231 h 2119"/>
                <a:gd name="T96" fmla="*/ 824 w 2090"/>
                <a:gd name="T97" fmla="*/ 1102 h 2119"/>
                <a:gd name="T98" fmla="*/ 900 w 2090"/>
                <a:gd name="T99" fmla="*/ 816 h 2119"/>
                <a:gd name="T100" fmla="*/ 974 w 2090"/>
                <a:gd name="T101" fmla="*/ 647 h 2119"/>
                <a:gd name="T102" fmla="*/ 1055 w 2090"/>
                <a:gd name="T103" fmla="*/ 533 h 2119"/>
                <a:gd name="T104" fmla="*/ 1165 w 2090"/>
                <a:gd name="T105" fmla="*/ 433 h 2119"/>
                <a:gd name="T106" fmla="*/ 1295 w 2090"/>
                <a:gd name="T107" fmla="*/ 351 h 2119"/>
                <a:gd name="T108" fmla="*/ 1560 w 2090"/>
                <a:gd name="T109" fmla="*/ 249 h 2119"/>
                <a:gd name="T110" fmla="*/ 1736 w 2090"/>
                <a:gd name="T111" fmla="*/ 184 h 2119"/>
                <a:gd name="T112" fmla="*/ 1907 w 2090"/>
                <a:gd name="T113" fmla="*/ 101 h 2119"/>
                <a:gd name="T114" fmla="*/ 2012 w 2090"/>
                <a:gd name="T115" fmla="*/ 45 h 2119"/>
                <a:gd name="T116" fmla="*/ 2060 w 2090"/>
                <a:gd name="T117" fmla="*/ 18 h 2119"/>
                <a:gd name="T118" fmla="*/ 2087 w 2090"/>
                <a:gd name="T119" fmla="*/ 2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0" h="2119">
                  <a:moveTo>
                    <a:pt x="2090" y="0"/>
                  </a:moveTo>
                  <a:lnTo>
                    <a:pt x="2090" y="0"/>
                  </a:lnTo>
                  <a:lnTo>
                    <a:pt x="2088" y="1"/>
                  </a:lnTo>
                  <a:lnTo>
                    <a:pt x="2086" y="1"/>
                  </a:lnTo>
                  <a:lnTo>
                    <a:pt x="2082" y="3"/>
                  </a:lnTo>
                  <a:lnTo>
                    <a:pt x="2077" y="4"/>
                  </a:lnTo>
                  <a:lnTo>
                    <a:pt x="2070" y="6"/>
                  </a:lnTo>
                  <a:lnTo>
                    <a:pt x="2063" y="8"/>
                  </a:lnTo>
                  <a:lnTo>
                    <a:pt x="2055" y="10"/>
                  </a:lnTo>
                  <a:lnTo>
                    <a:pt x="2046" y="13"/>
                  </a:lnTo>
                  <a:lnTo>
                    <a:pt x="2034" y="17"/>
                  </a:lnTo>
                  <a:lnTo>
                    <a:pt x="2023" y="20"/>
                  </a:lnTo>
                  <a:lnTo>
                    <a:pt x="2009" y="23"/>
                  </a:lnTo>
                  <a:lnTo>
                    <a:pt x="1996" y="27"/>
                  </a:lnTo>
                  <a:lnTo>
                    <a:pt x="1981" y="31"/>
                  </a:lnTo>
                  <a:lnTo>
                    <a:pt x="1964" y="35"/>
                  </a:lnTo>
                  <a:lnTo>
                    <a:pt x="1946" y="39"/>
                  </a:lnTo>
                  <a:lnTo>
                    <a:pt x="1928" y="43"/>
                  </a:lnTo>
                  <a:lnTo>
                    <a:pt x="1907" y="48"/>
                  </a:lnTo>
                  <a:lnTo>
                    <a:pt x="1887" y="53"/>
                  </a:lnTo>
                  <a:lnTo>
                    <a:pt x="1864" y="58"/>
                  </a:lnTo>
                  <a:lnTo>
                    <a:pt x="1840" y="63"/>
                  </a:lnTo>
                  <a:lnTo>
                    <a:pt x="1815" y="68"/>
                  </a:lnTo>
                  <a:lnTo>
                    <a:pt x="1790" y="73"/>
                  </a:lnTo>
                  <a:lnTo>
                    <a:pt x="1762" y="79"/>
                  </a:lnTo>
                  <a:lnTo>
                    <a:pt x="1733" y="85"/>
                  </a:lnTo>
                  <a:lnTo>
                    <a:pt x="1704" y="90"/>
                  </a:lnTo>
                  <a:lnTo>
                    <a:pt x="1673" y="96"/>
                  </a:lnTo>
                  <a:lnTo>
                    <a:pt x="1640" y="102"/>
                  </a:lnTo>
                  <a:lnTo>
                    <a:pt x="1607" y="107"/>
                  </a:lnTo>
                  <a:lnTo>
                    <a:pt x="1572" y="113"/>
                  </a:lnTo>
                  <a:lnTo>
                    <a:pt x="1536" y="119"/>
                  </a:lnTo>
                  <a:lnTo>
                    <a:pt x="1498" y="125"/>
                  </a:lnTo>
                  <a:lnTo>
                    <a:pt x="1429" y="135"/>
                  </a:lnTo>
                  <a:lnTo>
                    <a:pt x="1362" y="144"/>
                  </a:lnTo>
                  <a:lnTo>
                    <a:pt x="1298" y="152"/>
                  </a:lnTo>
                  <a:lnTo>
                    <a:pt x="1235" y="158"/>
                  </a:lnTo>
                  <a:lnTo>
                    <a:pt x="1175" y="163"/>
                  </a:lnTo>
                  <a:lnTo>
                    <a:pt x="1118" y="167"/>
                  </a:lnTo>
                  <a:lnTo>
                    <a:pt x="1061" y="171"/>
                  </a:lnTo>
                  <a:lnTo>
                    <a:pt x="1007" y="175"/>
                  </a:lnTo>
                  <a:lnTo>
                    <a:pt x="957" y="180"/>
                  </a:lnTo>
                  <a:lnTo>
                    <a:pt x="907" y="185"/>
                  </a:lnTo>
                  <a:lnTo>
                    <a:pt x="859" y="192"/>
                  </a:lnTo>
                  <a:lnTo>
                    <a:pt x="815" y="199"/>
                  </a:lnTo>
                  <a:lnTo>
                    <a:pt x="772" y="208"/>
                  </a:lnTo>
                  <a:lnTo>
                    <a:pt x="731" y="219"/>
                  </a:lnTo>
                  <a:lnTo>
                    <a:pt x="693" y="233"/>
                  </a:lnTo>
                  <a:lnTo>
                    <a:pt x="657" y="249"/>
                  </a:lnTo>
                  <a:lnTo>
                    <a:pt x="606" y="279"/>
                  </a:lnTo>
                  <a:lnTo>
                    <a:pt x="559" y="312"/>
                  </a:lnTo>
                  <a:lnTo>
                    <a:pt x="515" y="347"/>
                  </a:lnTo>
                  <a:lnTo>
                    <a:pt x="473" y="384"/>
                  </a:lnTo>
                  <a:lnTo>
                    <a:pt x="435" y="424"/>
                  </a:lnTo>
                  <a:lnTo>
                    <a:pt x="399" y="468"/>
                  </a:lnTo>
                  <a:lnTo>
                    <a:pt x="365" y="513"/>
                  </a:lnTo>
                  <a:lnTo>
                    <a:pt x="334" y="561"/>
                  </a:lnTo>
                  <a:lnTo>
                    <a:pt x="304" y="612"/>
                  </a:lnTo>
                  <a:lnTo>
                    <a:pt x="275" y="667"/>
                  </a:lnTo>
                  <a:lnTo>
                    <a:pt x="248" y="723"/>
                  </a:lnTo>
                  <a:lnTo>
                    <a:pt x="224" y="784"/>
                  </a:lnTo>
                  <a:lnTo>
                    <a:pt x="199" y="848"/>
                  </a:lnTo>
                  <a:lnTo>
                    <a:pt x="174" y="915"/>
                  </a:lnTo>
                  <a:lnTo>
                    <a:pt x="150" y="986"/>
                  </a:lnTo>
                  <a:lnTo>
                    <a:pt x="128" y="1060"/>
                  </a:lnTo>
                  <a:lnTo>
                    <a:pt x="113" y="1104"/>
                  </a:lnTo>
                  <a:lnTo>
                    <a:pt x="100" y="1149"/>
                  </a:lnTo>
                  <a:lnTo>
                    <a:pt x="77" y="1239"/>
                  </a:lnTo>
                  <a:lnTo>
                    <a:pt x="57" y="1331"/>
                  </a:lnTo>
                  <a:lnTo>
                    <a:pt x="42" y="1423"/>
                  </a:lnTo>
                  <a:lnTo>
                    <a:pt x="29" y="1512"/>
                  </a:lnTo>
                  <a:lnTo>
                    <a:pt x="19" y="1600"/>
                  </a:lnTo>
                  <a:lnTo>
                    <a:pt x="15" y="1643"/>
                  </a:lnTo>
                  <a:lnTo>
                    <a:pt x="12" y="1684"/>
                  </a:lnTo>
                  <a:lnTo>
                    <a:pt x="9" y="1725"/>
                  </a:lnTo>
                  <a:lnTo>
                    <a:pt x="7" y="1765"/>
                  </a:lnTo>
                  <a:lnTo>
                    <a:pt x="5" y="1803"/>
                  </a:lnTo>
                  <a:lnTo>
                    <a:pt x="3" y="1839"/>
                  </a:lnTo>
                  <a:lnTo>
                    <a:pt x="2" y="1874"/>
                  </a:lnTo>
                  <a:lnTo>
                    <a:pt x="1" y="1907"/>
                  </a:lnTo>
                  <a:lnTo>
                    <a:pt x="1" y="1939"/>
                  </a:lnTo>
                  <a:lnTo>
                    <a:pt x="0" y="1967"/>
                  </a:lnTo>
                  <a:lnTo>
                    <a:pt x="0" y="1994"/>
                  </a:lnTo>
                  <a:lnTo>
                    <a:pt x="1" y="2019"/>
                  </a:lnTo>
                  <a:lnTo>
                    <a:pt x="1" y="2042"/>
                  </a:lnTo>
                  <a:lnTo>
                    <a:pt x="1" y="2061"/>
                  </a:lnTo>
                  <a:lnTo>
                    <a:pt x="1" y="2079"/>
                  </a:lnTo>
                  <a:lnTo>
                    <a:pt x="2" y="2093"/>
                  </a:lnTo>
                  <a:lnTo>
                    <a:pt x="2" y="2104"/>
                  </a:lnTo>
                  <a:lnTo>
                    <a:pt x="3" y="2113"/>
                  </a:lnTo>
                  <a:lnTo>
                    <a:pt x="3" y="2117"/>
                  </a:lnTo>
                  <a:lnTo>
                    <a:pt x="3" y="2119"/>
                  </a:lnTo>
                  <a:lnTo>
                    <a:pt x="3" y="2119"/>
                  </a:lnTo>
                  <a:lnTo>
                    <a:pt x="4" y="2117"/>
                  </a:lnTo>
                  <a:lnTo>
                    <a:pt x="4" y="2114"/>
                  </a:lnTo>
                  <a:lnTo>
                    <a:pt x="5" y="2110"/>
                  </a:lnTo>
                  <a:lnTo>
                    <a:pt x="7" y="2104"/>
                  </a:lnTo>
                  <a:lnTo>
                    <a:pt x="8" y="2098"/>
                  </a:lnTo>
                  <a:lnTo>
                    <a:pt x="10" y="2091"/>
                  </a:lnTo>
                  <a:lnTo>
                    <a:pt x="12" y="2082"/>
                  </a:lnTo>
                  <a:lnTo>
                    <a:pt x="18" y="2062"/>
                  </a:lnTo>
                  <a:lnTo>
                    <a:pt x="24" y="2040"/>
                  </a:lnTo>
                  <a:lnTo>
                    <a:pt x="32" y="2013"/>
                  </a:lnTo>
                  <a:lnTo>
                    <a:pt x="40" y="1983"/>
                  </a:lnTo>
                  <a:lnTo>
                    <a:pt x="49" y="1950"/>
                  </a:lnTo>
                  <a:lnTo>
                    <a:pt x="59" y="1914"/>
                  </a:lnTo>
                  <a:lnTo>
                    <a:pt x="71" y="1877"/>
                  </a:lnTo>
                  <a:lnTo>
                    <a:pt x="83" y="1837"/>
                  </a:lnTo>
                  <a:lnTo>
                    <a:pt x="96" y="1794"/>
                  </a:lnTo>
                  <a:lnTo>
                    <a:pt x="110" y="1751"/>
                  </a:lnTo>
                  <a:lnTo>
                    <a:pt x="123" y="1706"/>
                  </a:lnTo>
                  <a:lnTo>
                    <a:pt x="139" y="1659"/>
                  </a:lnTo>
                  <a:lnTo>
                    <a:pt x="171" y="1565"/>
                  </a:lnTo>
                  <a:lnTo>
                    <a:pt x="205" y="1468"/>
                  </a:lnTo>
                  <a:lnTo>
                    <a:pt x="241" y="1372"/>
                  </a:lnTo>
                  <a:lnTo>
                    <a:pt x="260" y="1325"/>
                  </a:lnTo>
                  <a:lnTo>
                    <a:pt x="278" y="1277"/>
                  </a:lnTo>
                  <a:lnTo>
                    <a:pt x="298" y="1232"/>
                  </a:lnTo>
                  <a:lnTo>
                    <a:pt x="317" y="1189"/>
                  </a:lnTo>
                  <a:lnTo>
                    <a:pt x="337" y="1145"/>
                  </a:lnTo>
                  <a:lnTo>
                    <a:pt x="358" y="1105"/>
                  </a:lnTo>
                  <a:lnTo>
                    <a:pt x="377" y="1066"/>
                  </a:lnTo>
                  <a:lnTo>
                    <a:pt x="398" y="1030"/>
                  </a:lnTo>
                  <a:lnTo>
                    <a:pt x="419" y="997"/>
                  </a:lnTo>
                  <a:lnTo>
                    <a:pt x="438" y="966"/>
                  </a:lnTo>
                  <a:lnTo>
                    <a:pt x="453" y="944"/>
                  </a:lnTo>
                  <a:lnTo>
                    <a:pt x="467" y="922"/>
                  </a:lnTo>
                  <a:lnTo>
                    <a:pt x="481" y="901"/>
                  </a:lnTo>
                  <a:lnTo>
                    <a:pt x="494" y="881"/>
                  </a:lnTo>
                  <a:lnTo>
                    <a:pt x="520" y="845"/>
                  </a:lnTo>
                  <a:lnTo>
                    <a:pt x="544" y="813"/>
                  </a:lnTo>
                  <a:lnTo>
                    <a:pt x="565" y="784"/>
                  </a:lnTo>
                  <a:lnTo>
                    <a:pt x="586" y="758"/>
                  </a:lnTo>
                  <a:lnTo>
                    <a:pt x="604" y="736"/>
                  </a:lnTo>
                  <a:lnTo>
                    <a:pt x="622" y="717"/>
                  </a:lnTo>
                  <a:lnTo>
                    <a:pt x="636" y="701"/>
                  </a:lnTo>
                  <a:lnTo>
                    <a:pt x="650" y="687"/>
                  </a:lnTo>
                  <a:lnTo>
                    <a:pt x="661" y="677"/>
                  </a:lnTo>
                  <a:lnTo>
                    <a:pt x="671" y="669"/>
                  </a:lnTo>
                  <a:lnTo>
                    <a:pt x="679" y="662"/>
                  </a:lnTo>
                  <a:lnTo>
                    <a:pt x="684" y="657"/>
                  </a:lnTo>
                  <a:lnTo>
                    <a:pt x="687" y="655"/>
                  </a:lnTo>
                  <a:lnTo>
                    <a:pt x="688" y="654"/>
                  </a:lnTo>
                  <a:lnTo>
                    <a:pt x="687" y="656"/>
                  </a:lnTo>
                  <a:lnTo>
                    <a:pt x="685" y="661"/>
                  </a:lnTo>
                  <a:lnTo>
                    <a:pt x="683" y="670"/>
                  </a:lnTo>
                  <a:lnTo>
                    <a:pt x="679" y="681"/>
                  </a:lnTo>
                  <a:lnTo>
                    <a:pt x="675" y="694"/>
                  </a:lnTo>
                  <a:lnTo>
                    <a:pt x="670" y="711"/>
                  </a:lnTo>
                  <a:lnTo>
                    <a:pt x="665" y="728"/>
                  </a:lnTo>
                  <a:lnTo>
                    <a:pt x="661" y="748"/>
                  </a:lnTo>
                  <a:lnTo>
                    <a:pt x="657" y="770"/>
                  </a:lnTo>
                  <a:lnTo>
                    <a:pt x="653" y="791"/>
                  </a:lnTo>
                  <a:lnTo>
                    <a:pt x="650" y="815"/>
                  </a:lnTo>
                  <a:lnTo>
                    <a:pt x="649" y="839"/>
                  </a:lnTo>
                  <a:lnTo>
                    <a:pt x="648" y="863"/>
                  </a:lnTo>
                  <a:lnTo>
                    <a:pt x="649" y="887"/>
                  </a:lnTo>
                  <a:lnTo>
                    <a:pt x="652" y="912"/>
                  </a:lnTo>
                  <a:lnTo>
                    <a:pt x="657" y="935"/>
                  </a:lnTo>
                  <a:lnTo>
                    <a:pt x="663" y="987"/>
                  </a:lnTo>
                  <a:lnTo>
                    <a:pt x="672" y="1037"/>
                  </a:lnTo>
                  <a:lnTo>
                    <a:pt x="680" y="1085"/>
                  </a:lnTo>
                  <a:lnTo>
                    <a:pt x="689" y="1131"/>
                  </a:lnTo>
                  <a:lnTo>
                    <a:pt x="699" y="1175"/>
                  </a:lnTo>
                  <a:lnTo>
                    <a:pt x="710" y="1216"/>
                  </a:lnTo>
                  <a:lnTo>
                    <a:pt x="720" y="1255"/>
                  </a:lnTo>
                  <a:lnTo>
                    <a:pt x="731" y="1290"/>
                  </a:lnTo>
                  <a:lnTo>
                    <a:pt x="741" y="1322"/>
                  </a:lnTo>
                  <a:lnTo>
                    <a:pt x="750" y="1349"/>
                  </a:lnTo>
                  <a:lnTo>
                    <a:pt x="759" y="1374"/>
                  </a:lnTo>
                  <a:lnTo>
                    <a:pt x="762" y="1385"/>
                  </a:lnTo>
                  <a:lnTo>
                    <a:pt x="767" y="1395"/>
                  </a:lnTo>
                  <a:lnTo>
                    <a:pt x="770" y="1404"/>
                  </a:lnTo>
                  <a:lnTo>
                    <a:pt x="773" y="1411"/>
                  </a:lnTo>
                  <a:lnTo>
                    <a:pt x="776" y="1418"/>
                  </a:lnTo>
                  <a:lnTo>
                    <a:pt x="778" y="1424"/>
                  </a:lnTo>
                  <a:lnTo>
                    <a:pt x="779" y="1428"/>
                  </a:lnTo>
                  <a:lnTo>
                    <a:pt x="781" y="1431"/>
                  </a:lnTo>
                  <a:lnTo>
                    <a:pt x="781" y="1433"/>
                  </a:lnTo>
                  <a:lnTo>
                    <a:pt x="782" y="1434"/>
                  </a:lnTo>
                  <a:lnTo>
                    <a:pt x="782" y="1432"/>
                  </a:lnTo>
                  <a:lnTo>
                    <a:pt x="782" y="1427"/>
                  </a:lnTo>
                  <a:lnTo>
                    <a:pt x="783" y="1418"/>
                  </a:lnTo>
                  <a:lnTo>
                    <a:pt x="783" y="1407"/>
                  </a:lnTo>
                  <a:lnTo>
                    <a:pt x="784" y="1394"/>
                  </a:lnTo>
                  <a:lnTo>
                    <a:pt x="786" y="1377"/>
                  </a:lnTo>
                  <a:lnTo>
                    <a:pt x="788" y="1358"/>
                  </a:lnTo>
                  <a:lnTo>
                    <a:pt x="790" y="1337"/>
                  </a:lnTo>
                  <a:lnTo>
                    <a:pt x="792" y="1313"/>
                  </a:lnTo>
                  <a:lnTo>
                    <a:pt x="795" y="1288"/>
                  </a:lnTo>
                  <a:lnTo>
                    <a:pt x="799" y="1261"/>
                  </a:lnTo>
                  <a:lnTo>
                    <a:pt x="803" y="1231"/>
                  </a:lnTo>
                  <a:lnTo>
                    <a:pt x="808" y="1201"/>
                  </a:lnTo>
                  <a:lnTo>
                    <a:pt x="813" y="1169"/>
                  </a:lnTo>
                  <a:lnTo>
                    <a:pt x="818" y="1136"/>
                  </a:lnTo>
                  <a:lnTo>
                    <a:pt x="824" y="1102"/>
                  </a:lnTo>
                  <a:lnTo>
                    <a:pt x="839" y="1032"/>
                  </a:lnTo>
                  <a:lnTo>
                    <a:pt x="856" y="960"/>
                  </a:lnTo>
                  <a:lnTo>
                    <a:pt x="876" y="888"/>
                  </a:lnTo>
                  <a:lnTo>
                    <a:pt x="900" y="816"/>
                  </a:lnTo>
                  <a:lnTo>
                    <a:pt x="927" y="746"/>
                  </a:lnTo>
                  <a:lnTo>
                    <a:pt x="942" y="712"/>
                  </a:lnTo>
                  <a:lnTo>
                    <a:pt x="958" y="679"/>
                  </a:lnTo>
                  <a:lnTo>
                    <a:pt x="974" y="647"/>
                  </a:lnTo>
                  <a:lnTo>
                    <a:pt x="993" y="617"/>
                  </a:lnTo>
                  <a:lnTo>
                    <a:pt x="1011" y="588"/>
                  </a:lnTo>
                  <a:lnTo>
                    <a:pt x="1031" y="561"/>
                  </a:lnTo>
                  <a:lnTo>
                    <a:pt x="1055" y="533"/>
                  </a:lnTo>
                  <a:lnTo>
                    <a:pt x="1080" y="506"/>
                  </a:lnTo>
                  <a:lnTo>
                    <a:pt x="1107" y="480"/>
                  </a:lnTo>
                  <a:lnTo>
                    <a:pt x="1136" y="455"/>
                  </a:lnTo>
                  <a:lnTo>
                    <a:pt x="1165" y="433"/>
                  </a:lnTo>
                  <a:lnTo>
                    <a:pt x="1196" y="410"/>
                  </a:lnTo>
                  <a:lnTo>
                    <a:pt x="1228" y="389"/>
                  </a:lnTo>
                  <a:lnTo>
                    <a:pt x="1261" y="370"/>
                  </a:lnTo>
                  <a:lnTo>
                    <a:pt x="1295" y="351"/>
                  </a:lnTo>
                  <a:lnTo>
                    <a:pt x="1330" y="334"/>
                  </a:lnTo>
                  <a:lnTo>
                    <a:pt x="1403" y="302"/>
                  </a:lnTo>
                  <a:lnTo>
                    <a:pt x="1481" y="274"/>
                  </a:lnTo>
                  <a:lnTo>
                    <a:pt x="1560" y="249"/>
                  </a:lnTo>
                  <a:lnTo>
                    <a:pt x="1603" y="236"/>
                  </a:lnTo>
                  <a:lnTo>
                    <a:pt x="1646" y="221"/>
                  </a:lnTo>
                  <a:lnTo>
                    <a:pt x="1690" y="203"/>
                  </a:lnTo>
                  <a:lnTo>
                    <a:pt x="1736" y="184"/>
                  </a:lnTo>
                  <a:lnTo>
                    <a:pt x="1780" y="164"/>
                  </a:lnTo>
                  <a:lnTo>
                    <a:pt x="1825" y="143"/>
                  </a:lnTo>
                  <a:lnTo>
                    <a:pt x="1867" y="122"/>
                  </a:lnTo>
                  <a:lnTo>
                    <a:pt x="1907" y="101"/>
                  </a:lnTo>
                  <a:lnTo>
                    <a:pt x="1945" y="81"/>
                  </a:lnTo>
                  <a:lnTo>
                    <a:pt x="1981" y="63"/>
                  </a:lnTo>
                  <a:lnTo>
                    <a:pt x="1996" y="54"/>
                  </a:lnTo>
                  <a:lnTo>
                    <a:pt x="2012" y="45"/>
                  </a:lnTo>
                  <a:lnTo>
                    <a:pt x="2026" y="37"/>
                  </a:lnTo>
                  <a:lnTo>
                    <a:pt x="2038" y="30"/>
                  </a:lnTo>
                  <a:lnTo>
                    <a:pt x="2050" y="24"/>
                  </a:lnTo>
                  <a:lnTo>
                    <a:pt x="2060" y="18"/>
                  </a:lnTo>
                  <a:lnTo>
                    <a:pt x="2069" y="12"/>
                  </a:lnTo>
                  <a:lnTo>
                    <a:pt x="2077" y="8"/>
                  </a:lnTo>
                  <a:lnTo>
                    <a:pt x="2083" y="4"/>
                  </a:lnTo>
                  <a:lnTo>
                    <a:pt x="2087" y="2"/>
                  </a:lnTo>
                  <a:lnTo>
                    <a:pt x="2090" y="0"/>
                  </a:lnTo>
                  <a:lnTo>
                    <a:pt x="20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2448" b="0" i="0" u="none" strike="noStrike" kern="0" cap="none" spc="0" normalizeH="0" baseline="0" noProof="0" dirty="0">
                <a:ln>
                  <a:noFill/>
                </a:ln>
                <a:solidFill>
                  <a:sysClr val="windowText" lastClr="000000"/>
                </a:solidFill>
                <a:effectLst/>
                <a:uLnTx/>
                <a:uFillTx/>
                <a:latin typeface="Calibri Light" panose="020F0302020204030204"/>
                <a:ea typeface="+mn-ea"/>
                <a:cs typeface="+mn-cs"/>
              </a:endParaRPr>
            </a:p>
          </p:txBody>
        </p:sp>
      </p:grpSp>
      <p:grpSp>
        <p:nvGrpSpPr>
          <p:cNvPr id="318" name="Group 317">
            <a:extLst>
              <a:ext uri="{FF2B5EF4-FFF2-40B4-BE49-F238E27FC236}">
                <a16:creationId xmlns:a16="http://schemas.microsoft.com/office/drawing/2014/main" id="{DE98A571-5A30-4C43-8EC9-BBE5278533B5}"/>
              </a:ext>
            </a:extLst>
          </p:cNvPr>
          <p:cNvGrpSpPr/>
          <p:nvPr/>
        </p:nvGrpSpPr>
        <p:grpSpPr>
          <a:xfrm>
            <a:off x="10864864" y="2991995"/>
            <a:ext cx="506508" cy="385588"/>
            <a:chOff x="2502877" y="2643553"/>
            <a:chExt cx="3651737" cy="2779942"/>
          </a:xfrm>
        </p:grpSpPr>
        <p:cxnSp>
          <p:nvCxnSpPr>
            <p:cNvPr id="319" name="Straight Connector 318">
              <a:extLst>
                <a:ext uri="{FF2B5EF4-FFF2-40B4-BE49-F238E27FC236}">
                  <a16:creationId xmlns:a16="http://schemas.microsoft.com/office/drawing/2014/main" id="{AA201B79-48DF-4CE1-A660-76EE2C933301}"/>
                </a:ext>
              </a:extLst>
            </p:cNvPr>
            <p:cNvCxnSpPr>
              <a:cxnSpLocks/>
            </p:cNvCxnSpPr>
            <p:nvPr/>
          </p:nvCxnSpPr>
          <p:spPr>
            <a:xfrm>
              <a:off x="3303655" y="4505747"/>
              <a:ext cx="0" cy="917748"/>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87DFF8DA-748D-4A42-A1BC-3EA296E54544}"/>
                </a:ext>
              </a:extLst>
            </p:cNvPr>
            <p:cNvCxnSpPr>
              <a:cxnSpLocks/>
            </p:cNvCxnSpPr>
            <p:nvPr/>
          </p:nvCxnSpPr>
          <p:spPr>
            <a:xfrm>
              <a:off x="3983069" y="3734649"/>
              <a:ext cx="0" cy="1688846"/>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A88BE1F-D84C-49A8-AD37-F96D49F689A6}"/>
                </a:ext>
              </a:extLst>
            </p:cNvPr>
            <p:cNvCxnSpPr>
              <a:cxnSpLocks/>
            </p:cNvCxnSpPr>
            <p:nvPr/>
          </p:nvCxnSpPr>
          <p:spPr>
            <a:xfrm>
              <a:off x="4662482" y="4051603"/>
              <a:ext cx="0" cy="1371892"/>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F5BE5D-B2E8-4AE9-98BD-5CB0BFF18C6D}"/>
                </a:ext>
              </a:extLst>
            </p:cNvPr>
            <p:cNvCxnSpPr>
              <a:cxnSpLocks/>
            </p:cNvCxnSpPr>
            <p:nvPr/>
          </p:nvCxnSpPr>
          <p:spPr>
            <a:xfrm>
              <a:off x="5330632" y="3185667"/>
              <a:ext cx="0" cy="2237828"/>
            </a:xfrm>
            <a:prstGeom prst="line">
              <a:avLst/>
            </a:prstGeom>
            <a:ln w="12700" cap="rnd">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3" name="Freeform: Shape 581">
              <a:extLst>
                <a:ext uri="{FF2B5EF4-FFF2-40B4-BE49-F238E27FC236}">
                  <a16:creationId xmlns:a16="http://schemas.microsoft.com/office/drawing/2014/main" id="{7FD3112F-1B1F-4DA6-A031-491CA8167398}"/>
                </a:ext>
              </a:extLst>
            </p:cNvPr>
            <p:cNvSpPr/>
            <p:nvPr/>
          </p:nvSpPr>
          <p:spPr bwMode="auto">
            <a:xfrm>
              <a:off x="2502877" y="2643553"/>
              <a:ext cx="3651737" cy="2288931"/>
            </a:xfrm>
            <a:custGeom>
              <a:avLst/>
              <a:gdLst>
                <a:gd name="connsiteX0" fmla="*/ 396145 w 3651737"/>
                <a:gd name="connsiteY0" fmla="*/ 0 h 2582009"/>
                <a:gd name="connsiteX1" fmla="*/ 3255592 w 3651737"/>
                <a:gd name="connsiteY1" fmla="*/ 0 h 2582009"/>
                <a:gd name="connsiteX2" fmla="*/ 3651737 w 3651737"/>
                <a:gd name="connsiteY2" fmla="*/ 396145 h 2582009"/>
                <a:gd name="connsiteX3" fmla="*/ 3651737 w 3651737"/>
                <a:gd name="connsiteY3" fmla="*/ 1892786 h 2582009"/>
                <a:gd name="connsiteX4" fmla="*/ 3255592 w 3651737"/>
                <a:gd name="connsiteY4" fmla="*/ 2288931 h 2582009"/>
                <a:gd name="connsiteX5" fmla="*/ 3196003 w 3651737"/>
                <a:gd name="connsiteY5" fmla="*/ 2288931 h 2582009"/>
                <a:gd name="connsiteX6" fmla="*/ 3196003 w 3651737"/>
                <a:gd name="connsiteY6" fmla="*/ 2582009 h 2582009"/>
                <a:gd name="connsiteX7" fmla="*/ 455734 w 3651737"/>
                <a:gd name="connsiteY7" fmla="*/ 2582009 h 2582009"/>
                <a:gd name="connsiteX8" fmla="*/ 455734 w 3651737"/>
                <a:gd name="connsiteY8" fmla="*/ 2288931 h 2582009"/>
                <a:gd name="connsiteX9" fmla="*/ 396145 w 3651737"/>
                <a:gd name="connsiteY9" fmla="*/ 2288931 h 2582009"/>
                <a:gd name="connsiteX10" fmla="*/ 0 w 3651737"/>
                <a:gd name="connsiteY10" fmla="*/ 1892786 h 2582009"/>
                <a:gd name="connsiteX11" fmla="*/ 0 w 3651737"/>
                <a:gd name="connsiteY11" fmla="*/ 396145 h 2582009"/>
                <a:gd name="connsiteX12" fmla="*/ 396145 w 3651737"/>
                <a:gd name="connsiteY12" fmla="*/ 0 h 2582009"/>
                <a:gd name="connsiteX0" fmla="*/ 455734 w 3651737"/>
                <a:gd name="connsiteY0" fmla="*/ 2582009 h 2673449"/>
                <a:gd name="connsiteX1" fmla="*/ 455734 w 3651737"/>
                <a:gd name="connsiteY1" fmla="*/ 2288931 h 2673449"/>
                <a:gd name="connsiteX2" fmla="*/ 396145 w 3651737"/>
                <a:gd name="connsiteY2" fmla="*/ 2288931 h 2673449"/>
                <a:gd name="connsiteX3" fmla="*/ 0 w 3651737"/>
                <a:gd name="connsiteY3" fmla="*/ 1892786 h 2673449"/>
                <a:gd name="connsiteX4" fmla="*/ 0 w 3651737"/>
                <a:gd name="connsiteY4" fmla="*/ 396145 h 2673449"/>
                <a:gd name="connsiteX5" fmla="*/ 396145 w 3651737"/>
                <a:gd name="connsiteY5" fmla="*/ 0 h 2673449"/>
                <a:gd name="connsiteX6" fmla="*/ 3255592 w 3651737"/>
                <a:gd name="connsiteY6" fmla="*/ 0 h 2673449"/>
                <a:gd name="connsiteX7" fmla="*/ 3651737 w 3651737"/>
                <a:gd name="connsiteY7" fmla="*/ 396145 h 2673449"/>
                <a:gd name="connsiteX8" fmla="*/ 3651737 w 3651737"/>
                <a:gd name="connsiteY8" fmla="*/ 1892786 h 2673449"/>
                <a:gd name="connsiteX9" fmla="*/ 3255592 w 3651737"/>
                <a:gd name="connsiteY9" fmla="*/ 2288931 h 2673449"/>
                <a:gd name="connsiteX10" fmla="*/ 3196003 w 3651737"/>
                <a:gd name="connsiteY10" fmla="*/ 2288931 h 2673449"/>
                <a:gd name="connsiteX11" fmla="*/ 3196003 w 3651737"/>
                <a:gd name="connsiteY11" fmla="*/ 2582009 h 2673449"/>
                <a:gd name="connsiteX12" fmla="*/ 547174 w 3651737"/>
                <a:gd name="connsiteY12" fmla="*/ 2673449 h 2673449"/>
                <a:gd name="connsiteX0" fmla="*/ 455734 w 3651737"/>
                <a:gd name="connsiteY0" fmla="*/ 2582009 h 2582009"/>
                <a:gd name="connsiteX1" fmla="*/ 455734 w 3651737"/>
                <a:gd name="connsiteY1" fmla="*/ 2288931 h 2582009"/>
                <a:gd name="connsiteX2" fmla="*/ 396145 w 3651737"/>
                <a:gd name="connsiteY2" fmla="*/ 2288931 h 2582009"/>
                <a:gd name="connsiteX3" fmla="*/ 0 w 3651737"/>
                <a:gd name="connsiteY3" fmla="*/ 1892786 h 2582009"/>
                <a:gd name="connsiteX4" fmla="*/ 0 w 3651737"/>
                <a:gd name="connsiteY4" fmla="*/ 396145 h 2582009"/>
                <a:gd name="connsiteX5" fmla="*/ 396145 w 3651737"/>
                <a:gd name="connsiteY5" fmla="*/ 0 h 2582009"/>
                <a:gd name="connsiteX6" fmla="*/ 3255592 w 3651737"/>
                <a:gd name="connsiteY6" fmla="*/ 0 h 2582009"/>
                <a:gd name="connsiteX7" fmla="*/ 3651737 w 3651737"/>
                <a:gd name="connsiteY7" fmla="*/ 396145 h 2582009"/>
                <a:gd name="connsiteX8" fmla="*/ 3651737 w 3651737"/>
                <a:gd name="connsiteY8" fmla="*/ 1892786 h 2582009"/>
                <a:gd name="connsiteX9" fmla="*/ 3255592 w 3651737"/>
                <a:gd name="connsiteY9" fmla="*/ 2288931 h 2582009"/>
                <a:gd name="connsiteX10" fmla="*/ 3196003 w 3651737"/>
                <a:gd name="connsiteY10" fmla="*/ 2288931 h 2582009"/>
                <a:gd name="connsiteX11" fmla="*/ 3196003 w 3651737"/>
                <a:gd name="connsiteY11" fmla="*/ 2582009 h 2582009"/>
                <a:gd name="connsiteX0" fmla="*/ 455734 w 3651737"/>
                <a:gd name="connsiteY0" fmla="*/ 2288931 h 2582009"/>
                <a:gd name="connsiteX1" fmla="*/ 396145 w 3651737"/>
                <a:gd name="connsiteY1" fmla="*/ 2288931 h 2582009"/>
                <a:gd name="connsiteX2" fmla="*/ 0 w 3651737"/>
                <a:gd name="connsiteY2" fmla="*/ 1892786 h 2582009"/>
                <a:gd name="connsiteX3" fmla="*/ 0 w 3651737"/>
                <a:gd name="connsiteY3" fmla="*/ 396145 h 2582009"/>
                <a:gd name="connsiteX4" fmla="*/ 396145 w 3651737"/>
                <a:gd name="connsiteY4" fmla="*/ 0 h 2582009"/>
                <a:gd name="connsiteX5" fmla="*/ 3255592 w 3651737"/>
                <a:gd name="connsiteY5" fmla="*/ 0 h 2582009"/>
                <a:gd name="connsiteX6" fmla="*/ 3651737 w 3651737"/>
                <a:gd name="connsiteY6" fmla="*/ 396145 h 2582009"/>
                <a:gd name="connsiteX7" fmla="*/ 3651737 w 3651737"/>
                <a:gd name="connsiteY7" fmla="*/ 1892786 h 2582009"/>
                <a:gd name="connsiteX8" fmla="*/ 3255592 w 3651737"/>
                <a:gd name="connsiteY8" fmla="*/ 2288931 h 2582009"/>
                <a:gd name="connsiteX9" fmla="*/ 3196003 w 3651737"/>
                <a:gd name="connsiteY9" fmla="*/ 2288931 h 2582009"/>
                <a:gd name="connsiteX10" fmla="*/ 3196003 w 3651737"/>
                <a:gd name="connsiteY10" fmla="*/ 2582009 h 2582009"/>
                <a:gd name="connsiteX0" fmla="*/ 455734 w 3651737"/>
                <a:gd name="connsiteY0" fmla="*/ 2288931 h 2288931"/>
                <a:gd name="connsiteX1" fmla="*/ 396145 w 3651737"/>
                <a:gd name="connsiteY1" fmla="*/ 2288931 h 2288931"/>
                <a:gd name="connsiteX2" fmla="*/ 0 w 3651737"/>
                <a:gd name="connsiteY2" fmla="*/ 1892786 h 2288931"/>
                <a:gd name="connsiteX3" fmla="*/ 0 w 3651737"/>
                <a:gd name="connsiteY3" fmla="*/ 396145 h 2288931"/>
                <a:gd name="connsiteX4" fmla="*/ 396145 w 3651737"/>
                <a:gd name="connsiteY4" fmla="*/ 0 h 2288931"/>
                <a:gd name="connsiteX5" fmla="*/ 3255592 w 3651737"/>
                <a:gd name="connsiteY5" fmla="*/ 0 h 2288931"/>
                <a:gd name="connsiteX6" fmla="*/ 3651737 w 3651737"/>
                <a:gd name="connsiteY6" fmla="*/ 396145 h 2288931"/>
                <a:gd name="connsiteX7" fmla="*/ 3651737 w 3651737"/>
                <a:gd name="connsiteY7" fmla="*/ 1892786 h 2288931"/>
                <a:gd name="connsiteX8" fmla="*/ 3255592 w 3651737"/>
                <a:gd name="connsiteY8" fmla="*/ 2288931 h 2288931"/>
                <a:gd name="connsiteX9" fmla="*/ 3196003 w 3651737"/>
                <a:gd name="connsiteY9" fmla="*/ 2288931 h 228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1737" h="2288931">
                  <a:moveTo>
                    <a:pt x="455734" y="2288931"/>
                  </a:moveTo>
                  <a:lnTo>
                    <a:pt x="396145" y="2288931"/>
                  </a:lnTo>
                  <a:cubicBezTo>
                    <a:pt x="177360" y="2288931"/>
                    <a:pt x="0" y="2111571"/>
                    <a:pt x="0" y="1892786"/>
                  </a:cubicBezTo>
                  <a:lnTo>
                    <a:pt x="0" y="396145"/>
                  </a:lnTo>
                  <a:cubicBezTo>
                    <a:pt x="0" y="177360"/>
                    <a:pt x="177360" y="0"/>
                    <a:pt x="396145" y="0"/>
                  </a:cubicBezTo>
                  <a:lnTo>
                    <a:pt x="3255592" y="0"/>
                  </a:lnTo>
                  <a:cubicBezTo>
                    <a:pt x="3474377" y="0"/>
                    <a:pt x="3651737" y="177360"/>
                    <a:pt x="3651737" y="396145"/>
                  </a:cubicBezTo>
                  <a:lnTo>
                    <a:pt x="3651737" y="1892786"/>
                  </a:lnTo>
                  <a:cubicBezTo>
                    <a:pt x="3651737" y="2111571"/>
                    <a:pt x="3474377" y="2288931"/>
                    <a:pt x="3255592" y="2288931"/>
                  </a:cubicBezTo>
                  <a:lnTo>
                    <a:pt x="3196003" y="2288931"/>
                  </a:lnTo>
                </a:path>
              </a:pathLst>
            </a:cu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grpSp>
      <p:sp>
        <p:nvSpPr>
          <p:cNvPr id="326" name="Freeform 2"/>
          <p:cNvSpPr>
            <a:spLocks noChangeArrowheads="1"/>
          </p:cNvSpPr>
          <p:nvPr/>
        </p:nvSpPr>
        <p:spPr bwMode="auto">
          <a:xfrm>
            <a:off x="2894765" y="1764811"/>
            <a:ext cx="6476412" cy="1285694"/>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nvGrpSpPr>
          <p:cNvPr id="329" name="Group 328"/>
          <p:cNvGrpSpPr/>
          <p:nvPr/>
        </p:nvGrpSpPr>
        <p:grpSpPr>
          <a:xfrm rot="16200000">
            <a:off x="7973321" y="3685199"/>
            <a:ext cx="3979467" cy="476401"/>
            <a:chOff x="3487387" y="4548246"/>
            <a:chExt cx="5217226" cy="653146"/>
          </a:xfrm>
        </p:grpSpPr>
        <p:sp>
          <p:nvSpPr>
            <p:cNvPr id="330" name="Freeform 329"/>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31" name="Freeform 330"/>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333" name="Group 332">
            <a:extLst>
              <a:ext uri="{FF2B5EF4-FFF2-40B4-BE49-F238E27FC236}">
                <a16:creationId xmlns:a16="http://schemas.microsoft.com/office/drawing/2014/main" id="{157E86F5-3799-413F-865B-056B2239467C}"/>
              </a:ext>
            </a:extLst>
          </p:cNvPr>
          <p:cNvGrpSpPr/>
          <p:nvPr/>
        </p:nvGrpSpPr>
        <p:grpSpPr>
          <a:xfrm>
            <a:off x="8235589" y="5030461"/>
            <a:ext cx="622766" cy="494323"/>
            <a:chOff x="4223626" y="2353385"/>
            <a:chExt cx="1173971" cy="931848"/>
          </a:xfrm>
        </p:grpSpPr>
        <p:grpSp>
          <p:nvGrpSpPr>
            <p:cNvPr id="334" name="Group 333">
              <a:extLst>
                <a:ext uri="{FF2B5EF4-FFF2-40B4-BE49-F238E27FC236}">
                  <a16:creationId xmlns:a16="http://schemas.microsoft.com/office/drawing/2014/main" id="{A05C8CA7-5716-44F4-AA6C-F308105199AC}"/>
                </a:ext>
              </a:extLst>
            </p:cNvPr>
            <p:cNvGrpSpPr/>
            <p:nvPr/>
          </p:nvGrpSpPr>
          <p:grpSpPr>
            <a:xfrm>
              <a:off x="4273550" y="2402418"/>
              <a:ext cx="1079500" cy="840315"/>
              <a:chOff x="4273550" y="2402418"/>
              <a:chExt cx="1079500" cy="840315"/>
            </a:xfrm>
          </p:grpSpPr>
          <p:cxnSp>
            <p:nvCxnSpPr>
              <p:cNvPr id="343" name="Straight Connector 342">
                <a:extLst>
                  <a:ext uri="{FF2B5EF4-FFF2-40B4-BE49-F238E27FC236}">
                    <a16:creationId xmlns:a16="http://schemas.microsoft.com/office/drawing/2014/main" id="{5A851271-35B9-4567-8242-E3F912E0579A}"/>
                  </a:ext>
                </a:extLst>
              </p:cNvPr>
              <p:cNvCxnSpPr>
                <a:cxnSpLocks/>
              </p:cNvCxnSpPr>
              <p:nvPr/>
            </p:nvCxnSpPr>
            <p:spPr>
              <a:xfrm>
                <a:off x="4997450" y="2413000"/>
                <a:ext cx="355600" cy="23283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4" name="Straight Connector 343">
                <a:extLst>
                  <a:ext uri="{FF2B5EF4-FFF2-40B4-BE49-F238E27FC236}">
                    <a16:creationId xmlns:a16="http://schemas.microsoft.com/office/drawing/2014/main" id="{AB8BADB1-F06D-4556-BDB3-AC51BE1C0209}"/>
                  </a:ext>
                </a:extLst>
              </p:cNvPr>
              <p:cNvCxnSpPr>
                <a:cxnSpLocks/>
              </p:cNvCxnSpPr>
              <p:nvPr/>
            </p:nvCxnSpPr>
            <p:spPr>
              <a:xfrm>
                <a:off x="4997450" y="2413000"/>
                <a:ext cx="296333" cy="721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5" name="Straight Connector 344">
                <a:extLst>
                  <a:ext uri="{FF2B5EF4-FFF2-40B4-BE49-F238E27FC236}">
                    <a16:creationId xmlns:a16="http://schemas.microsoft.com/office/drawing/2014/main" id="{FEDDF95B-3B64-4407-8297-89C1BA4C5D78}"/>
                  </a:ext>
                </a:extLst>
              </p:cNvPr>
              <p:cNvCxnSpPr>
                <a:cxnSpLocks/>
              </p:cNvCxnSpPr>
              <p:nvPr/>
            </p:nvCxnSpPr>
            <p:spPr>
              <a:xfrm flipV="1">
                <a:off x="4762500" y="3143250"/>
                <a:ext cx="520700" cy="86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6" name="Straight Connector 345">
                <a:extLst>
                  <a:ext uri="{FF2B5EF4-FFF2-40B4-BE49-F238E27FC236}">
                    <a16:creationId xmlns:a16="http://schemas.microsoft.com/office/drawing/2014/main" id="{0024F100-B6BA-4A71-A159-2082E41BB8E5}"/>
                  </a:ext>
                </a:extLst>
              </p:cNvPr>
              <p:cNvCxnSpPr>
                <a:cxnSpLocks/>
              </p:cNvCxnSpPr>
              <p:nvPr/>
            </p:nvCxnSpPr>
            <p:spPr>
              <a:xfrm flipV="1">
                <a:off x="5039783" y="2641600"/>
                <a:ext cx="300567" cy="2413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7" name="Straight Connector 346">
                <a:extLst>
                  <a:ext uri="{FF2B5EF4-FFF2-40B4-BE49-F238E27FC236}">
                    <a16:creationId xmlns:a16="http://schemas.microsoft.com/office/drawing/2014/main" id="{14772615-86BD-40A8-A00C-9CA1E8D8ADC2}"/>
                  </a:ext>
                </a:extLst>
              </p:cNvPr>
              <p:cNvCxnSpPr>
                <a:cxnSpLocks/>
              </p:cNvCxnSpPr>
              <p:nvPr/>
            </p:nvCxnSpPr>
            <p:spPr>
              <a:xfrm flipV="1">
                <a:off x="4413250" y="2413001"/>
                <a:ext cx="571500" cy="126999"/>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8" name="Straight Connector 347">
                <a:extLst>
                  <a:ext uri="{FF2B5EF4-FFF2-40B4-BE49-F238E27FC236}">
                    <a16:creationId xmlns:a16="http://schemas.microsoft.com/office/drawing/2014/main" id="{CE05E5C5-F516-4118-A018-0C2ABCE56079}"/>
                  </a:ext>
                </a:extLst>
              </p:cNvPr>
              <p:cNvCxnSpPr>
                <a:cxnSpLocks/>
              </p:cNvCxnSpPr>
              <p:nvPr/>
            </p:nvCxnSpPr>
            <p:spPr>
              <a:xfrm flipV="1">
                <a:off x="4703233" y="2450099"/>
                <a:ext cx="251425" cy="248651"/>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49" name="Straight Connector 348">
                <a:extLst>
                  <a:ext uri="{FF2B5EF4-FFF2-40B4-BE49-F238E27FC236}">
                    <a16:creationId xmlns:a16="http://schemas.microsoft.com/office/drawing/2014/main" id="{235FA8B6-0664-4D81-A0C3-041C91042D21}"/>
                  </a:ext>
                </a:extLst>
              </p:cNvPr>
              <p:cNvCxnSpPr>
                <a:cxnSpLocks/>
              </p:cNvCxnSpPr>
              <p:nvPr/>
            </p:nvCxnSpPr>
            <p:spPr>
              <a:xfrm flipV="1">
                <a:off x="4762500" y="2402418"/>
                <a:ext cx="232833" cy="821265"/>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0" name="Straight Connector 349">
                <a:extLst>
                  <a:ext uri="{FF2B5EF4-FFF2-40B4-BE49-F238E27FC236}">
                    <a16:creationId xmlns:a16="http://schemas.microsoft.com/office/drawing/2014/main" id="{293D7F10-2B40-4C3E-BC02-FB5F218DD717}"/>
                  </a:ext>
                </a:extLst>
              </p:cNvPr>
              <p:cNvCxnSpPr>
                <a:cxnSpLocks/>
              </p:cNvCxnSpPr>
              <p:nvPr/>
            </p:nvCxnSpPr>
            <p:spPr>
              <a:xfrm flipH="1" flipV="1">
                <a:off x="4273550" y="2984500"/>
                <a:ext cx="495300" cy="2518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1" name="Straight Connector 350">
                <a:extLst>
                  <a:ext uri="{FF2B5EF4-FFF2-40B4-BE49-F238E27FC236}">
                    <a16:creationId xmlns:a16="http://schemas.microsoft.com/office/drawing/2014/main" id="{6FAF40E5-CA9A-43A7-B678-5E15A8DC259F}"/>
                  </a:ext>
                </a:extLst>
              </p:cNvPr>
              <p:cNvCxnSpPr>
                <a:cxnSpLocks/>
              </p:cNvCxnSpPr>
              <p:nvPr/>
            </p:nvCxnSpPr>
            <p:spPr>
              <a:xfrm flipH="1" flipV="1">
                <a:off x="4417483" y="2537884"/>
                <a:ext cx="647700" cy="33866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2" name="Straight Connector 351">
                <a:extLst>
                  <a:ext uri="{FF2B5EF4-FFF2-40B4-BE49-F238E27FC236}">
                    <a16:creationId xmlns:a16="http://schemas.microsoft.com/office/drawing/2014/main" id="{BA50FD9A-5E22-4AA7-ACA5-624DAD5EC5B5}"/>
                  </a:ext>
                </a:extLst>
              </p:cNvPr>
              <p:cNvCxnSpPr>
                <a:cxnSpLocks/>
              </p:cNvCxnSpPr>
              <p:nvPr/>
            </p:nvCxnSpPr>
            <p:spPr>
              <a:xfrm flipV="1">
                <a:off x="4277783" y="2874433"/>
                <a:ext cx="770467" cy="10795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3" name="Straight Connector 352">
                <a:extLst>
                  <a:ext uri="{FF2B5EF4-FFF2-40B4-BE49-F238E27FC236}">
                    <a16:creationId xmlns:a16="http://schemas.microsoft.com/office/drawing/2014/main" id="{4C194713-8DF4-472A-95E2-3008956F3DCA}"/>
                  </a:ext>
                </a:extLst>
              </p:cNvPr>
              <p:cNvCxnSpPr>
                <a:cxnSpLocks/>
              </p:cNvCxnSpPr>
              <p:nvPr/>
            </p:nvCxnSpPr>
            <p:spPr>
              <a:xfrm flipH="1" flipV="1">
                <a:off x="4413250" y="2531533"/>
                <a:ext cx="353483" cy="698500"/>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4" name="Straight Connector 353">
                <a:extLst>
                  <a:ext uri="{FF2B5EF4-FFF2-40B4-BE49-F238E27FC236}">
                    <a16:creationId xmlns:a16="http://schemas.microsoft.com/office/drawing/2014/main" id="{9D0988E2-D6D1-441A-984F-FCB82793B272}"/>
                  </a:ext>
                </a:extLst>
              </p:cNvPr>
              <p:cNvCxnSpPr>
                <a:cxnSpLocks/>
              </p:cNvCxnSpPr>
              <p:nvPr/>
            </p:nvCxnSpPr>
            <p:spPr>
              <a:xfrm flipH="1" flipV="1">
                <a:off x="4715933" y="2698750"/>
                <a:ext cx="50800" cy="5439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5" name="Straight Connector 354">
                <a:extLst>
                  <a:ext uri="{FF2B5EF4-FFF2-40B4-BE49-F238E27FC236}">
                    <a16:creationId xmlns:a16="http://schemas.microsoft.com/office/drawing/2014/main" id="{BFBF1C9C-0CC3-4886-AB32-C611A6480AB3}"/>
                  </a:ext>
                </a:extLst>
              </p:cNvPr>
              <p:cNvCxnSpPr>
                <a:cxnSpLocks/>
              </p:cNvCxnSpPr>
              <p:nvPr/>
            </p:nvCxnSpPr>
            <p:spPr>
              <a:xfrm flipH="1" flipV="1">
                <a:off x="5052483" y="2899834"/>
                <a:ext cx="234950" cy="218016"/>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356" name="Straight Connector 355">
                <a:extLst>
                  <a:ext uri="{FF2B5EF4-FFF2-40B4-BE49-F238E27FC236}">
                    <a16:creationId xmlns:a16="http://schemas.microsoft.com/office/drawing/2014/main" id="{64E2F12D-BF5C-41F8-98EE-C153F2CDD22D}"/>
                  </a:ext>
                </a:extLst>
              </p:cNvPr>
              <p:cNvCxnSpPr>
                <a:cxnSpLocks/>
              </p:cNvCxnSpPr>
              <p:nvPr/>
            </p:nvCxnSpPr>
            <p:spPr>
              <a:xfrm flipV="1">
                <a:off x="4762500" y="2876550"/>
                <a:ext cx="292101" cy="340783"/>
              </a:xfrm>
              <a:prstGeom prst="line">
                <a:avLst/>
              </a:prstGeom>
              <a:noFill/>
              <a:ln w="12700" cap="rnd">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35" name="Oval 19">
              <a:extLst>
                <a:ext uri="{FF2B5EF4-FFF2-40B4-BE49-F238E27FC236}">
                  <a16:creationId xmlns:a16="http://schemas.microsoft.com/office/drawing/2014/main" id="{B69A7114-346D-4E1F-8316-C9F674D43BD2}"/>
                </a:ext>
              </a:extLst>
            </p:cNvPr>
            <p:cNvSpPr>
              <a:spLocks noChangeArrowheads="1"/>
            </p:cNvSpPr>
            <p:nvPr/>
          </p:nvSpPr>
          <p:spPr bwMode="auto">
            <a:xfrm>
              <a:off x="4938065" y="2353385"/>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6" name="Oval 19">
              <a:extLst>
                <a:ext uri="{FF2B5EF4-FFF2-40B4-BE49-F238E27FC236}">
                  <a16:creationId xmlns:a16="http://schemas.microsoft.com/office/drawing/2014/main" id="{829E95C8-0BE7-4934-BBA0-764CFC1335BC}"/>
                </a:ext>
              </a:extLst>
            </p:cNvPr>
            <p:cNvSpPr>
              <a:spLocks noChangeArrowheads="1"/>
            </p:cNvSpPr>
            <p:nvPr/>
          </p:nvSpPr>
          <p:spPr bwMode="auto">
            <a:xfrm>
              <a:off x="5284290" y="258271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7" name="Oval 19">
              <a:extLst>
                <a:ext uri="{FF2B5EF4-FFF2-40B4-BE49-F238E27FC236}">
                  <a16:creationId xmlns:a16="http://schemas.microsoft.com/office/drawing/2014/main" id="{018D398B-43FE-4715-8E00-9755FF081ED6}"/>
                </a:ext>
              </a:extLst>
            </p:cNvPr>
            <p:cNvSpPr>
              <a:spLocks noChangeArrowheads="1"/>
            </p:cNvSpPr>
            <p:nvPr/>
          </p:nvSpPr>
          <p:spPr bwMode="auto">
            <a:xfrm>
              <a:off x="4992571" y="2824202"/>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8" name="Oval 19">
              <a:extLst>
                <a:ext uri="{FF2B5EF4-FFF2-40B4-BE49-F238E27FC236}">
                  <a16:creationId xmlns:a16="http://schemas.microsoft.com/office/drawing/2014/main" id="{C3354846-2B08-490E-8CC7-713F631A2042}"/>
                </a:ext>
              </a:extLst>
            </p:cNvPr>
            <p:cNvSpPr>
              <a:spLocks noChangeArrowheads="1"/>
            </p:cNvSpPr>
            <p:nvPr/>
          </p:nvSpPr>
          <p:spPr bwMode="auto">
            <a:xfrm>
              <a:off x="5227637" y="307168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39" name="Oval 19">
              <a:extLst>
                <a:ext uri="{FF2B5EF4-FFF2-40B4-BE49-F238E27FC236}">
                  <a16:creationId xmlns:a16="http://schemas.microsoft.com/office/drawing/2014/main" id="{D1CBB913-D1AD-48D0-BE4A-7FBEA08A9A92}"/>
                </a:ext>
              </a:extLst>
            </p:cNvPr>
            <p:cNvSpPr>
              <a:spLocks noChangeArrowheads="1"/>
            </p:cNvSpPr>
            <p:nvPr/>
          </p:nvSpPr>
          <p:spPr bwMode="auto">
            <a:xfrm>
              <a:off x="4703544" y="3171926"/>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0" name="Oval 19">
              <a:extLst>
                <a:ext uri="{FF2B5EF4-FFF2-40B4-BE49-F238E27FC236}">
                  <a16:creationId xmlns:a16="http://schemas.microsoft.com/office/drawing/2014/main" id="{C1B58B5E-4C1F-4ADC-AA6C-FC2ABE032354}"/>
                </a:ext>
              </a:extLst>
            </p:cNvPr>
            <p:cNvSpPr>
              <a:spLocks noChangeArrowheads="1"/>
            </p:cNvSpPr>
            <p:nvPr/>
          </p:nvSpPr>
          <p:spPr bwMode="auto">
            <a:xfrm>
              <a:off x="4223626" y="2924064"/>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1" name="Oval 19">
              <a:extLst>
                <a:ext uri="{FF2B5EF4-FFF2-40B4-BE49-F238E27FC236}">
                  <a16:creationId xmlns:a16="http://schemas.microsoft.com/office/drawing/2014/main" id="{CFB2AEFE-8939-4180-9B35-944BDC81CF0E}"/>
                </a:ext>
              </a:extLst>
            </p:cNvPr>
            <p:cNvSpPr>
              <a:spLocks noChangeArrowheads="1"/>
            </p:cNvSpPr>
            <p:nvPr/>
          </p:nvSpPr>
          <p:spPr bwMode="auto">
            <a:xfrm>
              <a:off x="4655543" y="2638231"/>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sp useBgFill="1">
          <p:nvSpPr>
            <p:cNvPr id="342" name="Oval 19">
              <a:extLst>
                <a:ext uri="{FF2B5EF4-FFF2-40B4-BE49-F238E27FC236}">
                  <a16:creationId xmlns:a16="http://schemas.microsoft.com/office/drawing/2014/main" id="{09010101-87A4-4BE3-A0A0-3F72B3CAD0F3}"/>
                </a:ext>
              </a:extLst>
            </p:cNvPr>
            <p:cNvSpPr>
              <a:spLocks noChangeArrowheads="1"/>
            </p:cNvSpPr>
            <p:nvPr/>
          </p:nvSpPr>
          <p:spPr bwMode="auto">
            <a:xfrm>
              <a:off x="4363387" y="2482918"/>
              <a:ext cx="113307" cy="113307"/>
            </a:xfrm>
            <a:prstGeom prst="ellipse">
              <a:avLst/>
            </a:prstGeom>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2040" b="0" i="0" u="none" strike="noStrike" kern="1200" cap="none" spc="0" normalizeH="0" baseline="0" noProof="0" dirty="0">
                <a:ln>
                  <a:noFill/>
                </a:ln>
                <a:gradFill>
                  <a:gsLst>
                    <a:gs pos="0">
                      <a:srgbClr val="505050"/>
                    </a:gs>
                    <a:gs pos="100000">
                      <a:srgbClr val="505050"/>
                    </a:gs>
                  </a:gsLst>
                  <a:lin ang="5400000" scaled="1"/>
                </a:gradFill>
                <a:effectLst/>
                <a:uLnTx/>
                <a:uFillTx/>
                <a:latin typeface="Calibri Light" panose="020F0302020204030204"/>
                <a:ea typeface="+mn-ea"/>
                <a:cs typeface="+mn-cs"/>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98363" y="5044785"/>
            <a:ext cx="816028" cy="426825"/>
          </a:xfrm>
          <a:prstGeom prst="rect">
            <a:avLst/>
          </a:prstGeom>
        </p:spPr>
      </p:pic>
      <p:grpSp>
        <p:nvGrpSpPr>
          <p:cNvPr id="357" name="Group 356"/>
          <p:cNvGrpSpPr/>
          <p:nvPr/>
        </p:nvGrpSpPr>
        <p:grpSpPr>
          <a:xfrm rot="16200000">
            <a:off x="315635" y="3581816"/>
            <a:ext cx="4026406" cy="476401"/>
            <a:chOff x="3487387" y="4548246"/>
            <a:chExt cx="5217226" cy="653146"/>
          </a:xfrm>
        </p:grpSpPr>
        <p:sp>
          <p:nvSpPr>
            <p:cNvPr id="358" name="Freeform 357"/>
            <p:cNvSpPr/>
            <p:nvPr/>
          </p:nvSpPr>
          <p:spPr>
            <a:xfrm rot="10800000">
              <a:off x="3487387" y="4548246"/>
              <a:ext cx="5217226" cy="296885"/>
            </a:xfrm>
            <a:custGeom>
              <a:avLst/>
              <a:gdLst>
                <a:gd name="connsiteX0" fmla="*/ 0 w 9096498"/>
                <a:gd name="connsiteY0" fmla="*/ 356260 h 368135"/>
                <a:gd name="connsiteX1" fmla="*/ 0 w 9096498"/>
                <a:gd name="connsiteY1" fmla="*/ 0 h 368135"/>
                <a:gd name="connsiteX2" fmla="*/ 9096498 w 9096498"/>
                <a:gd name="connsiteY2" fmla="*/ 0 h 368135"/>
                <a:gd name="connsiteX3" fmla="*/ 9096498 w 9096498"/>
                <a:gd name="connsiteY3" fmla="*/ 368135 h 368135"/>
              </a:gdLst>
              <a:ahLst/>
              <a:cxnLst>
                <a:cxn ang="0">
                  <a:pos x="connsiteX0" y="connsiteY0"/>
                </a:cxn>
                <a:cxn ang="0">
                  <a:pos x="connsiteX1" y="connsiteY1"/>
                </a:cxn>
                <a:cxn ang="0">
                  <a:pos x="connsiteX2" y="connsiteY2"/>
                </a:cxn>
                <a:cxn ang="0">
                  <a:pos x="connsiteX3" y="connsiteY3"/>
                </a:cxn>
              </a:cxnLst>
              <a:rect l="l" t="t" r="r" b="b"/>
              <a:pathLst>
                <a:path w="9096498" h="368135">
                  <a:moveTo>
                    <a:pt x="0" y="356260"/>
                  </a:moveTo>
                  <a:lnTo>
                    <a:pt x="0" y="0"/>
                  </a:lnTo>
                  <a:lnTo>
                    <a:pt x="9096498" y="0"/>
                  </a:lnTo>
                  <a:lnTo>
                    <a:pt x="9096498" y="368135"/>
                  </a:lnTo>
                </a:path>
              </a:pathLst>
            </a:custGeom>
            <a:noFill/>
            <a:ln>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359" name="Freeform 358"/>
            <p:cNvSpPr/>
            <p:nvPr/>
          </p:nvSpPr>
          <p:spPr>
            <a:xfrm flipH="1">
              <a:off x="6057373" y="4845131"/>
              <a:ext cx="45719" cy="356261"/>
            </a:xfrm>
            <a:custGeom>
              <a:avLst/>
              <a:gdLst>
                <a:gd name="connsiteX0" fmla="*/ 0 w 0"/>
                <a:gd name="connsiteY0" fmla="*/ 0 h 475013"/>
                <a:gd name="connsiteX1" fmla="*/ 0 w 0"/>
                <a:gd name="connsiteY1" fmla="*/ 475013 h 475013"/>
              </a:gdLst>
              <a:ahLst/>
              <a:cxnLst>
                <a:cxn ang="0">
                  <a:pos x="connsiteX0" y="connsiteY0"/>
                </a:cxn>
                <a:cxn ang="0">
                  <a:pos x="connsiteX1" y="connsiteY1"/>
                </a:cxn>
              </a:cxnLst>
              <a:rect l="l" t="t" r="r" b="b"/>
              <a:pathLst>
                <a:path h="475013">
                  <a:moveTo>
                    <a:pt x="0" y="0"/>
                  </a:moveTo>
                  <a:lnTo>
                    <a:pt x="0" y="475013"/>
                  </a:lnTo>
                </a:path>
              </a:pathLst>
            </a:custGeom>
            <a:noFill/>
            <a:ln>
              <a:solidFill>
                <a:schemeClr val="accent4"/>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8" name="Group 7"/>
          <p:cNvGrpSpPr/>
          <p:nvPr/>
        </p:nvGrpSpPr>
        <p:grpSpPr>
          <a:xfrm>
            <a:off x="1102832" y="1911998"/>
            <a:ext cx="396638" cy="604960"/>
            <a:chOff x="952162" y="1304149"/>
            <a:chExt cx="630602" cy="961807"/>
          </a:xfrm>
          <a:noFill/>
        </p:grpSpPr>
        <p:grpSp>
          <p:nvGrpSpPr>
            <p:cNvPr id="170" name="Group 169">
              <a:extLst>
                <a:ext uri="{FF2B5EF4-FFF2-40B4-BE49-F238E27FC236}">
                  <a16:creationId xmlns:a16="http://schemas.microsoft.com/office/drawing/2014/main" id="{421523C8-5C73-4065-8241-E6B5788AE66D}"/>
                </a:ext>
              </a:extLst>
            </p:cNvPr>
            <p:cNvGrpSpPr/>
            <p:nvPr/>
          </p:nvGrpSpPr>
          <p:grpSpPr>
            <a:xfrm rot="18900000">
              <a:off x="952162" y="1304149"/>
              <a:ext cx="630602" cy="634379"/>
              <a:chOff x="7855882" y="2876917"/>
              <a:chExt cx="186983" cy="188103"/>
            </a:xfrm>
            <a:grpFill/>
          </p:grpSpPr>
          <p:sp>
            <p:nvSpPr>
              <p:cNvPr id="171" name="Freeform 99">
                <a:extLst>
                  <a:ext uri="{FF2B5EF4-FFF2-40B4-BE49-F238E27FC236}">
                    <a16:creationId xmlns:a16="http://schemas.microsoft.com/office/drawing/2014/main" id="{82403A1B-46A8-496D-97A1-D6CD697255D0}"/>
                  </a:ext>
                </a:extLst>
              </p:cNvPr>
              <p:cNvSpPr>
                <a:spLocks/>
              </p:cNvSpPr>
              <p:nvPr/>
            </p:nvSpPr>
            <p:spPr bwMode="auto">
              <a:xfrm>
                <a:off x="7855882" y="2951934"/>
                <a:ext cx="111966" cy="113086"/>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2" name="Freeform 100">
                <a:extLst>
                  <a:ext uri="{FF2B5EF4-FFF2-40B4-BE49-F238E27FC236}">
                    <a16:creationId xmlns:a16="http://schemas.microsoft.com/office/drawing/2014/main" id="{4955A11D-DC58-4772-9411-DE2AE3195549}"/>
                  </a:ext>
                </a:extLst>
              </p:cNvPr>
              <p:cNvSpPr>
                <a:spLocks/>
              </p:cNvSpPr>
              <p:nvPr/>
            </p:nvSpPr>
            <p:spPr bwMode="auto">
              <a:xfrm>
                <a:off x="7855882" y="2916105"/>
                <a:ext cx="150035" cy="148915"/>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173" name="Freeform 101">
                <a:extLst>
                  <a:ext uri="{FF2B5EF4-FFF2-40B4-BE49-F238E27FC236}">
                    <a16:creationId xmlns:a16="http://schemas.microsoft.com/office/drawing/2014/main" id="{DB0A5B1D-F31E-4BE1-9830-C9C3C44A294F}"/>
                  </a:ext>
                </a:extLst>
              </p:cNvPr>
              <p:cNvSpPr>
                <a:spLocks/>
              </p:cNvSpPr>
              <p:nvPr/>
            </p:nvSpPr>
            <p:spPr bwMode="auto">
              <a:xfrm>
                <a:off x="7855882" y="2876917"/>
                <a:ext cx="186983" cy="18810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5" name="Oval 4"/>
            <p:cNvSpPr/>
            <p:nvPr/>
          </p:nvSpPr>
          <p:spPr>
            <a:xfrm flipV="1">
              <a:off x="1084304" y="1899638"/>
              <a:ext cx="366318" cy="366318"/>
            </a:xfrm>
            <a:prstGeom prst="ellips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grpSp>
      <p:grpSp>
        <p:nvGrpSpPr>
          <p:cNvPr id="10" name="Group 9"/>
          <p:cNvGrpSpPr/>
          <p:nvPr/>
        </p:nvGrpSpPr>
        <p:grpSpPr>
          <a:xfrm>
            <a:off x="819633" y="3007482"/>
            <a:ext cx="846156" cy="468915"/>
            <a:chOff x="603432" y="2974623"/>
            <a:chExt cx="829640" cy="459762"/>
          </a:xfrm>
        </p:grpSpPr>
        <p:sp>
          <p:nvSpPr>
            <p:cNvPr id="176" name="Freeform 146">
              <a:extLst>
                <a:ext uri="{FF2B5EF4-FFF2-40B4-BE49-F238E27FC236}">
                  <a16:creationId xmlns:a16="http://schemas.microsoft.com/office/drawing/2014/main" id="{8584423E-DC4D-476D-A3D6-22901C3C02B4}"/>
                </a:ext>
              </a:extLst>
            </p:cNvPr>
            <p:cNvSpPr>
              <a:spLocks noChangeAspect="1"/>
            </p:cNvSpPr>
            <p:nvPr/>
          </p:nvSpPr>
          <p:spPr bwMode="auto">
            <a:xfrm>
              <a:off x="603432" y="2974623"/>
              <a:ext cx="485330" cy="30736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1836"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03" name="Freeform 146">
              <a:extLst>
                <a:ext uri="{FF2B5EF4-FFF2-40B4-BE49-F238E27FC236}">
                  <a16:creationId xmlns:a16="http://schemas.microsoft.com/office/drawing/2014/main" id="{8584423E-DC4D-476D-A3D6-22901C3C02B4}"/>
                </a:ext>
              </a:extLst>
            </p:cNvPr>
            <p:cNvSpPr>
              <a:spLocks noChangeAspect="1"/>
            </p:cNvSpPr>
            <p:nvPr/>
          </p:nvSpPr>
          <p:spPr bwMode="auto">
            <a:xfrm>
              <a:off x="799900" y="3033391"/>
              <a:ext cx="633172" cy="400994"/>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bg1"/>
            </a:solid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IN" sz="1836" b="1" i="0" u="none" strike="noStrike" kern="1200" cap="none" spc="0" normalizeH="0" baseline="0" noProof="0" dirty="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sp>
        <p:nvSpPr>
          <p:cNvPr id="165" name="TextBox 164">
            <a:extLst>
              <a:ext uri="{FF2B5EF4-FFF2-40B4-BE49-F238E27FC236}">
                <a16:creationId xmlns:a16="http://schemas.microsoft.com/office/drawing/2014/main" id="{0DC26B6F-BE7E-4BB0-B7F6-BD86F96475CE}"/>
              </a:ext>
            </a:extLst>
          </p:cNvPr>
          <p:cNvSpPr txBox="1"/>
          <p:nvPr/>
        </p:nvSpPr>
        <p:spPr>
          <a:xfrm>
            <a:off x="10189948" y="5783233"/>
            <a:ext cx="1815172" cy="254262"/>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1632"/>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warehouses</a:t>
            </a:r>
          </a:p>
        </p:txBody>
      </p:sp>
      <p:grpSp>
        <p:nvGrpSpPr>
          <p:cNvPr id="166" name="Group 165">
            <a:extLst>
              <a:ext uri="{FF2B5EF4-FFF2-40B4-BE49-F238E27FC236}">
                <a16:creationId xmlns:a16="http://schemas.microsoft.com/office/drawing/2014/main" id="{329D6182-2959-48F8-AEDB-BB4B108D1668}"/>
              </a:ext>
            </a:extLst>
          </p:cNvPr>
          <p:cNvGrpSpPr/>
          <p:nvPr/>
        </p:nvGrpSpPr>
        <p:grpSpPr>
          <a:xfrm>
            <a:off x="10854728" y="5307818"/>
            <a:ext cx="485613" cy="476890"/>
            <a:chOff x="2549926" y="1227604"/>
            <a:chExt cx="5177116" cy="5084148"/>
          </a:xfrm>
        </p:grpSpPr>
        <p:sp>
          <p:nvSpPr>
            <p:cNvPr id="167" name="Freeform: Shape 583">
              <a:extLst>
                <a:ext uri="{FF2B5EF4-FFF2-40B4-BE49-F238E27FC236}">
                  <a16:creationId xmlns:a16="http://schemas.microsoft.com/office/drawing/2014/main" id="{D41FA54A-BF28-42C1-BAB5-00F77F2BE36E}"/>
                </a:ext>
              </a:extLst>
            </p:cNvPr>
            <p:cNvSpPr/>
            <p:nvPr/>
          </p:nvSpPr>
          <p:spPr bwMode="auto">
            <a:xfrm>
              <a:off x="2549926" y="1227604"/>
              <a:ext cx="4001268" cy="3614059"/>
            </a:xfrm>
            <a:custGeom>
              <a:avLst/>
              <a:gdLst>
                <a:gd name="connsiteX0" fmla="*/ 2000634 w 4001268"/>
                <a:gd name="connsiteY0" fmla="*/ 0 h 3614059"/>
                <a:gd name="connsiteX1" fmla="*/ 4001268 w 4001268"/>
                <a:gd name="connsiteY1" fmla="*/ 1445188 h 3614059"/>
                <a:gd name="connsiteX2" fmla="*/ 3659101 w 4001268"/>
                <a:gd name="connsiteY2" fmla="*/ 1445188 h 3614059"/>
                <a:gd name="connsiteX3" fmla="*/ 3659101 w 4001268"/>
                <a:gd name="connsiteY3" fmla="*/ 3614059 h 3614059"/>
                <a:gd name="connsiteX4" fmla="*/ 3372234 w 4001268"/>
                <a:gd name="connsiteY4" fmla="*/ 3614059 h 3614059"/>
                <a:gd name="connsiteX5" fmla="*/ 3372234 w 4001268"/>
                <a:gd name="connsiteY5" fmla="*/ 1559139 h 3614059"/>
                <a:gd name="connsiteX6" fmla="*/ 629034 w 4001268"/>
                <a:gd name="connsiteY6" fmla="*/ 1559139 h 3614059"/>
                <a:gd name="connsiteX7" fmla="*/ 629034 w 4001268"/>
                <a:gd name="connsiteY7" fmla="*/ 3614059 h 3614059"/>
                <a:gd name="connsiteX8" fmla="*/ 342168 w 4001268"/>
                <a:gd name="connsiteY8" fmla="*/ 3614059 h 3614059"/>
                <a:gd name="connsiteX9" fmla="*/ 342168 w 4001268"/>
                <a:gd name="connsiteY9" fmla="*/ 1445188 h 3614059"/>
                <a:gd name="connsiteX10" fmla="*/ 0 w 4001268"/>
                <a:gd name="connsiteY10" fmla="*/ 1445188 h 3614059"/>
                <a:gd name="connsiteX11" fmla="*/ 2000634 w 4001268"/>
                <a:gd name="connsiteY11" fmla="*/ 0 h 361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268" h="3614059">
                  <a:moveTo>
                    <a:pt x="2000634" y="0"/>
                  </a:moveTo>
                  <a:lnTo>
                    <a:pt x="4001268" y="1445188"/>
                  </a:lnTo>
                  <a:lnTo>
                    <a:pt x="3659101" y="1445188"/>
                  </a:lnTo>
                  <a:lnTo>
                    <a:pt x="3659101" y="3614059"/>
                  </a:lnTo>
                  <a:lnTo>
                    <a:pt x="3372234" y="3614059"/>
                  </a:lnTo>
                  <a:lnTo>
                    <a:pt x="3372234" y="1559139"/>
                  </a:lnTo>
                  <a:lnTo>
                    <a:pt x="629034" y="1559139"/>
                  </a:lnTo>
                  <a:lnTo>
                    <a:pt x="629034" y="3614059"/>
                  </a:lnTo>
                  <a:lnTo>
                    <a:pt x="342168" y="3614059"/>
                  </a:lnTo>
                  <a:lnTo>
                    <a:pt x="342168" y="1445188"/>
                  </a:lnTo>
                  <a:lnTo>
                    <a:pt x="0" y="1445188"/>
                  </a:lnTo>
                  <a:lnTo>
                    <a:pt x="2000634" y="0"/>
                  </a:lnTo>
                  <a:close/>
                </a:path>
              </a:pathLst>
            </a:custGeom>
            <a:no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8" name="Rectangle 167">
              <a:extLst>
                <a:ext uri="{FF2B5EF4-FFF2-40B4-BE49-F238E27FC236}">
                  <a16:creationId xmlns:a16="http://schemas.microsoft.com/office/drawing/2014/main" id="{EF12A1BF-A814-4491-97D6-31BAC827D32B}"/>
                </a:ext>
              </a:extLst>
            </p:cNvPr>
            <p:cNvSpPr/>
            <p:nvPr/>
          </p:nvSpPr>
          <p:spPr bwMode="auto">
            <a:xfrm>
              <a:off x="3364798"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69" name="Rectangle 168">
              <a:extLst>
                <a:ext uri="{FF2B5EF4-FFF2-40B4-BE49-F238E27FC236}">
                  <a16:creationId xmlns:a16="http://schemas.microsoft.com/office/drawing/2014/main" id="{CE25C6EB-E7AE-47CE-AF01-64A9FFD04266}"/>
                </a:ext>
              </a:extLst>
            </p:cNvPr>
            <p:cNvSpPr/>
            <p:nvPr/>
          </p:nvSpPr>
          <p:spPr bwMode="auto">
            <a:xfrm>
              <a:off x="3968585"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4" name="Rectangle 173">
              <a:extLst>
                <a:ext uri="{FF2B5EF4-FFF2-40B4-BE49-F238E27FC236}">
                  <a16:creationId xmlns:a16="http://schemas.microsoft.com/office/drawing/2014/main" id="{B0854FBD-403C-4B0D-B2BB-E9D2C2068322}"/>
                </a:ext>
              </a:extLst>
            </p:cNvPr>
            <p:cNvSpPr/>
            <p:nvPr/>
          </p:nvSpPr>
          <p:spPr bwMode="auto">
            <a:xfrm>
              <a:off x="4572371" y="4227868"/>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5" name="Rectangle 174">
              <a:extLst>
                <a:ext uri="{FF2B5EF4-FFF2-40B4-BE49-F238E27FC236}">
                  <a16:creationId xmlns:a16="http://schemas.microsoft.com/office/drawing/2014/main" id="{4F75DB51-D6A0-4425-97A8-C6F1D00838E8}"/>
                </a:ext>
              </a:extLst>
            </p:cNvPr>
            <p:cNvSpPr/>
            <p:nvPr/>
          </p:nvSpPr>
          <p:spPr bwMode="auto">
            <a:xfrm>
              <a:off x="3364798"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7" name="Rectangle 176">
              <a:extLst>
                <a:ext uri="{FF2B5EF4-FFF2-40B4-BE49-F238E27FC236}">
                  <a16:creationId xmlns:a16="http://schemas.microsoft.com/office/drawing/2014/main" id="{1ED2B57A-8299-4302-AC8F-62DC4E4925DE}"/>
                </a:ext>
              </a:extLst>
            </p:cNvPr>
            <p:cNvSpPr/>
            <p:nvPr/>
          </p:nvSpPr>
          <p:spPr bwMode="auto">
            <a:xfrm>
              <a:off x="3968585" y="3624080"/>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79" name="Rectangle 178">
              <a:extLst>
                <a:ext uri="{FF2B5EF4-FFF2-40B4-BE49-F238E27FC236}">
                  <a16:creationId xmlns:a16="http://schemas.microsoft.com/office/drawing/2014/main" id="{453BE61B-3648-4CA6-ACC9-9F37A2D6D604}"/>
                </a:ext>
              </a:extLst>
            </p:cNvPr>
            <p:cNvSpPr/>
            <p:nvPr/>
          </p:nvSpPr>
          <p:spPr bwMode="auto">
            <a:xfrm>
              <a:off x="3777367" y="3020291"/>
              <a:ext cx="603787" cy="603789"/>
            </a:xfrm>
            <a:prstGeom prst="rect">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Light" panose="020F0302020204030204"/>
                <a:ea typeface="Segoe UI" pitchFamily="34" charset="0"/>
                <a:cs typeface="Segoe UI" pitchFamily="34" charset="0"/>
              </a:endParaRPr>
            </a:p>
          </p:txBody>
        </p:sp>
        <p:sp>
          <p:nvSpPr>
            <p:cNvPr id="180" name="Cylinder 590">
              <a:extLst>
                <a:ext uri="{FF2B5EF4-FFF2-40B4-BE49-F238E27FC236}">
                  <a16:creationId xmlns:a16="http://schemas.microsoft.com/office/drawing/2014/main" id="{DA454E18-FC30-45FC-9B5D-2747C1D4681F}"/>
                </a:ext>
              </a:extLst>
            </p:cNvPr>
            <p:cNvSpPr/>
            <p:nvPr/>
          </p:nvSpPr>
          <p:spPr bwMode="auto">
            <a:xfrm>
              <a:off x="5335724" y="3170126"/>
              <a:ext cx="2391318" cy="3141626"/>
            </a:xfrm>
            <a:prstGeom prst="can">
              <a:avLst>
                <a:gd name="adj" fmla="val 39530"/>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1836" b="0" i="0" u="none" strike="noStrike" kern="1200" cap="none" spc="0" normalizeH="0" baseline="0" noProof="0" dirty="0">
                <a:ln>
                  <a:noFill/>
                </a:ln>
                <a:solidFill>
                  <a:srgbClr val="162F33"/>
                </a:solidFill>
                <a:effectLst/>
                <a:uLnTx/>
                <a:uFillTx/>
                <a:latin typeface="Calibri Light" panose="020F0302020204030204"/>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949023DE-2731-4F78-AC2E-0DDF7085F71C}"/>
              </a:ext>
            </a:extLst>
          </p:cNvPr>
          <p:cNvSpPr txBox="1"/>
          <p:nvPr/>
        </p:nvSpPr>
        <p:spPr>
          <a:xfrm>
            <a:off x="5056527" y="1394224"/>
            <a:ext cx="2385846" cy="374846"/>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all" spc="200" normalizeH="0" noProof="0" dirty="0">
                <a:ln>
                  <a:noFill/>
                </a:ln>
                <a:solidFill>
                  <a:schemeClr val="accent3"/>
                </a:solidFill>
                <a:effectLst/>
                <a:uLnTx/>
                <a:uFillTx/>
                <a:latin typeface="Calibri Light" panose="020F0302020204030204"/>
                <a:ea typeface="+mn-ea"/>
                <a:cs typeface="+mn-cs"/>
              </a:rPr>
              <a:t>Azure Databricks</a:t>
            </a:r>
          </a:p>
        </p:txBody>
      </p:sp>
      <p:sp>
        <p:nvSpPr>
          <p:cNvPr id="185" name="Freeform 4">
            <a:extLst>
              <a:ext uri="{FF2B5EF4-FFF2-40B4-BE49-F238E27FC236}">
                <a16:creationId xmlns:a16="http://schemas.microsoft.com/office/drawing/2014/main" id="{555740EF-E494-4066-B033-B42E7DBE76E8}"/>
              </a:ext>
            </a:extLst>
          </p:cNvPr>
          <p:cNvSpPr>
            <a:spLocks noChangeArrowheads="1"/>
          </p:cNvSpPr>
          <p:nvPr/>
        </p:nvSpPr>
        <p:spPr bwMode="auto">
          <a:xfrm>
            <a:off x="404974" y="1083597"/>
            <a:ext cx="11636062" cy="5187050"/>
          </a:xfrm>
          <a:prstGeom prst="rect">
            <a:avLst/>
          </a:prstGeom>
          <a:noFill/>
          <a:ln w="12700" cap="flat">
            <a:solidFill>
              <a:schemeClr val="accent1"/>
            </a:solidFill>
            <a:prstDash val="sysDash"/>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3" name="TextBox 12">
            <a:extLst>
              <a:ext uri="{FF2B5EF4-FFF2-40B4-BE49-F238E27FC236}">
                <a16:creationId xmlns:a16="http://schemas.microsoft.com/office/drawing/2014/main" id="{1AB9D3D5-FE04-431D-B831-604D8382741D}"/>
              </a:ext>
            </a:extLst>
          </p:cNvPr>
          <p:cNvSpPr txBox="1"/>
          <p:nvPr/>
        </p:nvSpPr>
        <p:spPr>
          <a:xfrm>
            <a:off x="907462" y="6411177"/>
            <a:ext cx="217914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Calibri Light" panose="020F0302020204030204"/>
                <a:ea typeface="+mn-ea"/>
                <a:cs typeface="+mn-cs"/>
              </a:rPr>
              <a:t>Enhance Productivity</a:t>
            </a:r>
          </a:p>
        </p:txBody>
      </p:sp>
      <p:sp>
        <p:nvSpPr>
          <p:cNvPr id="181" name="Rectangle 180">
            <a:extLst>
              <a:ext uri="{FF2B5EF4-FFF2-40B4-BE49-F238E27FC236}">
                <a16:creationId xmlns:a16="http://schemas.microsoft.com/office/drawing/2014/main" id="{A26CDD1E-54A7-47B3-8CE8-9571A3F1FE4F}"/>
              </a:ext>
            </a:extLst>
          </p:cNvPr>
          <p:cNvSpPr/>
          <p:nvPr/>
        </p:nvSpPr>
        <p:spPr>
          <a:xfrm>
            <a:off x="2964335" y="3200573"/>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182" name="Rectangle 181">
            <a:extLst>
              <a:ext uri="{FF2B5EF4-FFF2-40B4-BE49-F238E27FC236}">
                <a16:creationId xmlns:a16="http://schemas.microsoft.com/office/drawing/2014/main" id="{97B581DE-181E-4145-9FAF-9BB9503DD781}"/>
              </a:ext>
            </a:extLst>
          </p:cNvPr>
          <p:cNvSpPr/>
          <p:nvPr/>
        </p:nvSpPr>
        <p:spPr>
          <a:xfrm>
            <a:off x="4785549" y="5601462"/>
            <a:ext cx="1269795"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APACHE SPARK</a:t>
            </a:r>
          </a:p>
        </p:txBody>
      </p:sp>
      <p:sp>
        <p:nvSpPr>
          <p:cNvPr id="178" name="Rectangle 177">
            <a:extLst>
              <a:ext uri="{FF2B5EF4-FFF2-40B4-BE49-F238E27FC236}">
                <a16:creationId xmlns:a16="http://schemas.microsoft.com/office/drawing/2014/main" id="{783E5D5E-5D12-4CAC-AB79-D3B04C94F35C}"/>
              </a:ext>
            </a:extLst>
          </p:cNvPr>
          <p:cNvSpPr/>
          <p:nvPr/>
        </p:nvSpPr>
        <p:spPr>
          <a:xfrm>
            <a:off x="3021408" y="4245882"/>
            <a:ext cx="1641651" cy="249299"/>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189" name="Rectangle 188">
            <a:extLst>
              <a:ext uri="{FF2B5EF4-FFF2-40B4-BE49-F238E27FC236}">
                <a16:creationId xmlns:a16="http://schemas.microsoft.com/office/drawing/2014/main" id="{483AD615-61FF-4EE1-804B-D9DEC8C23CF7}"/>
              </a:ext>
            </a:extLst>
          </p:cNvPr>
          <p:cNvSpPr/>
          <p:nvPr/>
        </p:nvSpPr>
        <p:spPr>
          <a:xfrm>
            <a:off x="3243622" y="2681894"/>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190" name="Group 189">
            <a:extLst>
              <a:ext uri="{FF2B5EF4-FFF2-40B4-BE49-F238E27FC236}">
                <a16:creationId xmlns:a16="http://schemas.microsoft.com/office/drawing/2014/main" id="{F862E818-0B14-4D57-891F-E80EAB9EB6ED}"/>
              </a:ext>
            </a:extLst>
          </p:cNvPr>
          <p:cNvGrpSpPr/>
          <p:nvPr/>
        </p:nvGrpSpPr>
        <p:grpSpPr>
          <a:xfrm>
            <a:off x="3647791" y="2272554"/>
            <a:ext cx="519325" cy="407910"/>
            <a:chOff x="8339328" y="268334"/>
            <a:chExt cx="780544" cy="613088"/>
          </a:xfrm>
        </p:grpSpPr>
        <p:sp>
          <p:nvSpPr>
            <p:cNvPr id="191" name="Freeform 17">
              <a:extLst>
                <a:ext uri="{FF2B5EF4-FFF2-40B4-BE49-F238E27FC236}">
                  <a16:creationId xmlns:a16="http://schemas.microsoft.com/office/drawing/2014/main" id="{0A8BE349-F75B-4DA5-91B4-2A6FEDCC3717}"/>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92" name="Freeform 5">
              <a:extLst>
                <a:ext uri="{FF2B5EF4-FFF2-40B4-BE49-F238E27FC236}">
                  <a16:creationId xmlns:a16="http://schemas.microsoft.com/office/drawing/2014/main" id="{42708161-D58A-4D4C-A577-8696733DBA21}"/>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193" name="Group 192">
            <a:extLst>
              <a:ext uri="{FF2B5EF4-FFF2-40B4-BE49-F238E27FC236}">
                <a16:creationId xmlns:a16="http://schemas.microsoft.com/office/drawing/2014/main" id="{BFECA14A-8C14-4349-A313-1AE53C55353B}"/>
              </a:ext>
            </a:extLst>
          </p:cNvPr>
          <p:cNvGrpSpPr/>
          <p:nvPr/>
        </p:nvGrpSpPr>
        <p:grpSpPr>
          <a:xfrm>
            <a:off x="5822389" y="2329644"/>
            <a:ext cx="512932" cy="368552"/>
            <a:chOff x="10268712" y="1254226"/>
            <a:chExt cx="804672" cy="578172"/>
          </a:xfrm>
        </p:grpSpPr>
        <p:grpSp>
          <p:nvGrpSpPr>
            <p:cNvPr id="194" name="Group 11">
              <a:extLst>
                <a:ext uri="{FF2B5EF4-FFF2-40B4-BE49-F238E27FC236}">
                  <a16:creationId xmlns:a16="http://schemas.microsoft.com/office/drawing/2014/main" id="{9974C1ED-FF66-4DB2-8D24-60E91230381D}"/>
                </a:ext>
              </a:extLst>
            </p:cNvPr>
            <p:cNvGrpSpPr>
              <a:grpSpLocks noChangeAspect="1"/>
            </p:cNvGrpSpPr>
            <p:nvPr/>
          </p:nvGrpSpPr>
          <p:grpSpPr bwMode="auto">
            <a:xfrm>
              <a:off x="10607090" y="1257647"/>
              <a:ext cx="466294" cy="507929"/>
              <a:chOff x="3861" y="4291602"/>
              <a:chExt cx="112" cy="244433"/>
            </a:xfrm>
          </p:grpSpPr>
          <p:sp>
            <p:nvSpPr>
              <p:cNvPr id="196" name="Freeform 12">
                <a:extLst>
                  <a:ext uri="{FF2B5EF4-FFF2-40B4-BE49-F238E27FC236}">
                    <a16:creationId xmlns:a16="http://schemas.microsoft.com/office/drawing/2014/main" id="{14E7BF12-5327-408A-A695-4E11198D50D7}"/>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7" name="Line 13">
                <a:extLst>
                  <a:ext uri="{FF2B5EF4-FFF2-40B4-BE49-F238E27FC236}">
                    <a16:creationId xmlns:a16="http://schemas.microsoft.com/office/drawing/2014/main" id="{BA83800C-8600-4A26-AC84-AB5E3F7559EE}"/>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8" name="Line 14">
                <a:extLst>
                  <a:ext uri="{FF2B5EF4-FFF2-40B4-BE49-F238E27FC236}">
                    <a16:creationId xmlns:a16="http://schemas.microsoft.com/office/drawing/2014/main" id="{3B1A8ED1-DC16-4B90-B5E0-B5427DE14503}"/>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99" name="Line 15">
                <a:extLst>
                  <a:ext uri="{FF2B5EF4-FFF2-40B4-BE49-F238E27FC236}">
                    <a16:creationId xmlns:a16="http://schemas.microsoft.com/office/drawing/2014/main" id="{9C7CA43B-C9E6-40BA-B5B3-41644AEF2681}"/>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0" name="Line 16">
                <a:extLst>
                  <a:ext uri="{FF2B5EF4-FFF2-40B4-BE49-F238E27FC236}">
                    <a16:creationId xmlns:a16="http://schemas.microsoft.com/office/drawing/2014/main" id="{9E45A68A-C242-4E6C-A2A0-335993C2628D}"/>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201" name="Line 17">
                <a:extLst>
                  <a:ext uri="{FF2B5EF4-FFF2-40B4-BE49-F238E27FC236}">
                    <a16:creationId xmlns:a16="http://schemas.microsoft.com/office/drawing/2014/main" id="{12261218-B93E-42BF-A6C4-7569B7707BDD}"/>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195" name="Freeform 5">
              <a:extLst>
                <a:ext uri="{FF2B5EF4-FFF2-40B4-BE49-F238E27FC236}">
                  <a16:creationId xmlns:a16="http://schemas.microsoft.com/office/drawing/2014/main" id="{56F84BC6-29A5-47B4-B63A-E67E8F47062A}"/>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02" name="Group 201">
            <a:extLst>
              <a:ext uri="{FF2B5EF4-FFF2-40B4-BE49-F238E27FC236}">
                <a16:creationId xmlns:a16="http://schemas.microsoft.com/office/drawing/2014/main" id="{88070708-B166-4833-A63F-B5E80BBF26D9}"/>
              </a:ext>
            </a:extLst>
          </p:cNvPr>
          <p:cNvGrpSpPr/>
          <p:nvPr/>
        </p:nvGrpSpPr>
        <p:grpSpPr>
          <a:xfrm>
            <a:off x="8137924" y="2278764"/>
            <a:ext cx="565710" cy="384679"/>
            <a:chOff x="9151662" y="1184065"/>
            <a:chExt cx="554668" cy="377171"/>
          </a:xfrm>
        </p:grpSpPr>
        <p:grpSp>
          <p:nvGrpSpPr>
            <p:cNvPr id="219" name="Group 4">
              <a:extLst>
                <a:ext uri="{FF2B5EF4-FFF2-40B4-BE49-F238E27FC236}">
                  <a16:creationId xmlns:a16="http://schemas.microsoft.com/office/drawing/2014/main" id="{C6D220A9-E158-4B4F-B262-1CFF925F7AF1}"/>
                </a:ext>
              </a:extLst>
            </p:cNvPr>
            <p:cNvGrpSpPr>
              <a:grpSpLocks noChangeAspect="1"/>
            </p:cNvGrpSpPr>
            <p:nvPr/>
          </p:nvGrpSpPr>
          <p:grpSpPr bwMode="auto">
            <a:xfrm>
              <a:off x="9396633" y="1190427"/>
              <a:ext cx="309697" cy="302323"/>
              <a:chOff x="1759" y="236"/>
              <a:chExt cx="252" cy="246"/>
            </a:xfrm>
            <a:noFill/>
          </p:grpSpPr>
          <p:sp>
            <p:nvSpPr>
              <p:cNvPr id="221" name="Freeform 5">
                <a:extLst>
                  <a:ext uri="{FF2B5EF4-FFF2-40B4-BE49-F238E27FC236}">
                    <a16:creationId xmlns:a16="http://schemas.microsoft.com/office/drawing/2014/main" id="{087426E8-22CB-4740-8EA2-7E79F76FED92}"/>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2" name="Rectangle 6">
                <a:extLst>
                  <a:ext uri="{FF2B5EF4-FFF2-40B4-BE49-F238E27FC236}">
                    <a16:creationId xmlns:a16="http://schemas.microsoft.com/office/drawing/2014/main" id="{C41AE70E-CCC5-4012-87EE-D78D46E468B8}"/>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3" name="Rectangle 7">
                <a:extLst>
                  <a:ext uri="{FF2B5EF4-FFF2-40B4-BE49-F238E27FC236}">
                    <a16:creationId xmlns:a16="http://schemas.microsoft.com/office/drawing/2014/main" id="{3BB82065-89DA-4276-83E9-345666DEC11A}"/>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224" name="Rectangle 8">
                <a:extLst>
                  <a:ext uri="{FF2B5EF4-FFF2-40B4-BE49-F238E27FC236}">
                    <a16:creationId xmlns:a16="http://schemas.microsoft.com/office/drawing/2014/main" id="{C81E81EE-105D-4A76-A964-A547F2F69C90}"/>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220" name="Freeform 5">
              <a:extLst>
                <a:ext uri="{FF2B5EF4-FFF2-40B4-BE49-F238E27FC236}">
                  <a16:creationId xmlns:a16="http://schemas.microsoft.com/office/drawing/2014/main" id="{DD5803B4-9800-4E61-A1AE-C7BC7EDE78F5}"/>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14" name="Straight Arrow Connector 13">
            <a:extLst>
              <a:ext uri="{FF2B5EF4-FFF2-40B4-BE49-F238E27FC236}">
                <a16:creationId xmlns:a16="http://schemas.microsoft.com/office/drawing/2014/main" id="{888E672A-5D82-40BB-B9DF-4DAC97A83188}"/>
              </a:ext>
            </a:extLst>
          </p:cNvPr>
          <p:cNvCxnSpPr/>
          <p:nvPr/>
        </p:nvCxnSpPr>
        <p:spPr>
          <a:xfrm>
            <a:off x="4503237" y="2776410"/>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BABC0979-C8F7-492A-B7B9-7B350C64251B}"/>
              </a:ext>
            </a:extLst>
          </p:cNvPr>
          <p:cNvCxnSpPr/>
          <p:nvPr/>
        </p:nvCxnSpPr>
        <p:spPr>
          <a:xfrm>
            <a:off x="6731122" y="2786251"/>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1" name="Rectangle 230">
            <a:extLst>
              <a:ext uri="{FF2B5EF4-FFF2-40B4-BE49-F238E27FC236}">
                <a16:creationId xmlns:a16="http://schemas.microsoft.com/office/drawing/2014/main" id="{FE17A071-A113-4A99-AB11-8ADD8F1B3802}"/>
              </a:ext>
            </a:extLst>
          </p:cNvPr>
          <p:cNvSpPr/>
          <p:nvPr/>
        </p:nvSpPr>
        <p:spPr>
          <a:xfrm>
            <a:off x="5187436" y="4232671"/>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232" name="Rectangle 231">
            <a:extLst>
              <a:ext uri="{FF2B5EF4-FFF2-40B4-BE49-F238E27FC236}">
                <a16:creationId xmlns:a16="http://schemas.microsoft.com/office/drawing/2014/main" id="{81BBA7CE-5D2B-496C-B4FF-7FF4711BD31C}"/>
              </a:ext>
            </a:extLst>
          </p:cNvPr>
          <p:cNvSpPr/>
          <p:nvPr/>
        </p:nvSpPr>
        <p:spPr>
          <a:xfrm>
            <a:off x="7393305" y="4237540"/>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233" name="Rectangle 232">
            <a:extLst>
              <a:ext uri="{FF2B5EF4-FFF2-40B4-BE49-F238E27FC236}">
                <a16:creationId xmlns:a16="http://schemas.microsoft.com/office/drawing/2014/main" id="{E3C1D40C-21EC-43D2-AC3A-E663BB21D149}"/>
              </a:ext>
            </a:extLst>
          </p:cNvPr>
          <p:cNvSpPr/>
          <p:nvPr/>
        </p:nvSpPr>
        <p:spPr>
          <a:xfrm>
            <a:off x="5493213" y="2695120"/>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234" name="Rectangle 233">
            <a:extLst>
              <a:ext uri="{FF2B5EF4-FFF2-40B4-BE49-F238E27FC236}">
                <a16:creationId xmlns:a16="http://schemas.microsoft.com/office/drawing/2014/main" id="{C09F5361-6499-4020-B354-731B57771C6B}"/>
              </a:ext>
            </a:extLst>
          </p:cNvPr>
          <p:cNvSpPr/>
          <p:nvPr/>
        </p:nvSpPr>
        <p:spPr>
          <a:xfrm>
            <a:off x="7806928" y="2681893"/>
            <a:ext cx="1441963"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16" name="Oval 15">
            <a:extLst>
              <a:ext uri="{FF2B5EF4-FFF2-40B4-BE49-F238E27FC236}">
                <a16:creationId xmlns:a16="http://schemas.microsoft.com/office/drawing/2014/main" id="{26B716EB-A1B9-4E4F-BE0E-11CC2D2CAAA8}"/>
              </a:ext>
            </a:extLst>
          </p:cNvPr>
          <p:cNvSpPr/>
          <p:nvPr/>
        </p:nvSpPr>
        <p:spPr>
          <a:xfrm>
            <a:off x="3148157" y="3829005"/>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5" name="Oval 234">
            <a:extLst>
              <a:ext uri="{FF2B5EF4-FFF2-40B4-BE49-F238E27FC236}">
                <a16:creationId xmlns:a16="http://schemas.microsoft.com/office/drawing/2014/main" id="{DC2C3294-024E-46E3-8278-479FA625786C}"/>
              </a:ext>
            </a:extLst>
          </p:cNvPr>
          <p:cNvSpPr/>
          <p:nvPr/>
        </p:nvSpPr>
        <p:spPr>
          <a:xfrm>
            <a:off x="3684340" y="3825534"/>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36" name="Oval 235">
            <a:extLst>
              <a:ext uri="{FF2B5EF4-FFF2-40B4-BE49-F238E27FC236}">
                <a16:creationId xmlns:a16="http://schemas.microsoft.com/office/drawing/2014/main" id="{C10FE34B-412D-4255-97F5-594A012EF537}"/>
              </a:ext>
            </a:extLst>
          </p:cNvPr>
          <p:cNvSpPr/>
          <p:nvPr/>
        </p:nvSpPr>
        <p:spPr>
          <a:xfrm>
            <a:off x="4183002" y="3825533"/>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18" name="Straight Arrow Connector 17">
            <a:extLst>
              <a:ext uri="{FF2B5EF4-FFF2-40B4-BE49-F238E27FC236}">
                <a16:creationId xmlns:a16="http://schemas.microsoft.com/office/drawing/2014/main" id="{0857B09A-3F9A-4431-BAD6-F42EE7CA39B9}"/>
              </a:ext>
            </a:extLst>
          </p:cNvPr>
          <p:cNvCxnSpPr>
            <a:cxnSpLocks/>
          </p:cNvCxnSpPr>
          <p:nvPr/>
        </p:nvCxnSpPr>
        <p:spPr>
          <a:xfrm>
            <a:off x="3428051" y="3965479"/>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7" name="Straight Arrow Connector 236">
            <a:extLst>
              <a:ext uri="{FF2B5EF4-FFF2-40B4-BE49-F238E27FC236}">
                <a16:creationId xmlns:a16="http://schemas.microsoft.com/office/drawing/2014/main" id="{C96F85CD-F47F-4D7C-AE8A-699F856E0492}"/>
              </a:ext>
            </a:extLst>
          </p:cNvPr>
          <p:cNvCxnSpPr>
            <a:cxnSpLocks/>
          </p:cNvCxnSpPr>
          <p:nvPr/>
        </p:nvCxnSpPr>
        <p:spPr>
          <a:xfrm>
            <a:off x="3964234" y="3956693"/>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3" name="Graphic 22" descr="Clock">
            <a:extLst>
              <a:ext uri="{FF2B5EF4-FFF2-40B4-BE49-F238E27FC236}">
                <a16:creationId xmlns:a16="http://schemas.microsoft.com/office/drawing/2014/main" id="{C56B9A26-1B83-4BC1-9C65-C2695913F2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7758" y="3692610"/>
            <a:ext cx="557579" cy="557579"/>
          </a:xfrm>
          <a:prstGeom prst="rect">
            <a:avLst/>
          </a:prstGeom>
        </p:spPr>
      </p:pic>
      <p:pic>
        <p:nvPicPr>
          <p:cNvPr id="25" name="Graphic 24" descr="Warning">
            <a:extLst>
              <a:ext uri="{FF2B5EF4-FFF2-40B4-BE49-F238E27FC236}">
                <a16:creationId xmlns:a16="http://schemas.microsoft.com/office/drawing/2014/main" id="{5A565B5D-4600-438D-AA6F-3005969C35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75181" y="3731946"/>
            <a:ext cx="502837" cy="502837"/>
          </a:xfrm>
          <a:prstGeom prst="rect">
            <a:avLst/>
          </a:prstGeom>
        </p:spPr>
      </p:pic>
      <p:sp>
        <p:nvSpPr>
          <p:cNvPr id="238" name="TextBox 237">
            <a:extLst>
              <a:ext uri="{FF2B5EF4-FFF2-40B4-BE49-F238E27FC236}">
                <a16:creationId xmlns:a16="http://schemas.microsoft.com/office/drawing/2014/main" id="{10CEAE7D-7680-48CF-964E-5FB8BB311FF1}"/>
              </a:ext>
            </a:extLst>
          </p:cNvPr>
          <p:cNvSpPr txBox="1"/>
          <p:nvPr/>
        </p:nvSpPr>
        <p:spPr>
          <a:xfrm>
            <a:off x="4756294" y="6419305"/>
            <a:ext cx="316486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Calibri Light" panose="020F0302020204030204"/>
                <a:ea typeface="+mn-ea"/>
                <a:cs typeface="+mn-cs"/>
              </a:rPr>
              <a:t>Build on secure &amp; trusted cloud</a:t>
            </a:r>
          </a:p>
        </p:txBody>
      </p:sp>
      <p:sp>
        <p:nvSpPr>
          <p:cNvPr id="163" name="TextBox 162">
            <a:extLst>
              <a:ext uri="{FF2B5EF4-FFF2-40B4-BE49-F238E27FC236}">
                <a16:creationId xmlns:a16="http://schemas.microsoft.com/office/drawing/2014/main" id="{0DC95295-3153-41CE-A498-01DB75AD0167}"/>
              </a:ext>
            </a:extLst>
          </p:cNvPr>
          <p:cNvSpPr txBox="1"/>
          <p:nvPr/>
        </p:nvSpPr>
        <p:spPr>
          <a:xfrm>
            <a:off x="9316238" y="6421985"/>
            <a:ext cx="2030172"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1" i="0" u="none" strike="noStrike" kern="1200" cap="none" spc="0" normalizeH="0" baseline="0" noProof="0" dirty="0">
                <a:ln>
                  <a:noFill/>
                </a:ln>
                <a:solidFill>
                  <a:srgbClr val="505050"/>
                </a:solidFill>
                <a:effectLst/>
                <a:uLnTx/>
                <a:uFillTx/>
                <a:latin typeface="Calibri Light" panose="020F0302020204030204"/>
                <a:ea typeface="+mn-ea"/>
                <a:cs typeface="+mn-cs"/>
              </a:rPr>
              <a:t>Scale without limits</a:t>
            </a:r>
          </a:p>
        </p:txBody>
      </p:sp>
      <p:sp>
        <p:nvSpPr>
          <p:cNvPr id="3" name="Rectangle 2">
            <a:extLst>
              <a:ext uri="{FF2B5EF4-FFF2-40B4-BE49-F238E27FC236}">
                <a16:creationId xmlns:a16="http://schemas.microsoft.com/office/drawing/2014/main" id="{E3E83755-E6EE-4BD9-8BCF-D815709AAA34}"/>
              </a:ext>
            </a:extLst>
          </p:cNvPr>
          <p:cNvSpPr/>
          <p:nvPr/>
        </p:nvSpPr>
        <p:spPr>
          <a:xfrm>
            <a:off x="235665" y="6076718"/>
            <a:ext cx="12018848" cy="219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 name="Right Brace 3">
            <a:extLst>
              <a:ext uri="{FF2B5EF4-FFF2-40B4-BE49-F238E27FC236}">
                <a16:creationId xmlns:a16="http://schemas.microsoft.com/office/drawing/2014/main" id="{4AD90AEC-EFA0-4579-BB2F-D5E445BD03C3}"/>
              </a:ext>
            </a:extLst>
          </p:cNvPr>
          <p:cNvSpPr/>
          <p:nvPr/>
        </p:nvSpPr>
        <p:spPr>
          <a:xfrm rot="5400000">
            <a:off x="6084481" y="406807"/>
            <a:ext cx="277048" cy="11636061"/>
          </a:xfrm>
          <a:prstGeom prst="rightBrace">
            <a:avLst>
              <a:gd name="adj1" fmla="val 48460"/>
              <a:gd name="adj2" fmla="val 49841"/>
            </a:avLst>
          </a:prstGeom>
          <a:ln>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Title 1">
            <a:extLst>
              <a:ext uri="{FF2B5EF4-FFF2-40B4-BE49-F238E27FC236}">
                <a16:creationId xmlns:a16="http://schemas.microsoft.com/office/drawing/2014/main" id="{FDC29A6A-C601-4AAB-BE1A-6C4E1D8C1116}"/>
              </a:ext>
            </a:extLst>
          </p:cNvPr>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Azure Databricks</a:t>
            </a:r>
          </a:p>
        </p:txBody>
      </p:sp>
    </p:spTree>
    <p:extLst>
      <p:ext uri="{BB962C8B-B14F-4D97-AF65-F5344CB8AC3E}">
        <p14:creationId xmlns:p14="http://schemas.microsoft.com/office/powerpoint/2010/main" val="76642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664BF-33A4-4F3F-B072-7B3A9F1076EC}"/>
              </a:ext>
            </a:extLst>
          </p:cNvPr>
          <p:cNvSpPr>
            <a:spLocks noGrp="1"/>
          </p:cNvSpPr>
          <p:nvPr>
            <p:ph type="title"/>
          </p:nvPr>
        </p:nvSpPr>
        <p:spPr/>
        <p:txBody>
          <a:bodyPr/>
          <a:lstStyle/>
          <a:p>
            <a:r>
              <a:rPr lang="en-US" dirty="0"/>
              <a:t>Session objective</a:t>
            </a:r>
          </a:p>
        </p:txBody>
      </p:sp>
      <p:sp>
        <p:nvSpPr>
          <p:cNvPr id="3" name="Text Placeholder 2">
            <a:extLst>
              <a:ext uri="{FF2B5EF4-FFF2-40B4-BE49-F238E27FC236}">
                <a16:creationId xmlns:a16="http://schemas.microsoft.com/office/drawing/2014/main" id="{84D93599-9759-43FA-9CC0-56489A769F6D}"/>
              </a:ext>
            </a:extLst>
          </p:cNvPr>
          <p:cNvSpPr>
            <a:spLocks noGrp="1"/>
          </p:cNvSpPr>
          <p:nvPr>
            <p:ph type="body" sz="quarter" idx="10"/>
          </p:nvPr>
        </p:nvSpPr>
        <p:spPr>
          <a:xfrm>
            <a:off x="274638" y="1212850"/>
            <a:ext cx="11888787" cy="3508653"/>
          </a:xfrm>
        </p:spPr>
        <p:txBody>
          <a:bodyPr/>
          <a:lstStyle/>
          <a:p>
            <a:r>
              <a:rPr lang="en-US" dirty="0"/>
              <a:t>At the end of the this session, you should:</a:t>
            </a:r>
          </a:p>
          <a:p>
            <a:pPr marL="571500" indent="-571500">
              <a:buFont typeface="Arial" panose="020B0604020202020204" pitchFamily="34" charset="0"/>
              <a:buChar char="•"/>
            </a:pPr>
            <a:r>
              <a:rPr lang="en-US" b="1" dirty="0"/>
              <a:t>Know the key capabilities of the Azure Databricks platform and its integration with Azure services</a:t>
            </a:r>
          </a:p>
          <a:p>
            <a:pPr marL="571500" indent="-571500">
              <a:buFont typeface="Arial" panose="020B0604020202020204" pitchFamily="34" charset="0"/>
              <a:buChar char="•"/>
            </a:pPr>
            <a:r>
              <a:rPr lang="en-US" b="1" dirty="0"/>
              <a:t>Have a basic understanding of building advance analytics workloads with Spark on Azure Databricks</a:t>
            </a:r>
          </a:p>
          <a:p>
            <a:endParaRPr lang="en-US" dirty="0"/>
          </a:p>
        </p:txBody>
      </p:sp>
    </p:spTree>
    <p:extLst>
      <p:ext uri="{BB962C8B-B14F-4D97-AF65-F5344CB8AC3E}">
        <p14:creationId xmlns:p14="http://schemas.microsoft.com/office/powerpoint/2010/main" val="417828015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71C39-464D-4861-AA04-F504F0A2B102}"/>
              </a:ext>
            </a:extLst>
          </p:cNvPr>
          <p:cNvSpPr>
            <a:spLocks noGrp="1"/>
          </p:cNvSpPr>
          <p:nvPr>
            <p:ph type="title"/>
          </p:nvPr>
        </p:nvSpPr>
        <p:spPr/>
        <p:txBody>
          <a:bodyPr/>
          <a:lstStyle/>
          <a:p>
            <a:r>
              <a:rPr lang="en-US" dirty="0"/>
              <a:t>Azure Integration</a:t>
            </a:r>
          </a:p>
        </p:txBody>
      </p:sp>
      <p:pic>
        <p:nvPicPr>
          <p:cNvPr id="3" name="Picture 2" descr="Image result for azure databricks">
            <a:extLst>
              <a:ext uri="{FF2B5EF4-FFF2-40B4-BE49-F238E27FC236}">
                <a16:creationId xmlns:a16="http://schemas.microsoft.com/office/drawing/2014/main" id="{85D23171-F1AE-403F-9294-298E91783C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5364" y="3929310"/>
            <a:ext cx="2160625" cy="11343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3B4FE75-4C02-4085-87CA-3479052F7AE1}"/>
              </a:ext>
            </a:extLst>
          </p:cNvPr>
          <p:cNvPicPr>
            <a:picLocks noChangeAspect="1"/>
          </p:cNvPicPr>
          <p:nvPr/>
        </p:nvPicPr>
        <p:blipFill>
          <a:blip r:embed="rId4"/>
          <a:stretch>
            <a:fillRect/>
          </a:stretch>
        </p:blipFill>
        <p:spPr>
          <a:xfrm>
            <a:off x="1777854" y="4282881"/>
            <a:ext cx="1008111" cy="1002559"/>
          </a:xfrm>
          <a:prstGeom prst="rect">
            <a:avLst/>
          </a:prstGeom>
        </p:spPr>
      </p:pic>
      <p:sp>
        <p:nvSpPr>
          <p:cNvPr id="13" name="TextBox 12">
            <a:extLst>
              <a:ext uri="{FF2B5EF4-FFF2-40B4-BE49-F238E27FC236}">
                <a16:creationId xmlns:a16="http://schemas.microsoft.com/office/drawing/2014/main" id="{DCFAC561-02E8-4888-B566-31D3B6D2D48E}"/>
              </a:ext>
            </a:extLst>
          </p:cNvPr>
          <p:cNvSpPr txBox="1"/>
          <p:nvPr/>
        </p:nvSpPr>
        <p:spPr>
          <a:xfrm>
            <a:off x="1465709" y="2739304"/>
            <a:ext cx="1637308"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accent2"/>
                </a:solidFill>
              </a:rPr>
              <a:t>Kafka on HDInsight</a:t>
            </a:r>
          </a:p>
        </p:txBody>
      </p:sp>
      <p:pic>
        <p:nvPicPr>
          <p:cNvPr id="14" name="Picture 13">
            <a:extLst>
              <a:ext uri="{FF2B5EF4-FFF2-40B4-BE49-F238E27FC236}">
                <a16:creationId xmlns:a16="http://schemas.microsoft.com/office/drawing/2014/main" id="{09BD96AB-40C7-42B7-BAD9-AD5F438B85A3}"/>
              </a:ext>
            </a:extLst>
          </p:cNvPr>
          <p:cNvPicPr>
            <a:picLocks noChangeAspect="1"/>
          </p:cNvPicPr>
          <p:nvPr/>
        </p:nvPicPr>
        <p:blipFill>
          <a:blip r:embed="rId5"/>
          <a:stretch>
            <a:fillRect/>
          </a:stretch>
        </p:blipFill>
        <p:spPr>
          <a:xfrm>
            <a:off x="1804503" y="3285998"/>
            <a:ext cx="956413" cy="859336"/>
          </a:xfrm>
          <a:prstGeom prst="rect">
            <a:avLst/>
          </a:prstGeom>
        </p:spPr>
      </p:pic>
      <p:pic>
        <p:nvPicPr>
          <p:cNvPr id="12" name="Picture 11">
            <a:extLst>
              <a:ext uri="{FF2B5EF4-FFF2-40B4-BE49-F238E27FC236}">
                <a16:creationId xmlns:a16="http://schemas.microsoft.com/office/drawing/2014/main" id="{954C3D4D-0516-4257-88D2-14AA342D2AD8}"/>
              </a:ext>
            </a:extLst>
          </p:cNvPr>
          <p:cNvPicPr>
            <a:picLocks noChangeAspect="1"/>
          </p:cNvPicPr>
          <p:nvPr/>
        </p:nvPicPr>
        <p:blipFill>
          <a:blip r:embed="rId6"/>
          <a:stretch>
            <a:fillRect/>
          </a:stretch>
        </p:blipFill>
        <p:spPr>
          <a:xfrm>
            <a:off x="9599121" y="3605845"/>
            <a:ext cx="594527" cy="624971"/>
          </a:xfrm>
          <a:prstGeom prst="rect">
            <a:avLst/>
          </a:prstGeom>
        </p:spPr>
      </p:pic>
      <p:sp>
        <p:nvSpPr>
          <p:cNvPr id="17" name="TextBox 16">
            <a:extLst>
              <a:ext uri="{FF2B5EF4-FFF2-40B4-BE49-F238E27FC236}">
                <a16:creationId xmlns:a16="http://schemas.microsoft.com/office/drawing/2014/main" id="{2DD887DA-9ADC-42EF-970F-D4AFE425A63A}"/>
              </a:ext>
            </a:extLst>
          </p:cNvPr>
          <p:cNvSpPr txBox="1"/>
          <p:nvPr/>
        </p:nvSpPr>
        <p:spPr>
          <a:xfrm>
            <a:off x="9425614" y="4158113"/>
            <a:ext cx="94154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accent2"/>
                </a:solidFill>
              </a:rPr>
              <a:t>Power BI</a:t>
            </a:r>
          </a:p>
        </p:txBody>
      </p:sp>
      <p:pic>
        <p:nvPicPr>
          <p:cNvPr id="10" name="Picture 9">
            <a:extLst>
              <a:ext uri="{FF2B5EF4-FFF2-40B4-BE49-F238E27FC236}">
                <a16:creationId xmlns:a16="http://schemas.microsoft.com/office/drawing/2014/main" id="{5AA2A879-5367-4FC9-A12D-DDCD8BA47DCC}"/>
              </a:ext>
            </a:extLst>
          </p:cNvPr>
          <p:cNvPicPr>
            <a:picLocks noChangeAspect="1"/>
          </p:cNvPicPr>
          <p:nvPr/>
        </p:nvPicPr>
        <p:blipFill>
          <a:blip r:embed="rId7"/>
          <a:stretch>
            <a:fillRect/>
          </a:stretch>
        </p:blipFill>
        <p:spPr>
          <a:xfrm>
            <a:off x="1896727" y="5451002"/>
            <a:ext cx="864189" cy="844209"/>
          </a:xfrm>
          <a:prstGeom prst="rect">
            <a:avLst/>
          </a:prstGeom>
        </p:spPr>
      </p:pic>
      <p:sp>
        <p:nvSpPr>
          <p:cNvPr id="18" name="TextBox 17">
            <a:extLst>
              <a:ext uri="{FF2B5EF4-FFF2-40B4-BE49-F238E27FC236}">
                <a16:creationId xmlns:a16="http://schemas.microsoft.com/office/drawing/2014/main" id="{70C931F2-F242-4CD4-9C7B-9771605E89BA}"/>
              </a:ext>
            </a:extLst>
          </p:cNvPr>
          <p:cNvSpPr txBox="1"/>
          <p:nvPr/>
        </p:nvSpPr>
        <p:spPr>
          <a:xfrm>
            <a:off x="1804503" y="6140068"/>
            <a:ext cx="909281" cy="453538"/>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accent2"/>
                </a:solidFill>
              </a:rPr>
              <a:t>SQL DW</a:t>
            </a:r>
          </a:p>
        </p:txBody>
      </p:sp>
      <p:pic>
        <p:nvPicPr>
          <p:cNvPr id="11" name="Picture 10">
            <a:extLst>
              <a:ext uri="{FF2B5EF4-FFF2-40B4-BE49-F238E27FC236}">
                <a16:creationId xmlns:a16="http://schemas.microsoft.com/office/drawing/2014/main" id="{D9073770-4DF9-46CF-83F0-1C1BD69DB09E}"/>
              </a:ext>
            </a:extLst>
          </p:cNvPr>
          <p:cNvPicPr>
            <a:picLocks noChangeAspect="1"/>
          </p:cNvPicPr>
          <p:nvPr/>
        </p:nvPicPr>
        <p:blipFill>
          <a:blip r:embed="rId8"/>
          <a:stretch>
            <a:fillRect/>
          </a:stretch>
        </p:blipFill>
        <p:spPr>
          <a:xfrm>
            <a:off x="5569790" y="2097780"/>
            <a:ext cx="1046887" cy="872356"/>
          </a:xfrm>
          <a:prstGeom prst="rect">
            <a:avLst/>
          </a:prstGeom>
        </p:spPr>
      </p:pic>
      <p:sp>
        <p:nvSpPr>
          <p:cNvPr id="19" name="Rectangle 18">
            <a:extLst>
              <a:ext uri="{FF2B5EF4-FFF2-40B4-BE49-F238E27FC236}">
                <a16:creationId xmlns:a16="http://schemas.microsoft.com/office/drawing/2014/main" id="{4148A32F-C3E3-4DD1-B053-91AD67FE1913}"/>
              </a:ext>
            </a:extLst>
          </p:cNvPr>
          <p:cNvSpPr/>
          <p:nvPr/>
        </p:nvSpPr>
        <p:spPr bwMode="auto">
          <a:xfrm>
            <a:off x="3204160" y="1868813"/>
            <a:ext cx="5778149" cy="1081369"/>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D92ECC83-FB61-4E7F-92D5-D3D1745A44B4}"/>
              </a:ext>
            </a:extLst>
          </p:cNvPr>
          <p:cNvSpPr txBox="1"/>
          <p:nvPr/>
        </p:nvSpPr>
        <p:spPr>
          <a:xfrm>
            <a:off x="3181838" y="1831406"/>
            <a:ext cx="2034468" cy="461665"/>
          </a:xfrm>
          <a:prstGeom prst="rect">
            <a:avLst/>
          </a:prstGeom>
          <a:noFill/>
        </p:spPr>
        <p:txBody>
          <a:bodyPr wrap="none" lIns="182880" tIns="146304" rIns="182880" bIns="146304" rtlCol="0">
            <a:spAutoFit/>
          </a:bodyPr>
          <a:lstStyle/>
          <a:p>
            <a:pPr>
              <a:lnSpc>
                <a:spcPct val="90000"/>
              </a:lnSpc>
              <a:spcAft>
                <a:spcPts val="600"/>
              </a:spcAft>
            </a:pPr>
            <a:r>
              <a:rPr lang="en-US" sz="1200" b="1" spc="300" dirty="0">
                <a:solidFill>
                  <a:schemeClr val="accent2"/>
                </a:solidFill>
              </a:rPr>
              <a:t>ORCHESTRATION</a:t>
            </a:r>
          </a:p>
        </p:txBody>
      </p:sp>
      <p:pic>
        <p:nvPicPr>
          <p:cNvPr id="6" name="Picture 5">
            <a:extLst>
              <a:ext uri="{FF2B5EF4-FFF2-40B4-BE49-F238E27FC236}">
                <a16:creationId xmlns:a16="http://schemas.microsoft.com/office/drawing/2014/main" id="{C8C9FF08-8699-489F-9811-90E8F50F445E}"/>
              </a:ext>
            </a:extLst>
          </p:cNvPr>
          <p:cNvPicPr>
            <a:picLocks noChangeAspect="1"/>
          </p:cNvPicPr>
          <p:nvPr/>
        </p:nvPicPr>
        <p:blipFill>
          <a:blip r:embed="rId9"/>
          <a:stretch>
            <a:fillRect/>
          </a:stretch>
        </p:blipFill>
        <p:spPr>
          <a:xfrm>
            <a:off x="4816834" y="5687229"/>
            <a:ext cx="1253677" cy="887980"/>
          </a:xfrm>
          <a:prstGeom prst="rect">
            <a:avLst/>
          </a:prstGeom>
        </p:spPr>
      </p:pic>
      <p:grpSp>
        <p:nvGrpSpPr>
          <p:cNvPr id="22" name="Group 21">
            <a:extLst>
              <a:ext uri="{FF2B5EF4-FFF2-40B4-BE49-F238E27FC236}">
                <a16:creationId xmlns:a16="http://schemas.microsoft.com/office/drawing/2014/main" id="{3B6538B7-E8BF-4E08-BE82-B7D0700F8AC0}"/>
              </a:ext>
            </a:extLst>
          </p:cNvPr>
          <p:cNvGrpSpPr/>
          <p:nvPr/>
        </p:nvGrpSpPr>
        <p:grpSpPr>
          <a:xfrm>
            <a:off x="6259026" y="5718375"/>
            <a:ext cx="1441420" cy="952867"/>
            <a:chOff x="5783986" y="5692431"/>
            <a:chExt cx="1441420" cy="866243"/>
          </a:xfrm>
        </p:grpSpPr>
        <p:pic>
          <p:nvPicPr>
            <p:cNvPr id="5" name="Picture 4">
              <a:extLst>
                <a:ext uri="{FF2B5EF4-FFF2-40B4-BE49-F238E27FC236}">
                  <a16:creationId xmlns:a16="http://schemas.microsoft.com/office/drawing/2014/main" id="{C96A36BD-C7ED-47F9-92F2-4F2E346B13A1}"/>
                </a:ext>
              </a:extLst>
            </p:cNvPr>
            <p:cNvPicPr>
              <a:picLocks noChangeAspect="1"/>
            </p:cNvPicPr>
            <p:nvPr/>
          </p:nvPicPr>
          <p:blipFill>
            <a:blip r:embed="rId10"/>
            <a:stretch>
              <a:fillRect/>
            </a:stretch>
          </p:blipFill>
          <p:spPr>
            <a:xfrm>
              <a:off x="6145286" y="5692431"/>
              <a:ext cx="628047" cy="502915"/>
            </a:xfrm>
            <a:prstGeom prst="rect">
              <a:avLst/>
            </a:prstGeom>
          </p:spPr>
        </p:pic>
        <p:sp>
          <p:nvSpPr>
            <p:cNvPr id="16" name="TextBox 15">
              <a:extLst>
                <a:ext uri="{FF2B5EF4-FFF2-40B4-BE49-F238E27FC236}">
                  <a16:creationId xmlns:a16="http://schemas.microsoft.com/office/drawing/2014/main" id="{7DB4DADB-6A97-4734-BD59-9E8D7CE88C94}"/>
                </a:ext>
              </a:extLst>
            </p:cNvPr>
            <p:cNvSpPr txBox="1"/>
            <p:nvPr/>
          </p:nvSpPr>
          <p:spPr>
            <a:xfrm>
              <a:off x="5783986" y="6097009"/>
              <a:ext cx="1441420"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accent2"/>
                  </a:solidFill>
                </a:rPr>
                <a:t>Azure Data Lake</a:t>
              </a:r>
            </a:p>
          </p:txBody>
        </p:sp>
      </p:grpSp>
      <p:sp>
        <p:nvSpPr>
          <p:cNvPr id="27" name="Rectangle 26">
            <a:extLst>
              <a:ext uri="{FF2B5EF4-FFF2-40B4-BE49-F238E27FC236}">
                <a16:creationId xmlns:a16="http://schemas.microsoft.com/office/drawing/2014/main" id="{32A02D90-CEE0-4B51-BF75-4D91E77C3AB4}"/>
              </a:ext>
            </a:extLst>
          </p:cNvPr>
          <p:cNvSpPr/>
          <p:nvPr/>
        </p:nvSpPr>
        <p:spPr bwMode="auto">
          <a:xfrm>
            <a:off x="3205392" y="5486414"/>
            <a:ext cx="5778149" cy="1081369"/>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a:extLst>
              <a:ext uri="{FF2B5EF4-FFF2-40B4-BE49-F238E27FC236}">
                <a16:creationId xmlns:a16="http://schemas.microsoft.com/office/drawing/2014/main" id="{E846AA0D-5EF8-42F2-8C21-A854DA4F372D}"/>
              </a:ext>
            </a:extLst>
          </p:cNvPr>
          <p:cNvSpPr txBox="1"/>
          <p:nvPr/>
        </p:nvSpPr>
        <p:spPr>
          <a:xfrm>
            <a:off x="3183070" y="5445266"/>
            <a:ext cx="1272464" cy="507831"/>
          </a:xfrm>
          <a:prstGeom prst="rect">
            <a:avLst/>
          </a:prstGeom>
          <a:noFill/>
        </p:spPr>
        <p:txBody>
          <a:bodyPr wrap="none" lIns="182880" tIns="146304" rIns="182880" bIns="146304" rtlCol="0">
            <a:spAutoFit/>
          </a:bodyPr>
          <a:lstStyle/>
          <a:p>
            <a:pPr>
              <a:lnSpc>
                <a:spcPct val="90000"/>
              </a:lnSpc>
              <a:spcAft>
                <a:spcPts val="600"/>
              </a:spcAft>
            </a:pPr>
            <a:r>
              <a:rPr lang="en-US" sz="1200" b="1" spc="300" dirty="0">
                <a:solidFill>
                  <a:schemeClr val="accent2"/>
                </a:solidFill>
              </a:rPr>
              <a:t>STORAGE</a:t>
            </a:r>
          </a:p>
        </p:txBody>
      </p:sp>
      <p:sp>
        <p:nvSpPr>
          <p:cNvPr id="30" name="Rectangle 29">
            <a:extLst>
              <a:ext uri="{FF2B5EF4-FFF2-40B4-BE49-F238E27FC236}">
                <a16:creationId xmlns:a16="http://schemas.microsoft.com/office/drawing/2014/main" id="{E0953CE4-1F95-4D14-8283-E1E3E06FA943}"/>
              </a:ext>
            </a:extLst>
          </p:cNvPr>
          <p:cNvSpPr/>
          <p:nvPr/>
        </p:nvSpPr>
        <p:spPr bwMode="auto">
          <a:xfrm>
            <a:off x="1466970" y="1872080"/>
            <a:ext cx="1637308" cy="4703129"/>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a:extLst>
              <a:ext uri="{FF2B5EF4-FFF2-40B4-BE49-F238E27FC236}">
                <a16:creationId xmlns:a16="http://schemas.microsoft.com/office/drawing/2014/main" id="{C4F701C8-C724-4F2E-8248-75EBAC03F8E8}"/>
              </a:ext>
            </a:extLst>
          </p:cNvPr>
          <p:cNvSpPr txBox="1"/>
          <p:nvPr/>
        </p:nvSpPr>
        <p:spPr>
          <a:xfrm>
            <a:off x="1399840" y="1832823"/>
            <a:ext cx="1637308" cy="461665"/>
          </a:xfrm>
          <a:prstGeom prst="rect">
            <a:avLst/>
          </a:prstGeom>
          <a:noFill/>
        </p:spPr>
        <p:txBody>
          <a:bodyPr wrap="square" lIns="182880" tIns="146304" rIns="182880" bIns="146304" rtlCol="0">
            <a:spAutoFit/>
          </a:bodyPr>
          <a:lstStyle/>
          <a:p>
            <a:pPr>
              <a:lnSpc>
                <a:spcPct val="90000"/>
              </a:lnSpc>
              <a:spcAft>
                <a:spcPts val="600"/>
              </a:spcAft>
            </a:pPr>
            <a:r>
              <a:rPr lang="en-US" sz="1200" b="1" spc="300" dirty="0">
                <a:solidFill>
                  <a:schemeClr val="accent2"/>
                </a:solidFill>
              </a:rPr>
              <a:t>INGEST </a:t>
            </a:r>
          </a:p>
        </p:txBody>
      </p:sp>
      <p:sp>
        <p:nvSpPr>
          <p:cNvPr id="33" name="Rectangle 32">
            <a:extLst>
              <a:ext uri="{FF2B5EF4-FFF2-40B4-BE49-F238E27FC236}">
                <a16:creationId xmlns:a16="http://schemas.microsoft.com/office/drawing/2014/main" id="{323202C6-F8F1-475D-9294-5CF777E00C7D}"/>
              </a:ext>
            </a:extLst>
          </p:cNvPr>
          <p:cNvSpPr/>
          <p:nvPr/>
        </p:nvSpPr>
        <p:spPr bwMode="auto">
          <a:xfrm>
            <a:off x="9077730" y="1873427"/>
            <a:ext cx="1637308" cy="4701782"/>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a:extLst>
              <a:ext uri="{FF2B5EF4-FFF2-40B4-BE49-F238E27FC236}">
                <a16:creationId xmlns:a16="http://schemas.microsoft.com/office/drawing/2014/main" id="{C4F3415C-5235-4881-B88F-E15502C430A3}"/>
              </a:ext>
            </a:extLst>
          </p:cNvPr>
          <p:cNvSpPr txBox="1"/>
          <p:nvPr/>
        </p:nvSpPr>
        <p:spPr>
          <a:xfrm>
            <a:off x="9045993" y="1866947"/>
            <a:ext cx="1400192" cy="461665"/>
          </a:xfrm>
          <a:prstGeom prst="rect">
            <a:avLst/>
          </a:prstGeom>
          <a:noFill/>
        </p:spPr>
        <p:txBody>
          <a:bodyPr wrap="square" lIns="182880" tIns="146304" rIns="182880" bIns="146304" rtlCol="0">
            <a:spAutoFit/>
          </a:bodyPr>
          <a:lstStyle/>
          <a:p>
            <a:pPr>
              <a:lnSpc>
                <a:spcPct val="90000"/>
              </a:lnSpc>
              <a:spcAft>
                <a:spcPts val="600"/>
              </a:spcAft>
            </a:pPr>
            <a:r>
              <a:rPr lang="en-US" sz="1200" b="1" spc="300" dirty="0">
                <a:solidFill>
                  <a:schemeClr val="accent2"/>
                </a:solidFill>
              </a:rPr>
              <a:t>VISUALIZE</a:t>
            </a:r>
          </a:p>
        </p:txBody>
      </p:sp>
      <p:sp>
        <p:nvSpPr>
          <p:cNvPr id="38" name="Rectangle 37">
            <a:extLst>
              <a:ext uri="{FF2B5EF4-FFF2-40B4-BE49-F238E27FC236}">
                <a16:creationId xmlns:a16="http://schemas.microsoft.com/office/drawing/2014/main" id="{6EBA53D4-1EFB-4C24-8C77-48085BB377BD}"/>
              </a:ext>
            </a:extLst>
          </p:cNvPr>
          <p:cNvSpPr/>
          <p:nvPr/>
        </p:nvSpPr>
        <p:spPr bwMode="auto">
          <a:xfrm>
            <a:off x="1465709" y="1332927"/>
            <a:ext cx="9252108" cy="430172"/>
          </a:xfrm>
          <a:prstGeom prst="rect">
            <a:avLst/>
          </a:prstGeom>
          <a:solidFill>
            <a:schemeClr val="accent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TextBox 38">
            <a:extLst>
              <a:ext uri="{FF2B5EF4-FFF2-40B4-BE49-F238E27FC236}">
                <a16:creationId xmlns:a16="http://schemas.microsoft.com/office/drawing/2014/main" id="{2C585B49-9403-4CA5-9560-EECF3A6BE9E7}"/>
              </a:ext>
            </a:extLst>
          </p:cNvPr>
          <p:cNvSpPr txBox="1"/>
          <p:nvPr/>
        </p:nvSpPr>
        <p:spPr>
          <a:xfrm>
            <a:off x="1449242" y="1335772"/>
            <a:ext cx="1119537" cy="461665"/>
          </a:xfrm>
          <a:prstGeom prst="rect">
            <a:avLst/>
          </a:prstGeom>
          <a:noFill/>
        </p:spPr>
        <p:txBody>
          <a:bodyPr wrap="square" lIns="182880" tIns="146304" rIns="182880" bIns="146304" rtlCol="0">
            <a:spAutoFit/>
          </a:bodyPr>
          <a:lstStyle/>
          <a:p>
            <a:pPr>
              <a:lnSpc>
                <a:spcPct val="90000"/>
              </a:lnSpc>
              <a:spcAft>
                <a:spcPts val="600"/>
              </a:spcAft>
            </a:pPr>
            <a:r>
              <a:rPr lang="en-US" sz="1200" b="1" spc="300" dirty="0">
                <a:solidFill>
                  <a:schemeClr val="bg1"/>
                </a:solidFill>
              </a:rPr>
              <a:t>SECURE</a:t>
            </a:r>
          </a:p>
        </p:txBody>
      </p:sp>
      <p:sp>
        <p:nvSpPr>
          <p:cNvPr id="40" name="TextBox 39">
            <a:extLst>
              <a:ext uri="{FF2B5EF4-FFF2-40B4-BE49-F238E27FC236}">
                <a16:creationId xmlns:a16="http://schemas.microsoft.com/office/drawing/2014/main" id="{17F7FEA0-120B-46EB-97B1-31765F22574A}"/>
              </a:ext>
            </a:extLst>
          </p:cNvPr>
          <p:cNvSpPr txBox="1"/>
          <p:nvPr/>
        </p:nvSpPr>
        <p:spPr>
          <a:xfrm>
            <a:off x="5358009" y="1328761"/>
            <a:ext cx="1882503" cy="461665"/>
          </a:xfrm>
          <a:prstGeom prst="rect">
            <a:avLst/>
          </a:prstGeom>
          <a:noFill/>
        </p:spPr>
        <p:txBody>
          <a:bodyPr wrap="none" lIns="182880" tIns="146304" rIns="182880" bIns="146304" rtlCol="0">
            <a:spAutoFit/>
          </a:bodyPr>
          <a:lstStyle/>
          <a:p>
            <a:pPr>
              <a:lnSpc>
                <a:spcPct val="90000"/>
              </a:lnSpc>
              <a:spcAft>
                <a:spcPts val="600"/>
              </a:spcAft>
            </a:pPr>
            <a:r>
              <a:rPr lang="en-US" sz="1200" dirty="0">
                <a:solidFill>
                  <a:schemeClr val="bg1"/>
                </a:solidFill>
              </a:rPr>
              <a:t>Azure Active Directory </a:t>
            </a:r>
          </a:p>
        </p:txBody>
      </p:sp>
      <p:pic>
        <p:nvPicPr>
          <p:cNvPr id="41" name="Picture 40">
            <a:extLst>
              <a:ext uri="{FF2B5EF4-FFF2-40B4-BE49-F238E27FC236}">
                <a16:creationId xmlns:a16="http://schemas.microsoft.com/office/drawing/2014/main" id="{4A015396-37C5-4296-989E-97330DF47CB4}"/>
              </a:ext>
            </a:extLst>
          </p:cNvPr>
          <p:cNvPicPr>
            <a:picLocks noChangeAspect="1"/>
          </p:cNvPicPr>
          <p:nvPr/>
        </p:nvPicPr>
        <p:blipFill>
          <a:blip r:embed="rId11"/>
          <a:stretch>
            <a:fillRect/>
          </a:stretch>
        </p:blipFill>
        <p:spPr>
          <a:xfrm>
            <a:off x="5142990" y="1396946"/>
            <a:ext cx="312245" cy="314558"/>
          </a:xfrm>
          <a:prstGeom prst="rect">
            <a:avLst/>
          </a:prstGeom>
        </p:spPr>
      </p:pic>
      <p:sp>
        <p:nvSpPr>
          <p:cNvPr id="59" name="Rectangle 58">
            <a:extLst>
              <a:ext uri="{FF2B5EF4-FFF2-40B4-BE49-F238E27FC236}">
                <a16:creationId xmlns:a16="http://schemas.microsoft.com/office/drawing/2014/main" id="{C9594BA9-1781-4079-9E3F-D0023DFD8821}"/>
              </a:ext>
            </a:extLst>
          </p:cNvPr>
          <p:cNvSpPr/>
          <p:nvPr/>
        </p:nvSpPr>
        <p:spPr bwMode="auto">
          <a:xfrm>
            <a:off x="3204160" y="3028569"/>
            <a:ext cx="5778149" cy="2374047"/>
          </a:xfrm>
          <a:prstGeom prst="rect">
            <a:avLst/>
          </a:prstGeom>
          <a:no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a:extLst>
              <a:ext uri="{FF2B5EF4-FFF2-40B4-BE49-F238E27FC236}">
                <a16:creationId xmlns:a16="http://schemas.microsoft.com/office/drawing/2014/main" id="{2A535E76-BCB7-44F1-ADC6-E48266D77B24}"/>
              </a:ext>
            </a:extLst>
          </p:cNvPr>
          <p:cNvSpPr txBox="1"/>
          <p:nvPr/>
        </p:nvSpPr>
        <p:spPr>
          <a:xfrm>
            <a:off x="4484341" y="3253699"/>
            <a:ext cx="3202672" cy="587985"/>
          </a:xfrm>
          <a:prstGeom prst="rect">
            <a:avLst/>
          </a:prstGeom>
          <a:noFill/>
        </p:spPr>
        <p:txBody>
          <a:bodyPr wrap="none" lIns="182880" tIns="146304" rIns="182880" bIns="146304" rtlCol="0">
            <a:spAutoFit/>
          </a:bodyPr>
          <a:lstStyle/>
          <a:p>
            <a:pPr>
              <a:lnSpc>
                <a:spcPct val="90000"/>
              </a:lnSpc>
              <a:spcAft>
                <a:spcPts val="600"/>
              </a:spcAft>
            </a:pPr>
            <a:r>
              <a:rPr lang="en-US" sz="2000" b="1" spc="300" dirty="0">
                <a:solidFill>
                  <a:schemeClr val="accent2"/>
                </a:solidFill>
              </a:rPr>
              <a:t>AZURE DATABRICKS</a:t>
            </a:r>
          </a:p>
        </p:txBody>
      </p:sp>
      <p:pic>
        <p:nvPicPr>
          <p:cNvPr id="62" name="Picture 61">
            <a:extLst>
              <a:ext uri="{FF2B5EF4-FFF2-40B4-BE49-F238E27FC236}">
                <a16:creationId xmlns:a16="http://schemas.microsoft.com/office/drawing/2014/main" id="{7EECE0C2-C2EB-44CB-900B-991BBC65F989}"/>
              </a:ext>
            </a:extLst>
          </p:cNvPr>
          <p:cNvPicPr>
            <a:picLocks noChangeAspect="1"/>
          </p:cNvPicPr>
          <p:nvPr/>
        </p:nvPicPr>
        <p:blipFill>
          <a:blip r:embed="rId12"/>
          <a:stretch>
            <a:fillRect/>
          </a:stretch>
        </p:blipFill>
        <p:spPr>
          <a:xfrm>
            <a:off x="2035997" y="2360911"/>
            <a:ext cx="630000" cy="510000"/>
          </a:xfrm>
          <a:prstGeom prst="rect">
            <a:avLst/>
          </a:prstGeom>
        </p:spPr>
      </p:pic>
    </p:spTree>
    <p:extLst>
      <p:ext uri="{BB962C8B-B14F-4D97-AF65-F5344CB8AC3E}">
        <p14:creationId xmlns:p14="http://schemas.microsoft.com/office/powerpoint/2010/main" val="41422953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B1A7F-4D77-4415-A1DD-7DA466310795}"/>
              </a:ext>
            </a:extLst>
          </p:cNvPr>
          <p:cNvSpPr>
            <a:spLocks noGrp="1"/>
          </p:cNvSpPr>
          <p:nvPr>
            <p:ph type="title"/>
          </p:nvPr>
        </p:nvSpPr>
        <p:spPr/>
        <p:txBody>
          <a:bodyPr/>
          <a:lstStyle/>
          <a:p>
            <a:r>
              <a:rPr lang="en-US" dirty="0"/>
              <a:t>Databricks Core Concepts</a:t>
            </a:r>
          </a:p>
        </p:txBody>
      </p:sp>
      <p:grpSp>
        <p:nvGrpSpPr>
          <p:cNvPr id="38" name="Group 37">
            <a:extLst>
              <a:ext uri="{FF2B5EF4-FFF2-40B4-BE49-F238E27FC236}">
                <a16:creationId xmlns:a16="http://schemas.microsoft.com/office/drawing/2014/main" id="{0E402469-3F7E-41A8-BDB3-B264B71EEE39}"/>
              </a:ext>
            </a:extLst>
          </p:cNvPr>
          <p:cNvGrpSpPr/>
          <p:nvPr/>
        </p:nvGrpSpPr>
        <p:grpSpPr>
          <a:xfrm>
            <a:off x="1393701" y="1377225"/>
            <a:ext cx="9074536" cy="5322026"/>
            <a:chOff x="1536189" y="1360873"/>
            <a:chExt cx="9074536" cy="5322026"/>
          </a:xfrm>
        </p:grpSpPr>
        <p:pic>
          <p:nvPicPr>
            <p:cNvPr id="4" name="Picture 3" descr="Image result for azure databricks">
              <a:extLst>
                <a:ext uri="{FF2B5EF4-FFF2-40B4-BE49-F238E27FC236}">
                  <a16:creationId xmlns:a16="http://schemas.microsoft.com/office/drawing/2014/main" id="{16BC4200-C5B3-4296-BA49-000ABA74E9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4756" y="3263104"/>
              <a:ext cx="2463960" cy="1293579"/>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80F3598B-1EDD-4735-BA59-CD689BFD9440}"/>
                </a:ext>
              </a:extLst>
            </p:cNvPr>
            <p:cNvGrpSpPr/>
            <p:nvPr/>
          </p:nvGrpSpPr>
          <p:grpSpPr>
            <a:xfrm>
              <a:off x="5112455" y="5446242"/>
              <a:ext cx="1728561" cy="1236657"/>
              <a:chOff x="5059590" y="5350291"/>
              <a:chExt cx="1728561" cy="1236657"/>
            </a:xfrm>
          </p:grpSpPr>
          <p:sp>
            <p:nvSpPr>
              <p:cNvPr id="10" name="TextBox 9">
                <a:extLst>
                  <a:ext uri="{FF2B5EF4-FFF2-40B4-BE49-F238E27FC236}">
                    <a16:creationId xmlns:a16="http://schemas.microsoft.com/office/drawing/2014/main" id="{2D123656-3031-43B8-92AE-8165A03BBCEA}"/>
                  </a:ext>
                </a:extLst>
              </p:cNvPr>
              <p:cNvSpPr txBox="1"/>
              <p:nvPr/>
            </p:nvSpPr>
            <p:spPr>
              <a:xfrm>
                <a:off x="5059590" y="5848284"/>
                <a:ext cx="17285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Tables</a:t>
                </a:r>
              </a:p>
            </p:txBody>
          </p:sp>
          <p:pic>
            <p:nvPicPr>
              <p:cNvPr id="25" name="Picture 24">
                <a:extLst>
                  <a:ext uri="{FF2B5EF4-FFF2-40B4-BE49-F238E27FC236}">
                    <a16:creationId xmlns:a16="http://schemas.microsoft.com/office/drawing/2014/main" id="{D2EFA565-F693-4D88-BBE3-AC91E04C65E5}"/>
                  </a:ext>
                </a:extLst>
              </p:cNvPr>
              <p:cNvPicPr>
                <a:picLocks noChangeAspect="1"/>
              </p:cNvPicPr>
              <p:nvPr/>
            </p:nvPicPr>
            <p:blipFill>
              <a:blip r:embed="rId4"/>
              <a:stretch>
                <a:fillRect/>
              </a:stretch>
            </p:blipFill>
            <p:spPr>
              <a:xfrm>
                <a:off x="5599467" y="5350291"/>
                <a:ext cx="648808" cy="497993"/>
              </a:xfrm>
              <a:prstGeom prst="rect">
                <a:avLst/>
              </a:prstGeom>
            </p:spPr>
          </p:pic>
        </p:grpSp>
        <p:grpSp>
          <p:nvGrpSpPr>
            <p:cNvPr id="36" name="Group 35">
              <a:extLst>
                <a:ext uri="{FF2B5EF4-FFF2-40B4-BE49-F238E27FC236}">
                  <a16:creationId xmlns:a16="http://schemas.microsoft.com/office/drawing/2014/main" id="{339FFAC2-46BB-4BC5-A66E-BF3B95BDCDB6}"/>
                </a:ext>
              </a:extLst>
            </p:cNvPr>
            <p:cNvGrpSpPr/>
            <p:nvPr/>
          </p:nvGrpSpPr>
          <p:grpSpPr>
            <a:xfrm>
              <a:off x="7802413" y="2076255"/>
              <a:ext cx="2808312" cy="1421007"/>
              <a:chOff x="7833446" y="2076255"/>
              <a:chExt cx="2808312" cy="1421007"/>
            </a:xfrm>
          </p:grpSpPr>
          <p:sp>
            <p:nvSpPr>
              <p:cNvPr id="8" name="TextBox 7">
                <a:extLst>
                  <a:ext uri="{FF2B5EF4-FFF2-40B4-BE49-F238E27FC236}">
                    <a16:creationId xmlns:a16="http://schemas.microsoft.com/office/drawing/2014/main" id="{9118FAC8-0B49-4F9D-AFFA-B6153026AA37}"/>
                  </a:ext>
                </a:extLst>
              </p:cNvPr>
              <p:cNvSpPr txBox="1"/>
              <p:nvPr/>
            </p:nvSpPr>
            <p:spPr>
              <a:xfrm>
                <a:off x="7833446" y="2758598"/>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Notebooks</a:t>
                </a:r>
              </a:p>
            </p:txBody>
          </p:sp>
          <p:pic>
            <p:nvPicPr>
              <p:cNvPr id="26" name="Picture 25">
                <a:extLst>
                  <a:ext uri="{FF2B5EF4-FFF2-40B4-BE49-F238E27FC236}">
                    <a16:creationId xmlns:a16="http://schemas.microsoft.com/office/drawing/2014/main" id="{6FE22100-1B49-479D-ADD0-3C92BF3B3BB6}"/>
                  </a:ext>
                </a:extLst>
              </p:cNvPr>
              <p:cNvPicPr>
                <a:picLocks noChangeAspect="1"/>
              </p:cNvPicPr>
              <p:nvPr/>
            </p:nvPicPr>
            <p:blipFill>
              <a:blip r:embed="rId5"/>
              <a:stretch>
                <a:fillRect/>
              </a:stretch>
            </p:blipFill>
            <p:spPr>
              <a:xfrm>
                <a:off x="8954541" y="2076255"/>
                <a:ext cx="566123" cy="682343"/>
              </a:xfrm>
              <a:prstGeom prst="rect">
                <a:avLst/>
              </a:prstGeom>
            </p:spPr>
          </p:pic>
        </p:grpSp>
        <p:grpSp>
          <p:nvGrpSpPr>
            <p:cNvPr id="34" name="Group 33">
              <a:extLst>
                <a:ext uri="{FF2B5EF4-FFF2-40B4-BE49-F238E27FC236}">
                  <a16:creationId xmlns:a16="http://schemas.microsoft.com/office/drawing/2014/main" id="{7A4A36BE-C2F6-4EBD-922F-9B8681EC53E8}"/>
                </a:ext>
              </a:extLst>
            </p:cNvPr>
            <p:cNvGrpSpPr/>
            <p:nvPr/>
          </p:nvGrpSpPr>
          <p:grpSpPr>
            <a:xfrm>
              <a:off x="1542688" y="4143937"/>
              <a:ext cx="2808312" cy="1340650"/>
              <a:chOff x="1753740" y="3645950"/>
              <a:chExt cx="2808312" cy="1340650"/>
            </a:xfrm>
          </p:grpSpPr>
          <p:sp>
            <p:nvSpPr>
              <p:cNvPr id="11" name="TextBox 10">
                <a:extLst>
                  <a:ext uri="{FF2B5EF4-FFF2-40B4-BE49-F238E27FC236}">
                    <a16:creationId xmlns:a16="http://schemas.microsoft.com/office/drawing/2014/main" id="{65819682-BFF9-4B01-B0EE-22BBDD8D2635}"/>
                  </a:ext>
                </a:extLst>
              </p:cNvPr>
              <p:cNvSpPr txBox="1"/>
              <p:nvPr/>
            </p:nvSpPr>
            <p:spPr>
              <a:xfrm>
                <a:off x="1753740" y="4247936"/>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Jobs</a:t>
                </a:r>
              </a:p>
            </p:txBody>
          </p:sp>
          <p:pic>
            <p:nvPicPr>
              <p:cNvPr id="28" name="Picture 27">
                <a:extLst>
                  <a:ext uri="{FF2B5EF4-FFF2-40B4-BE49-F238E27FC236}">
                    <a16:creationId xmlns:a16="http://schemas.microsoft.com/office/drawing/2014/main" id="{ECFF8F85-E52C-4FAD-9AC4-23A149B9789F}"/>
                  </a:ext>
                </a:extLst>
              </p:cNvPr>
              <p:cNvPicPr>
                <a:picLocks noChangeAspect="1"/>
              </p:cNvPicPr>
              <p:nvPr/>
            </p:nvPicPr>
            <p:blipFill>
              <a:blip r:embed="rId6"/>
              <a:stretch>
                <a:fillRect/>
              </a:stretch>
            </p:blipFill>
            <p:spPr>
              <a:xfrm>
                <a:off x="2897836" y="3645950"/>
                <a:ext cx="597559" cy="601985"/>
              </a:xfrm>
              <a:prstGeom prst="rect">
                <a:avLst/>
              </a:prstGeom>
            </p:spPr>
          </p:pic>
        </p:grpSp>
        <p:grpSp>
          <p:nvGrpSpPr>
            <p:cNvPr id="35" name="Group 34">
              <a:extLst>
                <a:ext uri="{FF2B5EF4-FFF2-40B4-BE49-F238E27FC236}">
                  <a16:creationId xmlns:a16="http://schemas.microsoft.com/office/drawing/2014/main" id="{5075C28E-4C09-4567-A931-6237B5277BB9}"/>
                </a:ext>
              </a:extLst>
            </p:cNvPr>
            <p:cNvGrpSpPr/>
            <p:nvPr/>
          </p:nvGrpSpPr>
          <p:grpSpPr>
            <a:xfrm>
              <a:off x="8275435" y="4106911"/>
              <a:ext cx="1862268" cy="1339331"/>
              <a:chOff x="8141036" y="4047891"/>
              <a:chExt cx="1862268" cy="1339331"/>
            </a:xfrm>
          </p:grpSpPr>
          <p:sp>
            <p:nvSpPr>
              <p:cNvPr id="9" name="TextBox 8">
                <a:extLst>
                  <a:ext uri="{FF2B5EF4-FFF2-40B4-BE49-F238E27FC236}">
                    <a16:creationId xmlns:a16="http://schemas.microsoft.com/office/drawing/2014/main" id="{1D278599-3DB6-4438-B7C8-5A63FB0E5CD3}"/>
                  </a:ext>
                </a:extLst>
              </p:cNvPr>
              <p:cNvSpPr txBox="1"/>
              <p:nvPr/>
            </p:nvSpPr>
            <p:spPr>
              <a:xfrm>
                <a:off x="8141036" y="4648558"/>
                <a:ext cx="1862268"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Libraries</a:t>
                </a:r>
              </a:p>
            </p:txBody>
          </p:sp>
          <p:pic>
            <p:nvPicPr>
              <p:cNvPr id="30" name="Picture 29">
                <a:extLst>
                  <a:ext uri="{FF2B5EF4-FFF2-40B4-BE49-F238E27FC236}">
                    <a16:creationId xmlns:a16="http://schemas.microsoft.com/office/drawing/2014/main" id="{79914935-BD72-4E15-93BF-668E10AAD1A3}"/>
                  </a:ext>
                </a:extLst>
              </p:cNvPr>
              <p:cNvPicPr>
                <a:picLocks noChangeAspect="1"/>
              </p:cNvPicPr>
              <p:nvPr/>
            </p:nvPicPr>
            <p:blipFill>
              <a:blip r:embed="rId7"/>
              <a:stretch>
                <a:fillRect/>
              </a:stretch>
            </p:blipFill>
            <p:spPr>
              <a:xfrm>
                <a:off x="8751545" y="4047891"/>
                <a:ext cx="641250" cy="600667"/>
              </a:xfrm>
              <a:prstGeom prst="rect">
                <a:avLst/>
              </a:prstGeom>
            </p:spPr>
          </p:pic>
        </p:grpSp>
        <p:grpSp>
          <p:nvGrpSpPr>
            <p:cNvPr id="37" name="Group 36">
              <a:extLst>
                <a:ext uri="{FF2B5EF4-FFF2-40B4-BE49-F238E27FC236}">
                  <a16:creationId xmlns:a16="http://schemas.microsoft.com/office/drawing/2014/main" id="{35BEB623-4FC9-4EF1-A52F-6CE28C7AB79E}"/>
                </a:ext>
              </a:extLst>
            </p:cNvPr>
            <p:cNvGrpSpPr/>
            <p:nvPr/>
          </p:nvGrpSpPr>
          <p:grpSpPr>
            <a:xfrm>
              <a:off x="4572579" y="1360873"/>
              <a:ext cx="2808312" cy="1293185"/>
              <a:chOff x="4448436" y="1360061"/>
              <a:chExt cx="2808312" cy="1293185"/>
            </a:xfrm>
          </p:grpSpPr>
          <p:sp>
            <p:nvSpPr>
              <p:cNvPr id="6" name="TextBox 5">
                <a:extLst>
                  <a:ext uri="{FF2B5EF4-FFF2-40B4-BE49-F238E27FC236}">
                    <a16:creationId xmlns:a16="http://schemas.microsoft.com/office/drawing/2014/main" id="{F67E27F0-D33E-44C9-8CE4-7741E96685BE}"/>
                  </a:ext>
                </a:extLst>
              </p:cNvPr>
              <p:cNvSpPr txBox="1"/>
              <p:nvPr/>
            </p:nvSpPr>
            <p:spPr>
              <a:xfrm>
                <a:off x="4448436" y="1914582"/>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Workspaces</a:t>
                </a:r>
              </a:p>
            </p:txBody>
          </p:sp>
          <p:pic>
            <p:nvPicPr>
              <p:cNvPr id="31" name="Picture 30">
                <a:extLst>
                  <a:ext uri="{FF2B5EF4-FFF2-40B4-BE49-F238E27FC236}">
                    <a16:creationId xmlns:a16="http://schemas.microsoft.com/office/drawing/2014/main" id="{9DA1B269-EA5A-4341-9615-D55E21E63D9E}"/>
                  </a:ext>
                </a:extLst>
              </p:cNvPr>
              <p:cNvPicPr>
                <a:picLocks noChangeAspect="1"/>
              </p:cNvPicPr>
              <p:nvPr/>
            </p:nvPicPr>
            <p:blipFill>
              <a:blip r:embed="rId8"/>
              <a:stretch>
                <a:fillRect/>
              </a:stretch>
            </p:blipFill>
            <p:spPr>
              <a:xfrm>
                <a:off x="5543237" y="1360061"/>
                <a:ext cx="675000" cy="544000"/>
              </a:xfrm>
              <a:prstGeom prst="rect">
                <a:avLst/>
              </a:prstGeom>
            </p:spPr>
          </p:pic>
        </p:grpSp>
        <p:grpSp>
          <p:nvGrpSpPr>
            <p:cNvPr id="33" name="Group 32">
              <a:extLst>
                <a:ext uri="{FF2B5EF4-FFF2-40B4-BE49-F238E27FC236}">
                  <a16:creationId xmlns:a16="http://schemas.microsoft.com/office/drawing/2014/main" id="{11AA444B-FFA5-4766-9B53-43A01E6C4B34}"/>
                </a:ext>
              </a:extLst>
            </p:cNvPr>
            <p:cNvGrpSpPr/>
            <p:nvPr/>
          </p:nvGrpSpPr>
          <p:grpSpPr>
            <a:xfrm>
              <a:off x="1536189" y="2050613"/>
              <a:ext cx="2808312" cy="1415994"/>
              <a:chOff x="1753740" y="1932580"/>
              <a:chExt cx="2808312" cy="1415994"/>
            </a:xfrm>
          </p:grpSpPr>
          <p:sp>
            <p:nvSpPr>
              <p:cNvPr id="12" name="TextBox 11">
                <a:extLst>
                  <a:ext uri="{FF2B5EF4-FFF2-40B4-BE49-F238E27FC236}">
                    <a16:creationId xmlns:a16="http://schemas.microsoft.com/office/drawing/2014/main" id="{A366DDC1-6310-4991-8043-4344E87D7445}"/>
                  </a:ext>
                </a:extLst>
              </p:cNvPr>
              <p:cNvSpPr txBox="1"/>
              <p:nvPr/>
            </p:nvSpPr>
            <p:spPr>
              <a:xfrm>
                <a:off x="1753740" y="2609910"/>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Clusters</a:t>
                </a:r>
              </a:p>
            </p:txBody>
          </p:sp>
          <p:pic>
            <p:nvPicPr>
              <p:cNvPr id="32" name="Picture 31">
                <a:extLst>
                  <a:ext uri="{FF2B5EF4-FFF2-40B4-BE49-F238E27FC236}">
                    <a16:creationId xmlns:a16="http://schemas.microsoft.com/office/drawing/2014/main" id="{6EB67BA4-F0DC-4413-84F5-5F09A7FBDEB1}"/>
                  </a:ext>
                </a:extLst>
              </p:cNvPr>
              <p:cNvPicPr>
                <a:picLocks noChangeAspect="1"/>
              </p:cNvPicPr>
              <p:nvPr/>
            </p:nvPicPr>
            <p:blipFill>
              <a:blip r:embed="rId9"/>
              <a:stretch>
                <a:fillRect/>
              </a:stretch>
            </p:blipFill>
            <p:spPr>
              <a:xfrm>
                <a:off x="2774740" y="1932580"/>
                <a:ext cx="843750" cy="702667"/>
              </a:xfrm>
              <a:prstGeom prst="rect">
                <a:avLst/>
              </a:prstGeom>
            </p:spPr>
          </p:pic>
        </p:grpSp>
      </p:grpSp>
    </p:spTree>
    <p:extLst>
      <p:ext uri="{BB962C8B-B14F-4D97-AF65-F5344CB8AC3E}">
        <p14:creationId xmlns:p14="http://schemas.microsoft.com/office/powerpoint/2010/main" val="427618178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B1A7F-4D77-4415-A1DD-7DA466310795}"/>
              </a:ext>
            </a:extLst>
          </p:cNvPr>
          <p:cNvSpPr>
            <a:spLocks noGrp="1"/>
          </p:cNvSpPr>
          <p:nvPr>
            <p:ph type="title"/>
          </p:nvPr>
        </p:nvSpPr>
        <p:spPr/>
        <p:txBody>
          <a:bodyPr/>
          <a:lstStyle/>
          <a:p>
            <a:r>
              <a:rPr lang="en-US" dirty="0"/>
              <a:t>Databricks Core Concepts</a:t>
            </a:r>
          </a:p>
        </p:txBody>
      </p:sp>
      <p:pic>
        <p:nvPicPr>
          <p:cNvPr id="4" name="Picture 3" descr="Image result for azure databricks">
            <a:extLst>
              <a:ext uri="{FF2B5EF4-FFF2-40B4-BE49-F238E27FC236}">
                <a16:creationId xmlns:a16="http://schemas.microsoft.com/office/drawing/2014/main" id="{16BC4200-C5B3-4296-BA49-000ABA74E9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412" y="3246341"/>
            <a:ext cx="2463960" cy="1293579"/>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80F3598B-1EDD-4735-BA59-CD689BFD9440}"/>
              </a:ext>
            </a:extLst>
          </p:cNvPr>
          <p:cNvGrpSpPr/>
          <p:nvPr/>
        </p:nvGrpSpPr>
        <p:grpSpPr>
          <a:xfrm>
            <a:off x="3766131" y="5260279"/>
            <a:ext cx="1728561" cy="1236657"/>
            <a:chOff x="5059590" y="5350291"/>
            <a:chExt cx="1728561" cy="1236657"/>
          </a:xfrm>
        </p:grpSpPr>
        <p:sp>
          <p:nvSpPr>
            <p:cNvPr id="10" name="TextBox 9">
              <a:extLst>
                <a:ext uri="{FF2B5EF4-FFF2-40B4-BE49-F238E27FC236}">
                  <a16:creationId xmlns:a16="http://schemas.microsoft.com/office/drawing/2014/main" id="{2D123656-3031-43B8-92AE-8165A03BBCEA}"/>
                </a:ext>
              </a:extLst>
            </p:cNvPr>
            <p:cNvSpPr txBox="1"/>
            <p:nvPr/>
          </p:nvSpPr>
          <p:spPr>
            <a:xfrm>
              <a:off x="5059590" y="5848284"/>
              <a:ext cx="1728561"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Tables</a:t>
              </a:r>
            </a:p>
          </p:txBody>
        </p:sp>
        <p:pic>
          <p:nvPicPr>
            <p:cNvPr id="25" name="Picture 24">
              <a:extLst>
                <a:ext uri="{FF2B5EF4-FFF2-40B4-BE49-F238E27FC236}">
                  <a16:creationId xmlns:a16="http://schemas.microsoft.com/office/drawing/2014/main" id="{D2EFA565-F693-4D88-BBE3-AC91E04C65E5}"/>
                </a:ext>
              </a:extLst>
            </p:cNvPr>
            <p:cNvPicPr>
              <a:picLocks noChangeAspect="1"/>
            </p:cNvPicPr>
            <p:nvPr/>
          </p:nvPicPr>
          <p:blipFill>
            <a:blip r:embed="rId4"/>
            <a:stretch>
              <a:fillRect/>
            </a:stretch>
          </p:blipFill>
          <p:spPr>
            <a:xfrm>
              <a:off x="5599467" y="5350291"/>
              <a:ext cx="648808" cy="497993"/>
            </a:xfrm>
            <a:prstGeom prst="rect">
              <a:avLst/>
            </a:prstGeom>
          </p:spPr>
        </p:pic>
      </p:grpSp>
      <p:grpSp>
        <p:nvGrpSpPr>
          <p:cNvPr id="36" name="Group 35">
            <a:extLst>
              <a:ext uri="{FF2B5EF4-FFF2-40B4-BE49-F238E27FC236}">
                <a16:creationId xmlns:a16="http://schemas.microsoft.com/office/drawing/2014/main" id="{339FFAC2-46BB-4BC5-A66E-BF3B95BDCDB6}"/>
              </a:ext>
            </a:extLst>
          </p:cNvPr>
          <p:cNvGrpSpPr/>
          <p:nvPr/>
        </p:nvGrpSpPr>
        <p:grpSpPr>
          <a:xfrm>
            <a:off x="7390244" y="1879557"/>
            <a:ext cx="2808312" cy="1421007"/>
            <a:chOff x="7833446" y="2076255"/>
            <a:chExt cx="2808312" cy="1421007"/>
          </a:xfrm>
        </p:grpSpPr>
        <p:sp>
          <p:nvSpPr>
            <p:cNvPr id="8" name="TextBox 7">
              <a:extLst>
                <a:ext uri="{FF2B5EF4-FFF2-40B4-BE49-F238E27FC236}">
                  <a16:creationId xmlns:a16="http://schemas.microsoft.com/office/drawing/2014/main" id="{9118FAC8-0B49-4F9D-AFFA-B6153026AA37}"/>
                </a:ext>
              </a:extLst>
            </p:cNvPr>
            <p:cNvSpPr txBox="1"/>
            <p:nvPr/>
          </p:nvSpPr>
          <p:spPr>
            <a:xfrm>
              <a:off x="7833446" y="2758598"/>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Notebooks</a:t>
              </a:r>
            </a:p>
          </p:txBody>
        </p:sp>
        <p:pic>
          <p:nvPicPr>
            <p:cNvPr id="26" name="Picture 25">
              <a:extLst>
                <a:ext uri="{FF2B5EF4-FFF2-40B4-BE49-F238E27FC236}">
                  <a16:creationId xmlns:a16="http://schemas.microsoft.com/office/drawing/2014/main" id="{6FE22100-1B49-479D-ADD0-3C92BF3B3BB6}"/>
                </a:ext>
              </a:extLst>
            </p:cNvPr>
            <p:cNvPicPr>
              <a:picLocks noChangeAspect="1"/>
            </p:cNvPicPr>
            <p:nvPr/>
          </p:nvPicPr>
          <p:blipFill>
            <a:blip r:embed="rId5"/>
            <a:stretch>
              <a:fillRect/>
            </a:stretch>
          </p:blipFill>
          <p:spPr>
            <a:xfrm>
              <a:off x="8954541" y="2076255"/>
              <a:ext cx="566123" cy="682343"/>
            </a:xfrm>
            <a:prstGeom prst="rect">
              <a:avLst/>
            </a:prstGeom>
          </p:spPr>
        </p:pic>
      </p:grpSp>
      <p:grpSp>
        <p:nvGrpSpPr>
          <p:cNvPr id="34" name="Group 33">
            <a:extLst>
              <a:ext uri="{FF2B5EF4-FFF2-40B4-BE49-F238E27FC236}">
                <a16:creationId xmlns:a16="http://schemas.microsoft.com/office/drawing/2014/main" id="{7A4A36BE-C2F6-4EBD-922F-9B8681EC53E8}"/>
              </a:ext>
            </a:extLst>
          </p:cNvPr>
          <p:cNvGrpSpPr/>
          <p:nvPr/>
        </p:nvGrpSpPr>
        <p:grpSpPr>
          <a:xfrm>
            <a:off x="1482556" y="3724101"/>
            <a:ext cx="2808312" cy="1340650"/>
            <a:chOff x="1753740" y="3645950"/>
            <a:chExt cx="2808312" cy="1340650"/>
          </a:xfrm>
        </p:grpSpPr>
        <p:sp>
          <p:nvSpPr>
            <p:cNvPr id="11" name="TextBox 10">
              <a:extLst>
                <a:ext uri="{FF2B5EF4-FFF2-40B4-BE49-F238E27FC236}">
                  <a16:creationId xmlns:a16="http://schemas.microsoft.com/office/drawing/2014/main" id="{65819682-BFF9-4B01-B0EE-22BBDD8D2635}"/>
                </a:ext>
              </a:extLst>
            </p:cNvPr>
            <p:cNvSpPr txBox="1"/>
            <p:nvPr/>
          </p:nvSpPr>
          <p:spPr>
            <a:xfrm>
              <a:off x="1753740" y="4247936"/>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Jobs</a:t>
              </a:r>
            </a:p>
          </p:txBody>
        </p:sp>
        <p:pic>
          <p:nvPicPr>
            <p:cNvPr id="28" name="Picture 27">
              <a:extLst>
                <a:ext uri="{FF2B5EF4-FFF2-40B4-BE49-F238E27FC236}">
                  <a16:creationId xmlns:a16="http://schemas.microsoft.com/office/drawing/2014/main" id="{ECFF8F85-E52C-4FAD-9AC4-23A149B9789F}"/>
                </a:ext>
              </a:extLst>
            </p:cNvPr>
            <p:cNvPicPr>
              <a:picLocks noChangeAspect="1"/>
            </p:cNvPicPr>
            <p:nvPr/>
          </p:nvPicPr>
          <p:blipFill>
            <a:blip r:embed="rId6"/>
            <a:stretch>
              <a:fillRect/>
            </a:stretch>
          </p:blipFill>
          <p:spPr>
            <a:xfrm>
              <a:off x="2897836" y="3645950"/>
              <a:ext cx="597559" cy="601985"/>
            </a:xfrm>
            <a:prstGeom prst="rect">
              <a:avLst/>
            </a:prstGeom>
          </p:spPr>
        </p:pic>
      </p:grpSp>
      <p:grpSp>
        <p:nvGrpSpPr>
          <p:cNvPr id="35" name="Group 34">
            <a:extLst>
              <a:ext uri="{FF2B5EF4-FFF2-40B4-BE49-F238E27FC236}">
                <a16:creationId xmlns:a16="http://schemas.microsoft.com/office/drawing/2014/main" id="{5075C28E-4C09-4567-A931-6237B5277BB9}"/>
              </a:ext>
            </a:extLst>
          </p:cNvPr>
          <p:cNvGrpSpPr/>
          <p:nvPr/>
        </p:nvGrpSpPr>
        <p:grpSpPr>
          <a:xfrm>
            <a:off x="8143698" y="3672658"/>
            <a:ext cx="1862268" cy="1339331"/>
            <a:chOff x="8141036" y="4047891"/>
            <a:chExt cx="1862268" cy="1339331"/>
          </a:xfrm>
        </p:grpSpPr>
        <p:sp>
          <p:nvSpPr>
            <p:cNvPr id="9" name="TextBox 8">
              <a:extLst>
                <a:ext uri="{FF2B5EF4-FFF2-40B4-BE49-F238E27FC236}">
                  <a16:creationId xmlns:a16="http://schemas.microsoft.com/office/drawing/2014/main" id="{1D278599-3DB6-4438-B7C8-5A63FB0E5CD3}"/>
                </a:ext>
              </a:extLst>
            </p:cNvPr>
            <p:cNvSpPr txBox="1"/>
            <p:nvPr/>
          </p:nvSpPr>
          <p:spPr>
            <a:xfrm>
              <a:off x="8141036" y="4648558"/>
              <a:ext cx="1862268"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Libraries</a:t>
              </a:r>
            </a:p>
          </p:txBody>
        </p:sp>
        <p:pic>
          <p:nvPicPr>
            <p:cNvPr id="30" name="Picture 29">
              <a:extLst>
                <a:ext uri="{FF2B5EF4-FFF2-40B4-BE49-F238E27FC236}">
                  <a16:creationId xmlns:a16="http://schemas.microsoft.com/office/drawing/2014/main" id="{79914935-BD72-4E15-93BF-668E10AAD1A3}"/>
                </a:ext>
              </a:extLst>
            </p:cNvPr>
            <p:cNvPicPr>
              <a:picLocks noChangeAspect="1"/>
            </p:cNvPicPr>
            <p:nvPr/>
          </p:nvPicPr>
          <p:blipFill>
            <a:blip r:embed="rId7"/>
            <a:stretch>
              <a:fillRect/>
            </a:stretch>
          </p:blipFill>
          <p:spPr>
            <a:xfrm>
              <a:off x="8751545" y="4047891"/>
              <a:ext cx="641250" cy="600667"/>
            </a:xfrm>
            <a:prstGeom prst="rect">
              <a:avLst/>
            </a:prstGeom>
          </p:spPr>
        </p:pic>
      </p:grpSp>
      <p:grpSp>
        <p:nvGrpSpPr>
          <p:cNvPr id="37" name="Group 36">
            <a:extLst>
              <a:ext uri="{FF2B5EF4-FFF2-40B4-BE49-F238E27FC236}">
                <a16:creationId xmlns:a16="http://schemas.microsoft.com/office/drawing/2014/main" id="{35BEB623-4FC9-4EF1-A52F-6CE28C7AB79E}"/>
              </a:ext>
            </a:extLst>
          </p:cNvPr>
          <p:cNvGrpSpPr/>
          <p:nvPr/>
        </p:nvGrpSpPr>
        <p:grpSpPr>
          <a:xfrm>
            <a:off x="4491710" y="1335557"/>
            <a:ext cx="2808312" cy="1293185"/>
            <a:chOff x="4448436" y="1360061"/>
            <a:chExt cx="2808312" cy="1293185"/>
          </a:xfrm>
        </p:grpSpPr>
        <p:sp>
          <p:nvSpPr>
            <p:cNvPr id="6" name="TextBox 5">
              <a:extLst>
                <a:ext uri="{FF2B5EF4-FFF2-40B4-BE49-F238E27FC236}">
                  <a16:creationId xmlns:a16="http://schemas.microsoft.com/office/drawing/2014/main" id="{F67E27F0-D33E-44C9-8CE4-7741E96685BE}"/>
                </a:ext>
              </a:extLst>
            </p:cNvPr>
            <p:cNvSpPr txBox="1"/>
            <p:nvPr/>
          </p:nvSpPr>
          <p:spPr>
            <a:xfrm>
              <a:off x="4448436" y="1914582"/>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Workspaces</a:t>
              </a:r>
            </a:p>
          </p:txBody>
        </p:sp>
        <p:pic>
          <p:nvPicPr>
            <p:cNvPr id="31" name="Picture 30">
              <a:extLst>
                <a:ext uri="{FF2B5EF4-FFF2-40B4-BE49-F238E27FC236}">
                  <a16:creationId xmlns:a16="http://schemas.microsoft.com/office/drawing/2014/main" id="{9DA1B269-EA5A-4341-9615-D55E21E63D9E}"/>
                </a:ext>
              </a:extLst>
            </p:cNvPr>
            <p:cNvPicPr>
              <a:picLocks noChangeAspect="1"/>
            </p:cNvPicPr>
            <p:nvPr/>
          </p:nvPicPr>
          <p:blipFill>
            <a:blip r:embed="rId8"/>
            <a:stretch>
              <a:fillRect/>
            </a:stretch>
          </p:blipFill>
          <p:spPr>
            <a:xfrm>
              <a:off x="5543237" y="1360061"/>
              <a:ext cx="675000" cy="544000"/>
            </a:xfrm>
            <a:prstGeom prst="rect">
              <a:avLst/>
            </a:prstGeom>
          </p:spPr>
        </p:pic>
      </p:grpSp>
      <p:grpSp>
        <p:nvGrpSpPr>
          <p:cNvPr id="33" name="Group 32">
            <a:extLst>
              <a:ext uri="{FF2B5EF4-FFF2-40B4-BE49-F238E27FC236}">
                <a16:creationId xmlns:a16="http://schemas.microsoft.com/office/drawing/2014/main" id="{11AA444B-FFA5-4766-9B53-43A01E6C4B34}"/>
              </a:ext>
            </a:extLst>
          </p:cNvPr>
          <p:cNvGrpSpPr/>
          <p:nvPr/>
        </p:nvGrpSpPr>
        <p:grpSpPr>
          <a:xfrm>
            <a:off x="1793956" y="1888335"/>
            <a:ext cx="2808312" cy="1415994"/>
            <a:chOff x="1753740" y="1932580"/>
            <a:chExt cx="2808312" cy="1415994"/>
          </a:xfrm>
        </p:grpSpPr>
        <p:sp>
          <p:nvSpPr>
            <p:cNvPr id="12" name="TextBox 11">
              <a:extLst>
                <a:ext uri="{FF2B5EF4-FFF2-40B4-BE49-F238E27FC236}">
                  <a16:creationId xmlns:a16="http://schemas.microsoft.com/office/drawing/2014/main" id="{A366DDC1-6310-4991-8043-4344E87D7445}"/>
                </a:ext>
              </a:extLst>
            </p:cNvPr>
            <p:cNvSpPr txBox="1"/>
            <p:nvPr/>
          </p:nvSpPr>
          <p:spPr>
            <a:xfrm>
              <a:off x="1753740" y="2609910"/>
              <a:ext cx="2808312"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Clusters</a:t>
              </a:r>
            </a:p>
          </p:txBody>
        </p:sp>
        <p:pic>
          <p:nvPicPr>
            <p:cNvPr id="32" name="Picture 31">
              <a:extLst>
                <a:ext uri="{FF2B5EF4-FFF2-40B4-BE49-F238E27FC236}">
                  <a16:creationId xmlns:a16="http://schemas.microsoft.com/office/drawing/2014/main" id="{6EB67BA4-F0DC-4413-84F5-5F09A7FBDEB1}"/>
                </a:ext>
              </a:extLst>
            </p:cNvPr>
            <p:cNvPicPr>
              <a:picLocks noChangeAspect="1"/>
            </p:cNvPicPr>
            <p:nvPr/>
          </p:nvPicPr>
          <p:blipFill>
            <a:blip r:embed="rId9"/>
            <a:stretch>
              <a:fillRect/>
            </a:stretch>
          </p:blipFill>
          <p:spPr>
            <a:xfrm>
              <a:off x="2774740" y="1932580"/>
              <a:ext cx="843750" cy="702667"/>
            </a:xfrm>
            <a:prstGeom prst="rect">
              <a:avLst/>
            </a:prstGeom>
          </p:spPr>
        </p:pic>
      </p:grpSp>
      <p:grpSp>
        <p:nvGrpSpPr>
          <p:cNvPr id="5" name="Group 4">
            <a:extLst>
              <a:ext uri="{FF2B5EF4-FFF2-40B4-BE49-F238E27FC236}">
                <a16:creationId xmlns:a16="http://schemas.microsoft.com/office/drawing/2014/main" id="{0EC661CD-0BA3-4158-ACAB-D70DBAC9E908}"/>
              </a:ext>
            </a:extLst>
          </p:cNvPr>
          <p:cNvGrpSpPr/>
          <p:nvPr/>
        </p:nvGrpSpPr>
        <p:grpSpPr>
          <a:xfrm>
            <a:off x="6031132" y="5167589"/>
            <a:ext cx="2414542" cy="1726682"/>
            <a:chOff x="10049252" y="1319888"/>
            <a:chExt cx="2414542" cy="1726682"/>
          </a:xfrm>
        </p:grpSpPr>
        <p:pic>
          <p:nvPicPr>
            <p:cNvPr id="3" name="Picture 2">
              <a:extLst>
                <a:ext uri="{FF2B5EF4-FFF2-40B4-BE49-F238E27FC236}">
                  <a16:creationId xmlns:a16="http://schemas.microsoft.com/office/drawing/2014/main" id="{3CA0BC5C-00C8-48E9-8014-3E204C331F69}"/>
                </a:ext>
              </a:extLst>
            </p:cNvPr>
            <p:cNvPicPr>
              <a:picLocks noChangeAspect="1"/>
            </p:cNvPicPr>
            <p:nvPr/>
          </p:nvPicPr>
          <p:blipFill>
            <a:blip r:embed="rId10"/>
            <a:stretch>
              <a:fillRect/>
            </a:stretch>
          </p:blipFill>
          <p:spPr>
            <a:xfrm>
              <a:off x="11042773" y="1319888"/>
              <a:ext cx="427500" cy="782000"/>
            </a:xfrm>
            <a:prstGeom prst="rect">
              <a:avLst/>
            </a:prstGeom>
          </p:spPr>
        </p:pic>
        <p:sp>
          <p:nvSpPr>
            <p:cNvPr id="24" name="TextBox 23">
              <a:extLst>
                <a:ext uri="{FF2B5EF4-FFF2-40B4-BE49-F238E27FC236}">
                  <a16:creationId xmlns:a16="http://schemas.microsoft.com/office/drawing/2014/main" id="{F15E2242-4186-45A6-BE51-139D3F87B3F3}"/>
                </a:ext>
              </a:extLst>
            </p:cNvPr>
            <p:cNvSpPr txBox="1"/>
            <p:nvPr/>
          </p:nvSpPr>
          <p:spPr>
            <a:xfrm>
              <a:off x="10049252" y="2030907"/>
              <a:ext cx="2414542" cy="1015663"/>
            </a:xfrm>
            <a:prstGeom prst="rect">
              <a:avLst/>
            </a:prstGeom>
            <a:noFill/>
          </p:spPr>
          <p:txBody>
            <a:bodyPr wrap="square" lIns="182880" tIns="146304" rIns="182880" bIns="146304" rtlCol="0">
              <a:spAutoFit/>
            </a:bodyPr>
            <a:lstStyle/>
            <a:p>
              <a:pPr algn="ctr">
                <a:lnSpc>
                  <a:spcPct val="90000"/>
                </a:lnSpc>
                <a:spcAft>
                  <a:spcPts val="600"/>
                </a:spcAft>
              </a:pPr>
              <a:r>
                <a:rPr lang="en-US" sz="3200" dirty="0">
                  <a:gradFill>
                    <a:gsLst>
                      <a:gs pos="2917">
                        <a:schemeClr val="tx1"/>
                      </a:gs>
                      <a:gs pos="30000">
                        <a:schemeClr val="tx1"/>
                      </a:gs>
                    </a:gsLst>
                    <a:lin ang="5400000" scaled="0"/>
                  </a:gradFill>
                </a:rPr>
                <a:t>Secrets </a:t>
              </a:r>
              <a:r>
                <a:rPr lang="en-US" sz="2000" dirty="0">
                  <a:gradFill>
                    <a:gsLst>
                      <a:gs pos="2917">
                        <a:schemeClr val="tx1"/>
                      </a:gs>
                      <a:gs pos="30000">
                        <a:schemeClr val="tx1"/>
                      </a:gs>
                    </a:gsLst>
                    <a:lin ang="5400000" scaled="0"/>
                  </a:gradFill>
                </a:rPr>
                <a:t>(Preview)</a:t>
              </a:r>
              <a:endParaRPr lang="en-US" sz="32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29815880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3110E-4A73-4CCD-86ED-DB351987F501}"/>
              </a:ext>
            </a:extLst>
          </p:cNvPr>
          <p:cNvSpPr>
            <a:spLocks noGrp="1"/>
          </p:cNvSpPr>
          <p:nvPr>
            <p:ph type="title"/>
          </p:nvPr>
        </p:nvSpPr>
        <p:spPr/>
        <p:txBody>
          <a:bodyPr/>
          <a:lstStyle/>
          <a:p>
            <a:r>
              <a:rPr lang="en-US" dirty="0"/>
              <a:t>Databricks File System (DBFS)</a:t>
            </a:r>
          </a:p>
        </p:txBody>
      </p:sp>
      <p:sp>
        <p:nvSpPr>
          <p:cNvPr id="3" name="Text Placeholder 2">
            <a:extLst>
              <a:ext uri="{FF2B5EF4-FFF2-40B4-BE49-F238E27FC236}">
                <a16:creationId xmlns:a16="http://schemas.microsoft.com/office/drawing/2014/main" id="{BA888198-DAD5-45DB-8536-E351B8A3689D}"/>
              </a:ext>
            </a:extLst>
          </p:cNvPr>
          <p:cNvSpPr>
            <a:spLocks noGrp="1"/>
          </p:cNvSpPr>
          <p:nvPr>
            <p:ph type="body" sz="quarter" idx="10"/>
          </p:nvPr>
        </p:nvSpPr>
        <p:spPr>
          <a:xfrm>
            <a:off x="274702" y="1211287"/>
            <a:ext cx="6447591" cy="5724644"/>
          </a:xfrm>
        </p:spPr>
        <p:txBody>
          <a:bodyPr/>
          <a:lstStyle/>
          <a:p>
            <a:r>
              <a:rPr lang="en-US" dirty="0"/>
              <a:t>Distributed file system that is a layer over Azure Blob Storage</a:t>
            </a:r>
          </a:p>
          <a:p>
            <a:r>
              <a:rPr lang="en-US" dirty="0"/>
              <a:t>Data is persisted even after cluster termination</a:t>
            </a:r>
          </a:p>
          <a:p>
            <a:r>
              <a:rPr lang="en-US" dirty="0"/>
              <a:t>Data can be cached locally on the SSD of the worker nodes</a:t>
            </a:r>
          </a:p>
          <a:p>
            <a:r>
              <a:rPr lang="en-US" dirty="0"/>
              <a:t>Available in Python and Scala and accessible via DBFS CLI</a:t>
            </a:r>
          </a:p>
          <a:p>
            <a:endParaRPr lang="en-US" dirty="0"/>
          </a:p>
          <a:p>
            <a:endParaRPr lang="en-US" dirty="0"/>
          </a:p>
        </p:txBody>
      </p:sp>
      <p:sp>
        <p:nvSpPr>
          <p:cNvPr id="7" name="TextBox 6">
            <a:extLst>
              <a:ext uri="{FF2B5EF4-FFF2-40B4-BE49-F238E27FC236}">
                <a16:creationId xmlns:a16="http://schemas.microsoft.com/office/drawing/2014/main" id="{CC5A9510-B0F8-4236-BE88-D73621E923DA}"/>
              </a:ext>
            </a:extLst>
          </p:cNvPr>
          <p:cNvSpPr txBox="1"/>
          <p:nvPr/>
        </p:nvSpPr>
        <p:spPr>
          <a:xfrm>
            <a:off x="7442373" y="2869398"/>
            <a:ext cx="4320480" cy="627864"/>
          </a:xfrm>
          <a:prstGeom prst="rect">
            <a:avLst/>
          </a:prstGeom>
          <a:solidFill>
            <a:schemeClr val="accent1"/>
          </a:solidFill>
        </p:spPr>
        <p:style>
          <a:lnRef idx="2">
            <a:schemeClr val="accent2">
              <a:shade val="50000"/>
            </a:schemeClr>
          </a:lnRef>
          <a:fillRef idx="1">
            <a:schemeClr val="accent2"/>
          </a:fillRef>
          <a:effectRef idx="0">
            <a:schemeClr val="accent2"/>
          </a:effectRef>
          <a:fontRef idx="minor">
            <a:schemeClr val="lt1"/>
          </a:fontRef>
        </p:style>
        <p:txBody>
          <a:bodyPr wrap="square" lIns="182880" tIns="146304" rIns="182880" bIns="146304" rtlCol="0">
            <a:spAutoFit/>
          </a:bodyPr>
          <a:lstStyle/>
          <a:p>
            <a:pPr algn="ctr">
              <a:lnSpc>
                <a:spcPct val="90000"/>
              </a:lnSpc>
              <a:spcAft>
                <a:spcPts val="600"/>
              </a:spcAft>
            </a:pPr>
            <a:r>
              <a:rPr lang="en-US" sz="2400" b="1" dirty="0">
                <a:solidFill>
                  <a:schemeClr val="bg1"/>
                </a:solidFill>
              </a:rPr>
              <a:t>DBFS</a:t>
            </a:r>
          </a:p>
        </p:txBody>
      </p:sp>
      <p:pic>
        <p:nvPicPr>
          <p:cNvPr id="9" name="Picture 8">
            <a:extLst>
              <a:ext uri="{FF2B5EF4-FFF2-40B4-BE49-F238E27FC236}">
                <a16:creationId xmlns:a16="http://schemas.microsoft.com/office/drawing/2014/main" id="{CDA029A3-EF8F-4DBE-8DDB-466689A19230}"/>
              </a:ext>
            </a:extLst>
          </p:cNvPr>
          <p:cNvPicPr>
            <a:picLocks noChangeAspect="1"/>
          </p:cNvPicPr>
          <p:nvPr/>
        </p:nvPicPr>
        <p:blipFill>
          <a:blip r:embed="rId3"/>
          <a:stretch>
            <a:fillRect/>
          </a:stretch>
        </p:blipFill>
        <p:spPr>
          <a:xfrm>
            <a:off x="9061795" y="4581777"/>
            <a:ext cx="1099962" cy="787693"/>
          </a:xfrm>
          <a:prstGeom prst="rect">
            <a:avLst/>
          </a:prstGeom>
        </p:spPr>
      </p:pic>
      <p:sp>
        <p:nvSpPr>
          <p:cNvPr id="10" name="Rectangle 9">
            <a:extLst>
              <a:ext uri="{FF2B5EF4-FFF2-40B4-BE49-F238E27FC236}">
                <a16:creationId xmlns:a16="http://schemas.microsoft.com/office/drawing/2014/main" id="{37D2E301-25C8-47A3-9FB7-65B7ADAD2F22}"/>
              </a:ext>
            </a:extLst>
          </p:cNvPr>
          <p:cNvSpPr/>
          <p:nvPr/>
        </p:nvSpPr>
        <p:spPr bwMode="auto">
          <a:xfrm>
            <a:off x="7428977" y="4356953"/>
            <a:ext cx="4333875" cy="1081369"/>
          </a:xfrm>
          <a:prstGeom prst="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Up-Down 10">
            <a:extLst>
              <a:ext uri="{FF2B5EF4-FFF2-40B4-BE49-F238E27FC236}">
                <a16:creationId xmlns:a16="http://schemas.microsoft.com/office/drawing/2014/main" id="{8A179403-2F4F-412E-ADAB-1020428C489F}"/>
              </a:ext>
            </a:extLst>
          </p:cNvPr>
          <p:cNvSpPr/>
          <p:nvPr/>
        </p:nvSpPr>
        <p:spPr bwMode="auto">
          <a:xfrm>
            <a:off x="9415894" y="3625914"/>
            <a:ext cx="360040" cy="627864"/>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6" descr="Image result for scala logo">
            <a:extLst>
              <a:ext uri="{FF2B5EF4-FFF2-40B4-BE49-F238E27FC236}">
                <a16:creationId xmlns:a16="http://schemas.microsoft.com/office/drawing/2014/main" id="{F360AAF7-B454-49AD-90E4-953E9F4079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3765" y="1752402"/>
            <a:ext cx="917576" cy="91757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6058ACC-9B9F-4401-A727-93AB13512295}"/>
              </a:ext>
            </a:extLst>
          </p:cNvPr>
          <p:cNvSpPr txBox="1"/>
          <p:nvPr/>
        </p:nvSpPr>
        <p:spPr>
          <a:xfrm>
            <a:off x="10499199" y="2009707"/>
            <a:ext cx="1446550" cy="580159"/>
          </a:xfrm>
          <a:prstGeom prst="rect">
            <a:avLst/>
          </a:prstGeom>
          <a:noFill/>
        </p:spPr>
        <p:txBody>
          <a:bodyPr wrap="none" lIns="182880" tIns="146304" rIns="182880" bIns="146304" rtlCol="0">
            <a:spAutoFit/>
          </a:bodyPr>
          <a:lstStyle/>
          <a:p>
            <a:pPr>
              <a:lnSpc>
                <a:spcPct val="90000"/>
              </a:lnSpc>
              <a:spcAft>
                <a:spcPts val="600"/>
              </a:spcAft>
            </a:pPr>
            <a:r>
              <a:rPr lang="en-US" sz="2000" b="1" dirty="0" err="1">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rPr>
              <a:t>dbutils</a:t>
            </a:r>
            <a:endParaRPr lang="en-US" sz="2000" b="1" dirty="0">
              <a:gradFill>
                <a:gsLst>
                  <a:gs pos="2917">
                    <a:schemeClr val="tx1"/>
                  </a:gs>
                  <a:gs pos="30000">
                    <a:schemeClr val="tx1"/>
                  </a:gs>
                </a:gsLst>
                <a:lin ang="5400000" scaled="0"/>
              </a:gradFill>
              <a:latin typeface="Courier New" panose="02070309020205020404" pitchFamily="49" charset="0"/>
              <a:cs typeface="Courier New" panose="02070309020205020404" pitchFamily="49" charset="0"/>
            </a:endParaRPr>
          </a:p>
        </p:txBody>
      </p:sp>
      <p:pic>
        <p:nvPicPr>
          <p:cNvPr id="15" name="Picture 4" descr="Image result for python logo">
            <a:extLst>
              <a:ext uri="{FF2B5EF4-FFF2-40B4-BE49-F238E27FC236}">
                <a16:creationId xmlns:a16="http://schemas.microsoft.com/office/drawing/2014/main" id="{0994C3C2-F46B-4526-83F2-BC4E6BB38A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58696" y="1762047"/>
            <a:ext cx="947522" cy="947522"/>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92834123-D5F4-49B9-BE7F-465B5C463331}"/>
              </a:ext>
            </a:extLst>
          </p:cNvPr>
          <p:cNvGrpSpPr/>
          <p:nvPr/>
        </p:nvGrpSpPr>
        <p:grpSpPr>
          <a:xfrm>
            <a:off x="9602613" y="1948841"/>
            <a:ext cx="774605" cy="668865"/>
            <a:chOff x="10076502" y="1492380"/>
            <a:chExt cx="774605" cy="668865"/>
          </a:xfrm>
        </p:grpSpPr>
        <p:pic>
          <p:nvPicPr>
            <p:cNvPr id="18" name="Picture 17">
              <a:extLst>
                <a:ext uri="{FF2B5EF4-FFF2-40B4-BE49-F238E27FC236}">
                  <a16:creationId xmlns:a16="http://schemas.microsoft.com/office/drawing/2014/main" id="{B35D824E-D918-4BE0-9516-4E1BA57DB470}"/>
                </a:ext>
              </a:extLst>
            </p:cNvPr>
            <p:cNvPicPr>
              <a:picLocks noChangeAspect="1"/>
            </p:cNvPicPr>
            <p:nvPr/>
          </p:nvPicPr>
          <p:blipFill>
            <a:blip r:embed="rId6"/>
            <a:stretch>
              <a:fillRect/>
            </a:stretch>
          </p:blipFill>
          <p:spPr>
            <a:xfrm>
              <a:off x="10076502" y="1492380"/>
              <a:ext cx="774605" cy="668865"/>
            </a:xfrm>
            <a:prstGeom prst="rect">
              <a:avLst/>
            </a:prstGeom>
          </p:spPr>
        </p:pic>
        <p:sp>
          <p:nvSpPr>
            <p:cNvPr id="16" name="TextBox 15">
              <a:extLst>
                <a:ext uri="{FF2B5EF4-FFF2-40B4-BE49-F238E27FC236}">
                  <a16:creationId xmlns:a16="http://schemas.microsoft.com/office/drawing/2014/main" id="{242412EB-F079-4E3E-A1C6-930DFFC9C4BC}"/>
                </a:ext>
              </a:extLst>
            </p:cNvPr>
            <p:cNvSpPr txBox="1"/>
            <p:nvPr/>
          </p:nvSpPr>
          <p:spPr>
            <a:xfrm>
              <a:off x="10085665" y="1500076"/>
              <a:ext cx="704360" cy="572464"/>
            </a:xfrm>
            <a:prstGeom prst="rect">
              <a:avLst/>
            </a:prstGeom>
            <a:noFill/>
          </p:spPr>
          <p:txBody>
            <a:bodyPr wrap="none" lIns="182880" tIns="146304" rIns="182880" bIns="146304" rtlCol="0">
              <a:spAutoFit/>
            </a:bodyPr>
            <a:lstStyle/>
            <a:p>
              <a:pPr>
                <a:lnSpc>
                  <a:spcPct val="90000"/>
                </a:lnSpc>
                <a:spcAft>
                  <a:spcPts val="600"/>
                </a:spcAft>
              </a:pPr>
              <a:r>
                <a:rPr lang="en-US" sz="2000" b="1" dirty="0">
                  <a:solidFill>
                    <a:schemeClr val="bg1"/>
                  </a:solidFill>
                  <a:latin typeface="+mj-lt"/>
                  <a:cs typeface="Courier New" panose="02070309020205020404" pitchFamily="49" charset="0"/>
                </a:rPr>
                <a:t>CLI</a:t>
              </a:r>
            </a:p>
          </p:txBody>
        </p:sp>
      </p:grpSp>
      <p:sp>
        <p:nvSpPr>
          <p:cNvPr id="20" name="TextBox 19">
            <a:extLst>
              <a:ext uri="{FF2B5EF4-FFF2-40B4-BE49-F238E27FC236}">
                <a16:creationId xmlns:a16="http://schemas.microsoft.com/office/drawing/2014/main" id="{B2FA9EC8-0AF3-4D8A-9D7A-D538CDBA4202}"/>
              </a:ext>
            </a:extLst>
          </p:cNvPr>
          <p:cNvSpPr txBox="1"/>
          <p:nvPr/>
        </p:nvSpPr>
        <p:spPr>
          <a:xfrm>
            <a:off x="9775934" y="3609222"/>
            <a:ext cx="2126223"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a:gradFill>
                  <a:gsLst>
                    <a:gs pos="2917">
                      <a:schemeClr val="tx1"/>
                    </a:gs>
                    <a:gs pos="30000">
                      <a:schemeClr val="tx1"/>
                    </a:gs>
                  </a:gsLst>
                  <a:lin ang="5400000" scaled="0"/>
                </a:gradFill>
              </a:rPr>
              <a:t>db.fs.mount</a:t>
            </a:r>
            <a:r>
              <a:rPr lang="en-US" sz="2400" dirty="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174416885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738664"/>
          </a:xfrm>
        </p:spPr>
        <p:txBody>
          <a:bodyPr/>
          <a:lstStyle/>
          <a:p>
            <a:r>
              <a:rPr lang="en-US" dirty="0"/>
              <a:t>Mount Blob Storage in DBFS</a:t>
            </a:r>
          </a:p>
        </p:txBody>
      </p:sp>
    </p:spTree>
    <p:extLst>
      <p:ext uri="{BB962C8B-B14F-4D97-AF65-F5344CB8AC3E}">
        <p14:creationId xmlns:p14="http://schemas.microsoft.com/office/powerpoint/2010/main" val="4657625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279D8-E21E-4353-B9ED-A6D18B330F2E}"/>
              </a:ext>
            </a:extLst>
          </p:cNvPr>
          <p:cNvSpPr>
            <a:spLocks noGrp="1"/>
          </p:cNvSpPr>
          <p:nvPr>
            <p:ph type="title"/>
          </p:nvPr>
        </p:nvSpPr>
        <p:spPr/>
        <p:txBody>
          <a:bodyPr/>
          <a:lstStyle/>
          <a:p>
            <a:r>
              <a:rPr lang="en-US" dirty="0"/>
              <a:t>Movie Recommendation System</a:t>
            </a:r>
          </a:p>
        </p:txBody>
      </p:sp>
      <p:sp>
        <p:nvSpPr>
          <p:cNvPr id="3" name="Text Placeholder 2">
            <a:extLst>
              <a:ext uri="{FF2B5EF4-FFF2-40B4-BE49-F238E27FC236}">
                <a16:creationId xmlns:a16="http://schemas.microsoft.com/office/drawing/2014/main" id="{BBC62792-B162-4FC7-BC6A-C2E1CD3E9C3D}"/>
              </a:ext>
            </a:extLst>
          </p:cNvPr>
          <p:cNvSpPr>
            <a:spLocks noGrp="1"/>
          </p:cNvSpPr>
          <p:nvPr>
            <p:ph type="body" sz="quarter" idx="10"/>
          </p:nvPr>
        </p:nvSpPr>
        <p:spPr>
          <a:xfrm>
            <a:off x="274638" y="1212850"/>
            <a:ext cx="5799583" cy="3490186"/>
          </a:xfrm>
        </p:spPr>
        <p:txBody>
          <a:bodyPr/>
          <a:lstStyle/>
          <a:p>
            <a:r>
              <a:rPr lang="en-US" b="1" dirty="0" err="1"/>
              <a:t>MovieLens</a:t>
            </a:r>
            <a:r>
              <a:rPr lang="en-US" b="1" dirty="0"/>
              <a:t> Dataset</a:t>
            </a:r>
          </a:p>
          <a:p>
            <a:r>
              <a:rPr lang="en-US" sz="2800" dirty="0"/>
              <a:t>26M ratings and 750K tag applications applied to 45K movies by 270K users</a:t>
            </a:r>
          </a:p>
          <a:p>
            <a:r>
              <a:rPr lang="en-US" sz="2800" dirty="0">
                <a:hlinkClick r:id="rId3"/>
              </a:rPr>
              <a:t>https://movielens.org/</a:t>
            </a:r>
            <a:endParaRPr lang="en-US" sz="2800" dirty="0"/>
          </a:p>
          <a:p>
            <a:endParaRPr lang="en-US" sz="2800" dirty="0"/>
          </a:p>
          <a:p>
            <a:endParaRPr lang="en-US" dirty="0"/>
          </a:p>
        </p:txBody>
      </p:sp>
      <p:sp>
        <p:nvSpPr>
          <p:cNvPr id="4" name="TextBox 3">
            <a:extLst>
              <a:ext uri="{FF2B5EF4-FFF2-40B4-BE49-F238E27FC236}">
                <a16:creationId xmlns:a16="http://schemas.microsoft.com/office/drawing/2014/main" id="{F85DCE78-31FF-4533-86F8-53C701635B6A}"/>
              </a:ext>
            </a:extLst>
          </p:cNvPr>
          <p:cNvSpPr txBox="1"/>
          <p:nvPr/>
        </p:nvSpPr>
        <p:spPr>
          <a:xfrm>
            <a:off x="274638" y="4811897"/>
            <a:ext cx="5295527" cy="1868204"/>
          </a:xfrm>
          <a:prstGeom prst="rect">
            <a:avLst/>
          </a:prstGeom>
          <a:noFill/>
        </p:spPr>
        <p:txBody>
          <a:bodyPr wrap="square" lIns="182880" tIns="146304" rIns="182880" bIns="146304" rtlCol="0">
            <a:spAutoFit/>
          </a:bodyPr>
          <a:lstStyle/>
          <a:p>
            <a:pPr>
              <a:lnSpc>
                <a:spcPct val="90000"/>
              </a:lnSpc>
              <a:spcAft>
                <a:spcPts val="600"/>
              </a:spcAft>
            </a:pPr>
            <a:r>
              <a:rPr lang="en-US" dirty="0"/>
              <a:t>F. Maxwell Harper and Joseph A. </a:t>
            </a:r>
            <a:r>
              <a:rPr lang="en-US" dirty="0" err="1"/>
              <a:t>Konstan</a:t>
            </a:r>
            <a:r>
              <a:rPr lang="en-US" dirty="0"/>
              <a:t>. 2015. The </a:t>
            </a:r>
            <a:r>
              <a:rPr lang="en-US" dirty="0" err="1"/>
              <a:t>MovieLens</a:t>
            </a:r>
            <a:r>
              <a:rPr lang="en-US" dirty="0"/>
              <a:t> Datasets: History and Context. ACM Transactions on Interactive Intelligent Systems (</a:t>
            </a:r>
            <a:r>
              <a:rPr lang="en-US" dirty="0" err="1"/>
              <a:t>TiiS</a:t>
            </a:r>
            <a:r>
              <a:rPr lang="en-US" dirty="0"/>
              <a:t>) 5, 4, Article 19 (December 2015), 19 pages. DOI=</a:t>
            </a:r>
            <a:r>
              <a:rPr lang="en-US" dirty="0">
                <a:hlinkClick r:id="rId4"/>
              </a:rPr>
              <a:t>http://dx.doi.org/10.1145/2827872</a:t>
            </a:r>
            <a:endParaRPr lang="en-US" dirty="0"/>
          </a:p>
          <a:p>
            <a:pPr>
              <a:lnSpc>
                <a:spcPct val="90000"/>
              </a:lnSpc>
              <a:spcAft>
                <a:spcPts val="600"/>
              </a:spcAft>
            </a:pPr>
            <a:endParaRPr lang="en-US" dirty="0" err="1">
              <a:gradFill>
                <a:gsLst>
                  <a:gs pos="2917">
                    <a:schemeClr val="tx1"/>
                  </a:gs>
                  <a:gs pos="30000">
                    <a:schemeClr val="tx1"/>
                  </a:gs>
                </a:gsLst>
                <a:lin ang="5400000" scaled="0"/>
              </a:gradFill>
            </a:endParaRPr>
          </a:p>
        </p:txBody>
      </p:sp>
      <p:pic>
        <p:nvPicPr>
          <p:cNvPr id="5" name="Picture 4">
            <a:extLst>
              <a:ext uri="{FF2B5EF4-FFF2-40B4-BE49-F238E27FC236}">
                <a16:creationId xmlns:a16="http://schemas.microsoft.com/office/drawing/2014/main" id="{D6D6BF96-DA16-4B62-B03C-CEE75D884BA4}"/>
              </a:ext>
            </a:extLst>
          </p:cNvPr>
          <p:cNvPicPr>
            <a:picLocks noChangeAspect="1"/>
          </p:cNvPicPr>
          <p:nvPr/>
        </p:nvPicPr>
        <p:blipFill>
          <a:blip r:embed="rId5"/>
          <a:stretch>
            <a:fillRect/>
          </a:stretch>
        </p:blipFill>
        <p:spPr>
          <a:xfrm>
            <a:off x="6339691" y="1697062"/>
            <a:ext cx="5527092" cy="3870573"/>
          </a:xfrm>
          <a:prstGeom prst="rect">
            <a:avLst/>
          </a:prstGeom>
        </p:spPr>
      </p:pic>
    </p:spTree>
    <p:extLst>
      <p:ext uri="{BB962C8B-B14F-4D97-AF65-F5344CB8AC3E}">
        <p14:creationId xmlns:p14="http://schemas.microsoft.com/office/powerpoint/2010/main" val="2816060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8B958-FB9B-46F0-A681-32731DE8697B}"/>
              </a:ext>
            </a:extLst>
          </p:cNvPr>
          <p:cNvSpPr>
            <a:spLocks noGrp="1"/>
          </p:cNvSpPr>
          <p:nvPr>
            <p:ph type="title"/>
          </p:nvPr>
        </p:nvSpPr>
        <p:spPr/>
        <p:txBody>
          <a:bodyPr/>
          <a:lstStyle/>
          <a:p>
            <a:r>
              <a:rPr lang="en-US" dirty="0"/>
              <a:t>Demo Architecture</a:t>
            </a:r>
          </a:p>
        </p:txBody>
      </p:sp>
      <p:pic>
        <p:nvPicPr>
          <p:cNvPr id="4" name="Picture 3">
            <a:extLst>
              <a:ext uri="{FF2B5EF4-FFF2-40B4-BE49-F238E27FC236}">
                <a16:creationId xmlns:a16="http://schemas.microsoft.com/office/drawing/2014/main" id="{A90030C5-D9D0-4D87-832C-9A753DB47E48}"/>
              </a:ext>
            </a:extLst>
          </p:cNvPr>
          <p:cNvPicPr>
            <a:picLocks noChangeAspect="1"/>
          </p:cNvPicPr>
          <p:nvPr/>
        </p:nvPicPr>
        <p:blipFill>
          <a:blip r:embed="rId3"/>
          <a:stretch>
            <a:fillRect/>
          </a:stretch>
        </p:blipFill>
        <p:spPr>
          <a:xfrm>
            <a:off x="888439" y="1481038"/>
            <a:ext cx="11258797" cy="4639344"/>
          </a:xfrm>
          <a:prstGeom prst="rect">
            <a:avLst/>
          </a:prstGeom>
        </p:spPr>
      </p:pic>
    </p:spTree>
    <p:extLst>
      <p:ext uri="{BB962C8B-B14F-4D97-AF65-F5344CB8AC3E}">
        <p14:creationId xmlns:p14="http://schemas.microsoft.com/office/powerpoint/2010/main" val="15864740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4D9F1-E882-4052-9179-80B9DED8BB2D}"/>
              </a:ext>
            </a:extLst>
          </p:cNvPr>
          <p:cNvSpPr>
            <a:spLocks noGrp="1"/>
          </p:cNvSpPr>
          <p:nvPr>
            <p:ph type="title"/>
          </p:nvPr>
        </p:nvSpPr>
        <p:spPr/>
        <p:txBody>
          <a:bodyPr/>
          <a:lstStyle/>
          <a:p>
            <a:r>
              <a:rPr lang="en-US" dirty="0"/>
              <a:t>Spark SQL</a:t>
            </a:r>
          </a:p>
        </p:txBody>
      </p:sp>
      <p:sp>
        <p:nvSpPr>
          <p:cNvPr id="3" name="Text Placeholder 2">
            <a:extLst>
              <a:ext uri="{FF2B5EF4-FFF2-40B4-BE49-F238E27FC236}">
                <a16:creationId xmlns:a16="http://schemas.microsoft.com/office/drawing/2014/main" id="{BE392698-00FB-4417-9BF4-A50565FABE2C}"/>
              </a:ext>
            </a:extLst>
          </p:cNvPr>
          <p:cNvSpPr>
            <a:spLocks noGrp="1"/>
          </p:cNvSpPr>
          <p:nvPr>
            <p:ph type="body" sz="quarter" idx="10"/>
          </p:nvPr>
        </p:nvSpPr>
        <p:spPr>
          <a:xfrm>
            <a:off x="274639" y="1211287"/>
            <a:ext cx="5486399" cy="3554819"/>
          </a:xfrm>
        </p:spPr>
        <p:txBody>
          <a:bodyPr/>
          <a:lstStyle/>
          <a:p>
            <a:pPr marL="0" indent="0">
              <a:buNone/>
            </a:pPr>
            <a:r>
              <a:rPr lang="en-US" b="1" dirty="0"/>
              <a:t>Spark's interface for working with structured and semi-structured data</a:t>
            </a:r>
          </a:p>
          <a:p>
            <a:pPr marL="0" indent="0">
              <a:buNone/>
            </a:pPr>
            <a:r>
              <a:rPr lang="en-US" dirty="0"/>
              <a:t>Built on the </a:t>
            </a:r>
            <a:r>
              <a:rPr lang="en-US" dirty="0" err="1"/>
              <a:t>DataFrame</a:t>
            </a:r>
            <a:r>
              <a:rPr lang="en-US" dirty="0"/>
              <a:t> &amp; Datasets API</a:t>
            </a:r>
          </a:p>
          <a:p>
            <a:pPr marL="0" indent="0">
              <a:buNone/>
            </a:pPr>
            <a:r>
              <a:rPr lang="en-US" dirty="0"/>
              <a:t>Hive Integration</a:t>
            </a:r>
          </a:p>
          <a:p>
            <a:pPr marL="0" indent="0">
              <a:buNone/>
            </a:pPr>
            <a:r>
              <a:rPr lang="en-US" dirty="0"/>
              <a:t>Provides JDBC/ODBC access</a:t>
            </a:r>
          </a:p>
        </p:txBody>
      </p:sp>
      <p:sp>
        <p:nvSpPr>
          <p:cNvPr id="15" name="Rectangle 14">
            <a:extLst>
              <a:ext uri="{FF2B5EF4-FFF2-40B4-BE49-F238E27FC236}">
                <a16:creationId xmlns:a16="http://schemas.microsoft.com/office/drawing/2014/main" id="{348566B3-C82F-4259-9C9A-C74225BF8FAC}"/>
              </a:ext>
            </a:extLst>
          </p:cNvPr>
          <p:cNvSpPr/>
          <p:nvPr/>
        </p:nvSpPr>
        <p:spPr>
          <a:xfrm>
            <a:off x="5798265" y="4016615"/>
            <a:ext cx="6318409" cy="945591"/>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AU" sz="2400" b="1" dirty="0"/>
              <a:t>Apache Spark Core APIs</a:t>
            </a:r>
          </a:p>
          <a:p>
            <a:pPr algn="ctr"/>
            <a:r>
              <a:rPr lang="en-AU" sz="1200" dirty="0"/>
              <a:t>RDDs, DataFrame, Datasets</a:t>
            </a:r>
            <a:endParaRPr lang="en-AU" sz="2800" dirty="0"/>
          </a:p>
        </p:txBody>
      </p:sp>
      <p:sp>
        <p:nvSpPr>
          <p:cNvPr id="16" name="Rectangle 15">
            <a:extLst>
              <a:ext uri="{FF2B5EF4-FFF2-40B4-BE49-F238E27FC236}">
                <a16:creationId xmlns:a16="http://schemas.microsoft.com/office/drawing/2014/main" id="{B9176874-4649-4D17-AA9C-2E79A3010F88}"/>
              </a:ext>
            </a:extLst>
          </p:cNvPr>
          <p:cNvSpPr/>
          <p:nvPr/>
        </p:nvSpPr>
        <p:spPr>
          <a:xfrm>
            <a:off x="5798266" y="2379487"/>
            <a:ext cx="1501213"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Spark SQL</a:t>
            </a:r>
          </a:p>
        </p:txBody>
      </p:sp>
      <p:sp>
        <p:nvSpPr>
          <p:cNvPr id="17" name="Rectangle 16">
            <a:extLst>
              <a:ext uri="{FF2B5EF4-FFF2-40B4-BE49-F238E27FC236}">
                <a16:creationId xmlns:a16="http://schemas.microsoft.com/office/drawing/2014/main" id="{A9E0954F-3160-4C25-A234-AA234EDA9A93}"/>
              </a:ext>
            </a:extLst>
          </p:cNvPr>
          <p:cNvSpPr/>
          <p:nvPr/>
        </p:nvSpPr>
        <p:spPr>
          <a:xfrm>
            <a:off x="10624000" y="2379488"/>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GraphX</a:t>
            </a:r>
            <a:endParaRPr lang="en-AU" dirty="0"/>
          </a:p>
          <a:p>
            <a:pPr algn="ctr"/>
            <a:r>
              <a:rPr lang="en-AU" dirty="0"/>
              <a:t>(graph)</a:t>
            </a:r>
          </a:p>
        </p:txBody>
      </p:sp>
      <p:sp>
        <p:nvSpPr>
          <p:cNvPr id="18" name="Rectangle 17">
            <a:extLst>
              <a:ext uri="{FF2B5EF4-FFF2-40B4-BE49-F238E27FC236}">
                <a16:creationId xmlns:a16="http://schemas.microsoft.com/office/drawing/2014/main" id="{1780B6E7-83E4-415B-A381-C5EBFA088B3E}"/>
              </a:ext>
            </a:extLst>
          </p:cNvPr>
          <p:cNvSpPr/>
          <p:nvPr/>
        </p:nvSpPr>
        <p:spPr>
          <a:xfrm>
            <a:off x="7412536" y="2379488"/>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tructured Streaming</a:t>
            </a:r>
          </a:p>
        </p:txBody>
      </p:sp>
      <p:sp>
        <p:nvSpPr>
          <p:cNvPr id="19" name="Rectangle 18">
            <a:extLst>
              <a:ext uri="{FF2B5EF4-FFF2-40B4-BE49-F238E27FC236}">
                <a16:creationId xmlns:a16="http://schemas.microsoft.com/office/drawing/2014/main" id="{F620C675-5038-42DB-A7AC-DB5FBCC8FA1F}"/>
              </a:ext>
            </a:extLst>
          </p:cNvPr>
          <p:cNvSpPr/>
          <p:nvPr/>
        </p:nvSpPr>
        <p:spPr>
          <a:xfrm>
            <a:off x="9018268" y="2387669"/>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Mllib</a:t>
            </a:r>
            <a:endParaRPr lang="en-AU" dirty="0"/>
          </a:p>
          <a:p>
            <a:pPr algn="ctr"/>
            <a:r>
              <a:rPr lang="en-AU" dirty="0"/>
              <a:t>(machine learning)</a:t>
            </a:r>
          </a:p>
        </p:txBody>
      </p:sp>
    </p:spTree>
    <p:extLst>
      <p:ext uri="{BB962C8B-B14F-4D97-AF65-F5344CB8AC3E}">
        <p14:creationId xmlns:p14="http://schemas.microsoft.com/office/powerpoint/2010/main" val="33995439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738664"/>
          </a:xfrm>
        </p:spPr>
        <p:txBody>
          <a:bodyPr/>
          <a:lstStyle/>
          <a:p>
            <a:r>
              <a:rPr lang="en-US" dirty="0"/>
              <a:t>Create and query Tables with Spark SQL</a:t>
            </a:r>
          </a:p>
        </p:txBody>
      </p:sp>
    </p:spTree>
    <p:extLst>
      <p:ext uri="{BB962C8B-B14F-4D97-AF65-F5344CB8AC3E}">
        <p14:creationId xmlns:p14="http://schemas.microsoft.com/office/powerpoint/2010/main" val="421203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C8B79-11C9-4068-BF9E-3C4D006846D6}"/>
              </a:ext>
            </a:extLst>
          </p:cNvPr>
          <p:cNvSpPr>
            <a:spLocks noGrp="1"/>
          </p:cNvSpPr>
          <p:nvPr>
            <p:ph type="title"/>
          </p:nvPr>
        </p:nvSpPr>
        <p:spPr/>
        <p:txBody>
          <a:bodyPr/>
          <a:lstStyle/>
          <a:p>
            <a:r>
              <a:rPr lang="en-US" dirty="0"/>
              <a:t>Spark Structured Streaming</a:t>
            </a:r>
          </a:p>
        </p:txBody>
      </p:sp>
      <p:sp>
        <p:nvSpPr>
          <p:cNvPr id="3" name="Text Placeholder 2">
            <a:extLst>
              <a:ext uri="{FF2B5EF4-FFF2-40B4-BE49-F238E27FC236}">
                <a16:creationId xmlns:a16="http://schemas.microsoft.com/office/drawing/2014/main" id="{492B86C6-8150-4A73-B4A2-8567F7810330}"/>
              </a:ext>
            </a:extLst>
          </p:cNvPr>
          <p:cNvSpPr>
            <a:spLocks noGrp="1"/>
          </p:cNvSpPr>
          <p:nvPr>
            <p:ph type="body" sz="quarter" idx="10"/>
          </p:nvPr>
        </p:nvSpPr>
        <p:spPr>
          <a:xfrm>
            <a:off x="274639" y="1211287"/>
            <a:ext cx="5486399" cy="2985433"/>
          </a:xfrm>
        </p:spPr>
        <p:txBody>
          <a:bodyPr/>
          <a:lstStyle/>
          <a:p>
            <a:pPr marL="0" indent="0">
              <a:buNone/>
            </a:pPr>
            <a:r>
              <a:rPr lang="en-US" b="1" dirty="0"/>
              <a:t>Scalable and fault-tolerant stream processing engine</a:t>
            </a:r>
          </a:p>
          <a:p>
            <a:pPr marL="0" indent="0">
              <a:buNone/>
            </a:pPr>
            <a:r>
              <a:rPr lang="en-US" dirty="0"/>
              <a:t>Successor of Spark Streaming (</a:t>
            </a:r>
            <a:r>
              <a:rPr lang="en-US" dirty="0" err="1"/>
              <a:t>DStreams</a:t>
            </a:r>
            <a:r>
              <a:rPr lang="en-US" dirty="0"/>
              <a:t> API)</a:t>
            </a:r>
          </a:p>
          <a:p>
            <a:pPr marL="0" indent="0">
              <a:buNone/>
            </a:pPr>
            <a:r>
              <a:rPr lang="en-US" dirty="0"/>
              <a:t>Same code for Batch and Streaming</a:t>
            </a:r>
          </a:p>
        </p:txBody>
      </p:sp>
      <p:sp>
        <p:nvSpPr>
          <p:cNvPr id="5" name="Rectangle 4">
            <a:extLst>
              <a:ext uri="{FF2B5EF4-FFF2-40B4-BE49-F238E27FC236}">
                <a16:creationId xmlns:a16="http://schemas.microsoft.com/office/drawing/2014/main" id="{9F894FD1-4FC6-48BA-B116-BCB66AB11B04}"/>
              </a:ext>
            </a:extLst>
          </p:cNvPr>
          <p:cNvSpPr/>
          <p:nvPr/>
        </p:nvSpPr>
        <p:spPr>
          <a:xfrm>
            <a:off x="5798265" y="4016615"/>
            <a:ext cx="6318409" cy="945591"/>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AU" sz="2400" b="1" dirty="0"/>
              <a:t>Apache Spark Core APIs</a:t>
            </a:r>
          </a:p>
          <a:p>
            <a:pPr algn="ctr"/>
            <a:r>
              <a:rPr lang="en-AU" sz="1200" dirty="0"/>
              <a:t>RDDs, DataFrame, Datasets</a:t>
            </a:r>
            <a:endParaRPr lang="en-AU" sz="2800" dirty="0"/>
          </a:p>
        </p:txBody>
      </p:sp>
      <p:sp>
        <p:nvSpPr>
          <p:cNvPr id="6" name="Rectangle 5">
            <a:extLst>
              <a:ext uri="{FF2B5EF4-FFF2-40B4-BE49-F238E27FC236}">
                <a16:creationId xmlns:a16="http://schemas.microsoft.com/office/drawing/2014/main" id="{3CE73E11-EBFE-456E-97D9-7E06A3D0E82A}"/>
              </a:ext>
            </a:extLst>
          </p:cNvPr>
          <p:cNvSpPr/>
          <p:nvPr/>
        </p:nvSpPr>
        <p:spPr>
          <a:xfrm>
            <a:off x="5798266" y="2379487"/>
            <a:ext cx="1501213"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park SQL</a:t>
            </a:r>
            <a:endParaRPr lang="en-AU" dirty="0"/>
          </a:p>
        </p:txBody>
      </p:sp>
      <p:sp>
        <p:nvSpPr>
          <p:cNvPr id="7" name="Rectangle 6">
            <a:extLst>
              <a:ext uri="{FF2B5EF4-FFF2-40B4-BE49-F238E27FC236}">
                <a16:creationId xmlns:a16="http://schemas.microsoft.com/office/drawing/2014/main" id="{9EFA12B0-D0C4-44B4-8C0B-AF3E3C3453DD}"/>
              </a:ext>
            </a:extLst>
          </p:cNvPr>
          <p:cNvSpPr/>
          <p:nvPr/>
        </p:nvSpPr>
        <p:spPr>
          <a:xfrm>
            <a:off x="10624000" y="2379488"/>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GraphX</a:t>
            </a:r>
            <a:endParaRPr lang="en-AU" dirty="0"/>
          </a:p>
          <a:p>
            <a:pPr algn="ctr"/>
            <a:r>
              <a:rPr lang="en-AU" dirty="0"/>
              <a:t>(graph)</a:t>
            </a:r>
          </a:p>
        </p:txBody>
      </p:sp>
      <p:sp>
        <p:nvSpPr>
          <p:cNvPr id="8" name="Rectangle 7">
            <a:extLst>
              <a:ext uri="{FF2B5EF4-FFF2-40B4-BE49-F238E27FC236}">
                <a16:creationId xmlns:a16="http://schemas.microsoft.com/office/drawing/2014/main" id="{0FB94E73-5010-45A4-9881-EEB6C72752DD}"/>
              </a:ext>
            </a:extLst>
          </p:cNvPr>
          <p:cNvSpPr/>
          <p:nvPr/>
        </p:nvSpPr>
        <p:spPr>
          <a:xfrm>
            <a:off x="7412536" y="2379488"/>
            <a:ext cx="1492675"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Structured Streaming</a:t>
            </a:r>
          </a:p>
        </p:txBody>
      </p:sp>
      <p:sp>
        <p:nvSpPr>
          <p:cNvPr id="9" name="Rectangle 8">
            <a:extLst>
              <a:ext uri="{FF2B5EF4-FFF2-40B4-BE49-F238E27FC236}">
                <a16:creationId xmlns:a16="http://schemas.microsoft.com/office/drawing/2014/main" id="{02046F2B-8D1B-496D-84E8-5936206DB852}"/>
              </a:ext>
            </a:extLst>
          </p:cNvPr>
          <p:cNvSpPr/>
          <p:nvPr/>
        </p:nvSpPr>
        <p:spPr>
          <a:xfrm>
            <a:off x="9018268" y="2387669"/>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Mllib</a:t>
            </a:r>
            <a:endParaRPr lang="en-AU" dirty="0"/>
          </a:p>
          <a:p>
            <a:pPr algn="ctr"/>
            <a:r>
              <a:rPr lang="en-AU" dirty="0"/>
              <a:t>(machine learning)</a:t>
            </a:r>
          </a:p>
        </p:txBody>
      </p:sp>
    </p:spTree>
    <p:extLst>
      <p:ext uri="{BB962C8B-B14F-4D97-AF65-F5344CB8AC3E}">
        <p14:creationId xmlns:p14="http://schemas.microsoft.com/office/powerpoint/2010/main" val="183695703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C9CFF-DA07-426F-B50B-F00E238E23C7}"/>
              </a:ext>
            </a:extLst>
          </p:cNvPr>
          <p:cNvSpPr>
            <a:spLocks noGrp="1"/>
          </p:cNvSpPr>
          <p:nvPr>
            <p:ph type="title"/>
          </p:nvPr>
        </p:nvSpPr>
        <p:spPr/>
        <p:txBody>
          <a:bodyPr/>
          <a:lstStyle/>
          <a:p>
            <a:r>
              <a:rPr lang="en-US" dirty="0"/>
              <a:t>Hello, I’m Lace</a:t>
            </a:r>
          </a:p>
        </p:txBody>
      </p:sp>
      <p:sp>
        <p:nvSpPr>
          <p:cNvPr id="3" name="Text Placeholder 2">
            <a:extLst>
              <a:ext uri="{FF2B5EF4-FFF2-40B4-BE49-F238E27FC236}">
                <a16:creationId xmlns:a16="http://schemas.microsoft.com/office/drawing/2014/main" id="{ED2FAF96-BB4F-462F-BD1A-ED6C3E566F43}"/>
              </a:ext>
            </a:extLst>
          </p:cNvPr>
          <p:cNvSpPr>
            <a:spLocks noGrp="1"/>
          </p:cNvSpPr>
          <p:nvPr>
            <p:ph type="body" sz="quarter" idx="10"/>
          </p:nvPr>
        </p:nvSpPr>
        <p:spPr>
          <a:xfrm>
            <a:off x="274639" y="1211287"/>
            <a:ext cx="7167734" cy="3400931"/>
          </a:xfrm>
        </p:spPr>
        <p:txBody>
          <a:bodyPr/>
          <a:lstStyle/>
          <a:p>
            <a:pPr marL="457200" indent="-457200">
              <a:buFont typeface="Arial" panose="020B0604020202020204" pitchFamily="34" charset="0"/>
              <a:buChar char="•"/>
            </a:pPr>
            <a:r>
              <a:rPr lang="en-US" b="1" dirty="0"/>
              <a:t>Senior Software Development Engineer </a:t>
            </a:r>
            <a:r>
              <a:rPr lang="en-US" dirty="0"/>
              <a:t>in the </a:t>
            </a:r>
            <a:r>
              <a:rPr lang="en-US" b="1" dirty="0"/>
              <a:t>Commercial Software Engineering </a:t>
            </a:r>
            <a:r>
              <a:rPr lang="en-US" dirty="0"/>
              <a:t>Team in </a:t>
            </a:r>
            <a:r>
              <a:rPr lang="en-US" b="1" dirty="0"/>
              <a:t>Microsoft</a:t>
            </a:r>
          </a:p>
          <a:p>
            <a:pPr marL="457200" indent="-457200">
              <a:buFont typeface="Arial" panose="020B0604020202020204" pitchFamily="34" charset="0"/>
              <a:buChar char="•"/>
            </a:pPr>
            <a:r>
              <a:rPr lang="en-US" dirty="0"/>
              <a:t>Focus on Big Data analytics, data engineering, and machine learning</a:t>
            </a:r>
          </a:p>
          <a:p>
            <a:pPr marL="457200" indent="-457200">
              <a:buFont typeface="Arial" panose="020B0604020202020204" pitchFamily="34" charset="0"/>
              <a:buChar char="•"/>
            </a:pPr>
            <a:r>
              <a:rPr lang="en-US" dirty="0"/>
              <a:t>Organizer of Melbourne Azure Nights Meetup</a:t>
            </a:r>
          </a:p>
        </p:txBody>
      </p:sp>
      <p:pic>
        <p:nvPicPr>
          <p:cNvPr id="6" name="Picture 5">
            <a:extLst>
              <a:ext uri="{FF2B5EF4-FFF2-40B4-BE49-F238E27FC236}">
                <a16:creationId xmlns:a16="http://schemas.microsoft.com/office/drawing/2014/main" id="{8446C7A9-363B-4975-93D4-3F02D8039A27}"/>
              </a:ext>
            </a:extLst>
          </p:cNvPr>
          <p:cNvPicPr>
            <a:picLocks noChangeAspect="1"/>
          </p:cNvPicPr>
          <p:nvPr/>
        </p:nvPicPr>
        <p:blipFill>
          <a:blip r:embed="rId2"/>
          <a:stretch>
            <a:fillRect/>
          </a:stretch>
        </p:blipFill>
        <p:spPr>
          <a:xfrm>
            <a:off x="8071945" y="976593"/>
            <a:ext cx="3456384" cy="3456384"/>
          </a:xfrm>
          <a:prstGeom prst="rect">
            <a:avLst/>
          </a:prstGeom>
        </p:spPr>
      </p:pic>
      <p:pic>
        <p:nvPicPr>
          <p:cNvPr id="3076" name="Picture 4" descr="Image result for microsoft logo">
            <a:extLst>
              <a:ext uri="{FF2B5EF4-FFF2-40B4-BE49-F238E27FC236}">
                <a16:creationId xmlns:a16="http://schemas.microsoft.com/office/drawing/2014/main" id="{03DC985D-CF23-4433-9A5A-97CBA2363B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639" y="5638459"/>
            <a:ext cx="1839142" cy="122609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8C5386B-9F79-4B3F-AF49-969A0C1DDEBC}"/>
              </a:ext>
            </a:extLst>
          </p:cNvPr>
          <p:cNvPicPr>
            <a:picLocks noChangeAspect="1"/>
          </p:cNvPicPr>
          <p:nvPr/>
        </p:nvPicPr>
        <p:blipFill>
          <a:blip r:embed="rId4"/>
          <a:stretch>
            <a:fillRect/>
          </a:stretch>
        </p:blipFill>
        <p:spPr>
          <a:xfrm>
            <a:off x="2545829" y="5783238"/>
            <a:ext cx="1775176" cy="832967"/>
          </a:xfrm>
          <a:prstGeom prst="rect">
            <a:avLst/>
          </a:prstGeom>
        </p:spPr>
      </p:pic>
    </p:spTree>
    <p:extLst>
      <p:ext uri="{BB962C8B-B14F-4D97-AF65-F5344CB8AC3E}">
        <p14:creationId xmlns:p14="http://schemas.microsoft.com/office/powerpoint/2010/main" val="136568848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B6748AF-42EB-437E-B84B-D56EB7716BA3}"/>
              </a:ext>
            </a:extLst>
          </p:cNvPr>
          <p:cNvPicPr>
            <a:picLocks noChangeAspect="1"/>
          </p:cNvPicPr>
          <p:nvPr/>
        </p:nvPicPr>
        <p:blipFill>
          <a:blip r:embed="rId3"/>
          <a:stretch>
            <a:fillRect/>
          </a:stretch>
        </p:blipFill>
        <p:spPr>
          <a:xfrm>
            <a:off x="888439" y="1481038"/>
            <a:ext cx="11258797" cy="4639344"/>
          </a:xfrm>
          <a:prstGeom prst="rect">
            <a:avLst/>
          </a:prstGeom>
        </p:spPr>
      </p:pic>
      <p:sp>
        <p:nvSpPr>
          <p:cNvPr id="2" name="Title 1">
            <a:extLst>
              <a:ext uri="{FF2B5EF4-FFF2-40B4-BE49-F238E27FC236}">
                <a16:creationId xmlns:a16="http://schemas.microsoft.com/office/drawing/2014/main" id="{F188B958-FB9B-46F0-A681-32731DE8697B}"/>
              </a:ext>
            </a:extLst>
          </p:cNvPr>
          <p:cNvSpPr>
            <a:spLocks noGrp="1"/>
          </p:cNvSpPr>
          <p:nvPr>
            <p:ph type="title"/>
          </p:nvPr>
        </p:nvSpPr>
        <p:spPr/>
        <p:txBody>
          <a:bodyPr/>
          <a:lstStyle/>
          <a:p>
            <a:r>
              <a:rPr lang="en-US" dirty="0"/>
              <a:t>Demo Architecture</a:t>
            </a:r>
          </a:p>
        </p:txBody>
      </p:sp>
      <p:sp>
        <p:nvSpPr>
          <p:cNvPr id="5" name="Freeform: Shape 4">
            <a:extLst>
              <a:ext uri="{FF2B5EF4-FFF2-40B4-BE49-F238E27FC236}">
                <a16:creationId xmlns:a16="http://schemas.microsoft.com/office/drawing/2014/main" id="{483D8305-B1A4-444E-8362-5DCB4AA143A6}"/>
              </a:ext>
            </a:extLst>
          </p:cNvPr>
          <p:cNvSpPr/>
          <p:nvPr/>
        </p:nvSpPr>
        <p:spPr bwMode="auto">
          <a:xfrm>
            <a:off x="1181100" y="3780278"/>
            <a:ext cx="4572000" cy="1642622"/>
          </a:xfrm>
          <a:custGeom>
            <a:avLst/>
            <a:gdLst>
              <a:gd name="connsiteX0" fmla="*/ 12700 w 4572000"/>
              <a:gd name="connsiteY0" fmla="*/ 131322 h 1642622"/>
              <a:gd name="connsiteX1" fmla="*/ 165100 w 4572000"/>
              <a:gd name="connsiteY1" fmla="*/ 93222 h 1642622"/>
              <a:gd name="connsiteX2" fmla="*/ 203200 w 4572000"/>
              <a:gd name="connsiteY2" fmla="*/ 80522 h 1642622"/>
              <a:gd name="connsiteX3" fmla="*/ 444500 w 4572000"/>
              <a:gd name="connsiteY3" fmla="*/ 55122 h 1642622"/>
              <a:gd name="connsiteX4" fmla="*/ 1485900 w 4572000"/>
              <a:gd name="connsiteY4" fmla="*/ 29722 h 1642622"/>
              <a:gd name="connsiteX5" fmla="*/ 1816100 w 4572000"/>
              <a:gd name="connsiteY5" fmla="*/ 17022 h 1642622"/>
              <a:gd name="connsiteX6" fmla="*/ 3670300 w 4572000"/>
              <a:gd name="connsiteY6" fmla="*/ 29722 h 1642622"/>
              <a:gd name="connsiteX7" fmla="*/ 3822700 w 4572000"/>
              <a:gd name="connsiteY7" fmla="*/ 55122 h 1642622"/>
              <a:gd name="connsiteX8" fmla="*/ 3911600 w 4572000"/>
              <a:gd name="connsiteY8" fmla="*/ 67822 h 1642622"/>
              <a:gd name="connsiteX9" fmla="*/ 3949700 w 4572000"/>
              <a:gd name="connsiteY9" fmla="*/ 80522 h 1642622"/>
              <a:gd name="connsiteX10" fmla="*/ 4114800 w 4572000"/>
              <a:gd name="connsiteY10" fmla="*/ 105922 h 1642622"/>
              <a:gd name="connsiteX11" fmla="*/ 4165600 w 4572000"/>
              <a:gd name="connsiteY11" fmla="*/ 131322 h 1642622"/>
              <a:gd name="connsiteX12" fmla="*/ 4241800 w 4572000"/>
              <a:gd name="connsiteY12" fmla="*/ 182122 h 1642622"/>
              <a:gd name="connsiteX13" fmla="*/ 4343400 w 4572000"/>
              <a:gd name="connsiteY13" fmla="*/ 245622 h 1642622"/>
              <a:gd name="connsiteX14" fmla="*/ 4406900 w 4572000"/>
              <a:gd name="connsiteY14" fmla="*/ 321822 h 1642622"/>
              <a:gd name="connsiteX15" fmla="*/ 4419600 w 4572000"/>
              <a:gd name="connsiteY15" fmla="*/ 359922 h 1642622"/>
              <a:gd name="connsiteX16" fmla="*/ 4457700 w 4572000"/>
              <a:gd name="connsiteY16" fmla="*/ 385322 h 1642622"/>
              <a:gd name="connsiteX17" fmla="*/ 4470400 w 4572000"/>
              <a:gd name="connsiteY17" fmla="*/ 423422 h 1642622"/>
              <a:gd name="connsiteX18" fmla="*/ 4495800 w 4572000"/>
              <a:gd name="connsiteY18" fmla="*/ 525022 h 1642622"/>
              <a:gd name="connsiteX19" fmla="*/ 4521200 w 4572000"/>
              <a:gd name="connsiteY19" fmla="*/ 563122 h 1642622"/>
              <a:gd name="connsiteX20" fmla="*/ 4559300 w 4572000"/>
              <a:gd name="connsiteY20" fmla="*/ 677422 h 1642622"/>
              <a:gd name="connsiteX21" fmla="*/ 4572000 w 4572000"/>
              <a:gd name="connsiteY21" fmla="*/ 715522 h 1642622"/>
              <a:gd name="connsiteX22" fmla="*/ 4559300 w 4572000"/>
              <a:gd name="connsiteY22" fmla="*/ 880622 h 1642622"/>
              <a:gd name="connsiteX23" fmla="*/ 4521200 w 4572000"/>
              <a:gd name="connsiteY23" fmla="*/ 956822 h 1642622"/>
              <a:gd name="connsiteX24" fmla="*/ 4508500 w 4572000"/>
              <a:gd name="connsiteY24" fmla="*/ 994922 h 1642622"/>
              <a:gd name="connsiteX25" fmla="*/ 4483100 w 4572000"/>
              <a:gd name="connsiteY25" fmla="*/ 1045722 h 1642622"/>
              <a:gd name="connsiteX26" fmla="*/ 4470400 w 4572000"/>
              <a:gd name="connsiteY26" fmla="*/ 1083822 h 1642622"/>
              <a:gd name="connsiteX27" fmla="*/ 4445000 w 4572000"/>
              <a:gd name="connsiteY27" fmla="*/ 1134622 h 1642622"/>
              <a:gd name="connsiteX28" fmla="*/ 4381500 w 4572000"/>
              <a:gd name="connsiteY28" fmla="*/ 1223522 h 1642622"/>
              <a:gd name="connsiteX29" fmla="*/ 4279900 w 4572000"/>
              <a:gd name="connsiteY29" fmla="*/ 1337822 h 1642622"/>
              <a:gd name="connsiteX30" fmla="*/ 4216400 w 4572000"/>
              <a:gd name="connsiteY30" fmla="*/ 1375922 h 1642622"/>
              <a:gd name="connsiteX31" fmla="*/ 4178300 w 4572000"/>
              <a:gd name="connsiteY31" fmla="*/ 1388622 h 1642622"/>
              <a:gd name="connsiteX32" fmla="*/ 4089400 w 4572000"/>
              <a:gd name="connsiteY32" fmla="*/ 1439422 h 1642622"/>
              <a:gd name="connsiteX33" fmla="*/ 4051300 w 4572000"/>
              <a:gd name="connsiteY33" fmla="*/ 1452122 h 1642622"/>
              <a:gd name="connsiteX34" fmla="*/ 4013200 w 4572000"/>
              <a:gd name="connsiteY34" fmla="*/ 1477522 h 1642622"/>
              <a:gd name="connsiteX35" fmla="*/ 3937000 w 4572000"/>
              <a:gd name="connsiteY35" fmla="*/ 1502922 h 1642622"/>
              <a:gd name="connsiteX36" fmla="*/ 3886200 w 4572000"/>
              <a:gd name="connsiteY36" fmla="*/ 1528322 h 1642622"/>
              <a:gd name="connsiteX37" fmla="*/ 3810000 w 4572000"/>
              <a:gd name="connsiteY37" fmla="*/ 1579122 h 1642622"/>
              <a:gd name="connsiteX38" fmla="*/ 3746500 w 4572000"/>
              <a:gd name="connsiteY38" fmla="*/ 1591822 h 1642622"/>
              <a:gd name="connsiteX39" fmla="*/ 3683000 w 4572000"/>
              <a:gd name="connsiteY39" fmla="*/ 1617222 h 1642622"/>
              <a:gd name="connsiteX40" fmla="*/ 3556000 w 4572000"/>
              <a:gd name="connsiteY40" fmla="*/ 1629922 h 1642622"/>
              <a:gd name="connsiteX41" fmla="*/ 3479800 w 4572000"/>
              <a:gd name="connsiteY41" fmla="*/ 1642622 h 1642622"/>
              <a:gd name="connsiteX42" fmla="*/ 1117600 w 4572000"/>
              <a:gd name="connsiteY42" fmla="*/ 1629922 h 1642622"/>
              <a:gd name="connsiteX43" fmla="*/ 965200 w 4572000"/>
              <a:gd name="connsiteY43" fmla="*/ 1591822 h 1642622"/>
              <a:gd name="connsiteX44" fmla="*/ 889000 w 4572000"/>
              <a:gd name="connsiteY44" fmla="*/ 1566422 h 1642622"/>
              <a:gd name="connsiteX45" fmla="*/ 850900 w 4572000"/>
              <a:gd name="connsiteY45" fmla="*/ 1553722 h 1642622"/>
              <a:gd name="connsiteX46" fmla="*/ 800100 w 4572000"/>
              <a:gd name="connsiteY46" fmla="*/ 1528322 h 1642622"/>
              <a:gd name="connsiteX47" fmla="*/ 762000 w 4572000"/>
              <a:gd name="connsiteY47" fmla="*/ 1515622 h 1642622"/>
              <a:gd name="connsiteX48" fmla="*/ 723900 w 4572000"/>
              <a:gd name="connsiteY48" fmla="*/ 1490222 h 1642622"/>
              <a:gd name="connsiteX49" fmla="*/ 647700 w 4572000"/>
              <a:gd name="connsiteY49" fmla="*/ 1464822 h 1642622"/>
              <a:gd name="connsiteX50" fmla="*/ 571500 w 4572000"/>
              <a:gd name="connsiteY50" fmla="*/ 1439422 h 1642622"/>
              <a:gd name="connsiteX51" fmla="*/ 533400 w 4572000"/>
              <a:gd name="connsiteY51" fmla="*/ 1426722 h 1642622"/>
              <a:gd name="connsiteX52" fmla="*/ 495300 w 4572000"/>
              <a:gd name="connsiteY52" fmla="*/ 1401322 h 1642622"/>
              <a:gd name="connsiteX53" fmla="*/ 469900 w 4572000"/>
              <a:gd name="connsiteY53" fmla="*/ 1363222 h 1642622"/>
              <a:gd name="connsiteX54" fmla="*/ 431800 w 4572000"/>
              <a:gd name="connsiteY54" fmla="*/ 1337822 h 1642622"/>
              <a:gd name="connsiteX55" fmla="*/ 381000 w 4572000"/>
              <a:gd name="connsiteY55" fmla="*/ 1299722 h 1642622"/>
              <a:gd name="connsiteX56" fmla="*/ 304800 w 4572000"/>
              <a:gd name="connsiteY56" fmla="*/ 1248922 h 1642622"/>
              <a:gd name="connsiteX57" fmla="*/ 228600 w 4572000"/>
              <a:gd name="connsiteY57" fmla="*/ 1198122 h 1642622"/>
              <a:gd name="connsiteX58" fmla="*/ 177800 w 4572000"/>
              <a:gd name="connsiteY58" fmla="*/ 1147322 h 1642622"/>
              <a:gd name="connsiteX59" fmla="*/ 165100 w 4572000"/>
              <a:gd name="connsiteY59" fmla="*/ 1109222 h 1642622"/>
              <a:gd name="connsiteX60" fmla="*/ 114300 w 4572000"/>
              <a:gd name="connsiteY60" fmla="*/ 1033022 h 1642622"/>
              <a:gd name="connsiteX61" fmla="*/ 50800 w 4572000"/>
              <a:gd name="connsiteY61" fmla="*/ 944122 h 1642622"/>
              <a:gd name="connsiteX62" fmla="*/ 12700 w 4572000"/>
              <a:gd name="connsiteY62" fmla="*/ 829822 h 1642622"/>
              <a:gd name="connsiteX63" fmla="*/ 0 w 4572000"/>
              <a:gd name="connsiteY63" fmla="*/ 791722 h 1642622"/>
              <a:gd name="connsiteX64" fmla="*/ 12700 w 4572000"/>
              <a:gd name="connsiteY64" fmla="*/ 601222 h 1642622"/>
              <a:gd name="connsiteX65" fmla="*/ 25400 w 4572000"/>
              <a:gd name="connsiteY65" fmla="*/ 182122 h 1642622"/>
              <a:gd name="connsiteX66" fmla="*/ 101600 w 4572000"/>
              <a:gd name="connsiteY66" fmla="*/ 169422 h 1642622"/>
              <a:gd name="connsiteX67" fmla="*/ 114300 w 4572000"/>
              <a:gd name="connsiteY67" fmla="*/ 156722 h 16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1642622">
                <a:moveTo>
                  <a:pt x="12700" y="131322"/>
                </a:moveTo>
                <a:cubicBezTo>
                  <a:pt x="309688" y="46468"/>
                  <a:pt x="-59830" y="149454"/>
                  <a:pt x="165100" y="93222"/>
                </a:cubicBezTo>
                <a:cubicBezTo>
                  <a:pt x="178087" y="89975"/>
                  <a:pt x="189936" y="82331"/>
                  <a:pt x="203200" y="80522"/>
                </a:cubicBezTo>
                <a:cubicBezTo>
                  <a:pt x="283336" y="69594"/>
                  <a:pt x="444500" y="55122"/>
                  <a:pt x="444500" y="55122"/>
                </a:cubicBezTo>
                <a:cubicBezTo>
                  <a:pt x="800724" y="-63619"/>
                  <a:pt x="448545" y="49481"/>
                  <a:pt x="1485900" y="29722"/>
                </a:cubicBezTo>
                <a:cubicBezTo>
                  <a:pt x="1596028" y="27624"/>
                  <a:pt x="1706033" y="21255"/>
                  <a:pt x="1816100" y="17022"/>
                </a:cubicBezTo>
                <a:lnTo>
                  <a:pt x="3670300" y="29722"/>
                </a:lnTo>
                <a:cubicBezTo>
                  <a:pt x="3715338" y="30311"/>
                  <a:pt x="3776886" y="47486"/>
                  <a:pt x="3822700" y="55122"/>
                </a:cubicBezTo>
                <a:cubicBezTo>
                  <a:pt x="3852227" y="60043"/>
                  <a:pt x="3881967" y="63589"/>
                  <a:pt x="3911600" y="67822"/>
                </a:cubicBezTo>
                <a:cubicBezTo>
                  <a:pt x="3924300" y="72055"/>
                  <a:pt x="3936713" y="77275"/>
                  <a:pt x="3949700" y="80522"/>
                </a:cubicBezTo>
                <a:cubicBezTo>
                  <a:pt x="4007880" y="95067"/>
                  <a:pt x="4053108" y="98211"/>
                  <a:pt x="4114800" y="105922"/>
                </a:cubicBezTo>
                <a:cubicBezTo>
                  <a:pt x="4131733" y="114389"/>
                  <a:pt x="4149366" y="121582"/>
                  <a:pt x="4165600" y="131322"/>
                </a:cubicBezTo>
                <a:cubicBezTo>
                  <a:pt x="4191777" y="147028"/>
                  <a:pt x="4214496" y="168470"/>
                  <a:pt x="4241800" y="182122"/>
                </a:cubicBezTo>
                <a:cubicBezTo>
                  <a:pt x="4293837" y="208140"/>
                  <a:pt x="4297238" y="206055"/>
                  <a:pt x="4343400" y="245622"/>
                </a:cubicBezTo>
                <a:cubicBezTo>
                  <a:pt x="4367976" y="266688"/>
                  <a:pt x="4392202" y="292427"/>
                  <a:pt x="4406900" y="321822"/>
                </a:cubicBezTo>
                <a:cubicBezTo>
                  <a:pt x="4412887" y="333796"/>
                  <a:pt x="4411237" y="349469"/>
                  <a:pt x="4419600" y="359922"/>
                </a:cubicBezTo>
                <a:cubicBezTo>
                  <a:pt x="4429135" y="371841"/>
                  <a:pt x="4445000" y="376855"/>
                  <a:pt x="4457700" y="385322"/>
                </a:cubicBezTo>
                <a:cubicBezTo>
                  <a:pt x="4461933" y="398022"/>
                  <a:pt x="4467153" y="410435"/>
                  <a:pt x="4470400" y="423422"/>
                </a:cubicBezTo>
                <a:cubicBezTo>
                  <a:pt x="4477646" y="452405"/>
                  <a:pt x="4481285" y="495992"/>
                  <a:pt x="4495800" y="525022"/>
                </a:cubicBezTo>
                <a:cubicBezTo>
                  <a:pt x="4502626" y="538674"/>
                  <a:pt x="4515001" y="549174"/>
                  <a:pt x="4521200" y="563122"/>
                </a:cubicBezTo>
                <a:lnTo>
                  <a:pt x="4559300" y="677422"/>
                </a:lnTo>
                <a:lnTo>
                  <a:pt x="4572000" y="715522"/>
                </a:lnTo>
                <a:cubicBezTo>
                  <a:pt x="4567767" y="770555"/>
                  <a:pt x="4566146" y="825852"/>
                  <a:pt x="4559300" y="880622"/>
                </a:cubicBezTo>
                <a:cubicBezTo>
                  <a:pt x="4553980" y="923184"/>
                  <a:pt x="4540108" y="919005"/>
                  <a:pt x="4521200" y="956822"/>
                </a:cubicBezTo>
                <a:cubicBezTo>
                  <a:pt x="4515213" y="968796"/>
                  <a:pt x="4513773" y="982617"/>
                  <a:pt x="4508500" y="994922"/>
                </a:cubicBezTo>
                <a:cubicBezTo>
                  <a:pt x="4501042" y="1012323"/>
                  <a:pt x="4490558" y="1028321"/>
                  <a:pt x="4483100" y="1045722"/>
                </a:cubicBezTo>
                <a:cubicBezTo>
                  <a:pt x="4477827" y="1058027"/>
                  <a:pt x="4475673" y="1071517"/>
                  <a:pt x="4470400" y="1083822"/>
                </a:cubicBezTo>
                <a:cubicBezTo>
                  <a:pt x="4462942" y="1101223"/>
                  <a:pt x="4454393" y="1118184"/>
                  <a:pt x="4445000" y="1134622"/>
                </a:cubicBezTo>
                <a:cubicBezTo>
                  <a:pt x="4427897" y="1164552"/>
                  <a:pt x="4400970" y="1196264"/>
                  <a:pt x="4381500" y="1223522"/>
                </a:cubicBezTo>
                <a:cubicBezTo>
                  <a:pt x="4348991" y="1269034"/>
                  <a:pt x="4336730" y="1303724"/>
                  <a:pt x="4279900" y="1337822"/>
                </a:cubicBezTo>
                <a:cubicBezTo>
                  <a:pt x="4258733" y="1350522"/>
                  <a:pt x="4238478" y="1364883"/>
                  <a:pt x="4216400" y="1375922"/>
                </a:cubicBezTo>
                <a:cubicBezTo>
                  <a:pt x="4204426" y="1381909"/>
                  <a:pt x="4190274" y="1382635"/>
                  <a:pt x="4178300" y="1388622"/>
                </a:cubicBezTo>
                <a:cubicBezTo>
                  <a:pt x="4050755" y="1452395"/>
                  <a:pt x="4245257" y="1372626"/>
                  <a:pt x="4089400" y="1439422"/>
                </a:cubicBezTo>
                <a:cubicBezTo>
                  <a:pt x="4077095" y="1444695"/>
                  <a:pt x="4063274" y="1446135"/>
                  <a:pt x="4051300" y="1452122"/>
                </a:cubicBezTo>
                <a:cubicBezTo>
                  <a:pt x="4037648" y="1458948"/>
                  <a:pt x="4027148" y="1471323"/>
                  <a:pt x="4013200" y="1477522"/>
                </a:cubicBezTo>
                <a:cubicBezTo>
                  <a:pt x="3988734" y="1488396"/>
                  <a:pt x="3960947" y="1490948"/>
                  <a:pt x="3937000" y="1502922"/>
                </a:cubicBezTo>
                <a:cubicBezTo>
                  <a:pt x="3920067" y="1511389"/>
                  <a:pt x="3902434" y="1518582"/>
                  <a:pt x="3886200" y="1528322"/>
                </a:cubicBezTo>
                <a:cubicBezTo>
                  <a:pt x="3860023" y="1544028"/>
                  <a:pt x="3839934" y="1573135"/>
                  <a:pt x="3810000" y="1579122"/>
                </a:cubicBezTo>
                <a:cubicBezTo>
                  <a:pt x="3788833" y="1583355"/>
                  <a:pt x="3767175" y="1585619"/>
                  <a:pt x="3746500" y="1591822"/>
                </a:cubicBezTo>
                <a:cubicBezTo>
                  <a:pt x="3724664" y="1598373"/>
                  <a:pt x="3705354" y="1612751"/>
                  <a:pt x="3683000" y="1617222"/>
                </a:cubicBezTo>
                <a:cubicBezTo>
                  <a:pt x="3641282" y="1625566"/>
                  <a:pt x="3598216" y="1624645"/>
                  <a:pt x="3556000" y="1629922"/>
                </a:cubicBezTo>
                <a:cubicBezTo>
                  <a:pt x="3530448" y="1633116"/>
                  <a:pt x="3505200" y="1638389"/>
                  <a:pt x="3479800" y="1642622"/>
                </a:cubicBezTo>
                <a:lnTo>
                  <a:pt x="1117600" y="1629922"/>
                </a:lnTo>
                <a:cubicBezTo>
                  <a:pt x="1064640" y="1629370"/>
                  <a:pt x="1014205" y="1608157"/>
                  <a:pt x="965200" y="1591822"/>
                </a:cubicBezTo>
                <a:lnTo>
                  <a:pt x="889000" y="1566422"/>
                </a:lnTo>
                <a:cubicBezTo>
                  <a:pt x="876300" y="1562189"/>
                  <a:pt x="862874" y="1559709"/>
                  <a:pt x="850900" y="1553722"/>
                </a:cubicBezTo>
                <a:cubicBezTo>
                  <a:pt x="833967" y="1545255"/>
                  <a:pt x="817501" y="1535780"/>
                  <a:pt x="800100" y="1528322"/>
                </a:cubicBezTo>
                <a:cubicBezTo>
                  <a:pt x="787795" y="1523049"/>
                  <a:pt x="773974" y="1521609"/>
                  <a:pt x="762000" y="1515622"/>
                </a:cubicBezTo>
                <a:cubicBezTo>
                  <a:pt x="748348" y="1508796"/>
                  <a:pt x="737848" y="1496421"/>
                  <a:pt x="723900" y="1490222"/>
                </a:cubicBezTo>
                <a:cubicBezTo>
                  <a:pt x="699434" y="1479348"/>
                  <a:pt x="673100" y="1473289"/>
                  <a:pt x="647700" y="1464822"/>
                </a:cubicBezTo>
                <a:lnTo>
                  <a:pt x="571500" y="1439422"/>
                </a:lnTo>
                <a:cubicBezTo>
                  <a:pt x="558800" y="1435189"/>
                  <a:pt x="544539" y="1434148"/>
                  <a:pt x="533400" y="1426722"/>
                </a:cubicBezTo>
                <a:lnTo>
                  <a:pt x="495300" y="1401322"/>
                </a:lnTo>
                <a:cubicBezTo>
                  <a:pt x="486833" y="1388622"/>
                  <a:pt x="480693" y="1374015"/>
                  <a:pt x="469900" y="1363222"/>
                </a:cubicBezTo>
                <a:cubicBezTo>
                  <a:pt x="459107" y="1352429"/>
                  <a:pt x="444220" y="1346694"/>
                  <a:pt x="431800" y="1337822"/>
                </a:cubicBezTo>
                <a:cubicBezTo>
                  <a:pt x="414576" y="1325519"/>
                  <a:pt x="398340" y="1311860"/>
                  <a:pt x="381000" y="1299722"/>
                </a:cubicBezTo>
                <a:cubicBezTo>
                  <a:pt x="355991" y="1282216"/>
                  <a:pt x="326386" y="1270508"/>
                  <a:pt x="304800" y="1248922"/>
                </a:cubicBezTo>
                <a:cubicBezTo>
                  <a:pt x="257234" y="1201356"/>
                  <a:pt x="283739" y="1216502"/>
                  <a:pt x="228600" y="1198122"/>
                </a:cubicBezTo>
                <a:cubicBezTo>
                  <a:pt x="194733" y="1096522"/>
                  <a:pt x="245533" y="1215055"/>
                  <a:pt x="177800" y="1147322"/>
                </a:cubicBezTo>
                <a:cubicBezTo>
                  <a:pt x="168334" y="1137856"/>
                  <a:pt x="171601" y="1120924"/>
                  <a:pt x="165100" y="1109222"/>
                </a:cubicBezTo>
                <a:cubicBezTo>
                  <a:pt x="150275" y="1082537"/>
                  <a:pt x="131233" y="1058422"/>
                  <a:pt x="114300" y="1033022"/>
                </a:cubicBezTo>
                <a:cubicBezTo>
                  <a:pt x="77159" y="977310"/>
                  <a:pt x="98058" y="1007133"/>
                  <a:pt x="50800" y="944122"/>
                </a:cubicBezTo>
                <a:lnTo>
                  <a:pt x="12700" y="829822"/>
                </a:lnTo>
                <a:lnTo>
                  <a:pt x="0" y="791722"/>
                </a:lnTo>
                <a:cubicBezTo>
                  <a:pt x="4233" y="728222"/>
                  <a:pt x="10051" y="664808"/>
                  <a:pt x="12700" y="601222"/>
                </a:cubicBezTo>
                <a:cubicBezTo>
                  <a:pt x="18518" y="461579"/>
                  <a:pt x="-2784" y="319015"/>
                  <a:pt x="25400" y="182122"/>
                </a:cubicBezTo>
                <a:cubicBezTo>
                  <a:pt x="30593" y="156901"/>
                  <a:pt x="76840" y="176496"/>
                  <a:pt x="101600" y="169422"/>
                </a:cubicBezTo>
                <a:cubicBezTo>
                  <a:pt x="107356" y="167777"/>
                  <a:pt x="110067" y="160955"/>
                  <a:pt x="114300" y="15672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AC8EBA2F-054C-4B7B-84C3-3E3FC3E9B970}"/>
              </a:ext>
            </a:extLst>
          </p:cNvPr>
          <p:cNvSpPr/>
          <p:nvPr/>
        </p:nvSpPr>
        <p:spPr bwMode="auto">
          <a:xfrm>
            <a:off x="457597" y="3437383"/>
            <a:ext cx="5112568" cy="2160239"/>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970445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1181862"/>
          </a:xfrm>
        </p:spPr>
        <p:txBody>
          <a:bodyPr/>
          <a:lstStyle/>
          <a:p>
            <a:r>
              <a:rPr lang="en-US" dirty="0"/>
              <a:t>Ingest ratings data from Event Hubs with Spark Structured Streaming</a:t>
            </a:r>
          </a:p>
        </p:txBody>
      </p:sp>
    </p:spTree>
    <p:extLst>
      <p:ext uri="{BB962C8B-B14F-4D97-AF65-F5344CB8AC3E}">
        <p14:creationId xmlns:p14="http://schemas.microsoft.com/office/powerpoint/2010/main" val="1845191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C8B79-11C9-4068-BF9E-3C4D006846D6}"/>
              </a:ext>
            </a:extLst>
          </p:cNvPr>
          <p:cNvSpPr>
            <a:spLocks noGrp="1"/>
          </p:cNvSpPr>
          <p:nvPr>
            <p:ph type="title"/>
          </p:nvPr>
        </p:nvSpPr>
        <p:spPr/>
        <p:txBody>
          <a:bodyPr/>
          <a:lstStyle/>
          <a:p>
            <a:r>
              <a:rPr lang="en-US" dirty="0"/>
              <a:t>Spark </a:t>
            </a:r>
            <a:r>
              <a:rPr lang="en-US" dirty="0" err="1"/>
              <a:t>MLlib</a:t>
            </a:r>
            <a:endParaRPr lang="en-US" dirty="0"/>
          </a:p>
        </p:txBody>
      </p:sp>
      <p:sp>
        <p:nvSpPr>
          <p:cNvPr id="3" name="Text Placeholder 2">
            <a:extLst>
              <a:ext uri="{FF2B5EF4-FFF2-40B4-BE49-F238E27FC236}">
                <a16:creationId xmlns:a16="http://schemas.microsoft.com/office/drawing/2014/main" id="{492B86C6-8150-4A73-B4A2-8567F7810330}"/>
              </a:ext>
            </a:extLst>
          </p:cNvPr>
          <p:cNvSpPr>
            <a:spLocks noGrp="1"/>
          </p:cNvSpPr>
          <p:nvPr>
            <p:ph type="body" sz="quarter" idx="10"/>
          </p:nvPr>
        </p:nvSpPr>
        <p:spPr>
          <a:xfrm>
            <a:off x="274639" y="1211287"/>
            <a:ext cx="5486399" cy="4939814"/>
          </a:xfrm>
        </p:spPr>
        <p:txBody>
          <a:bodyPr/>
          <a:lstStyle/>
          <a:p>
            <a:pPr marL="0" indent="0">
              <a:buNone/>
            </a:pPr>
            <a:r>
              <a:rPr lang="en-US" b="1" dirty="0"/>
              <a:t>Scalable Machine Learning library on Spark</a:t>
            </a:r>
          </a:p>
          <a:p>
            <a:r>
              <a:rPr lang="en-US" dirty="0"/>
              <a:t>Common ML algorithms</a:t>
            </a:r>
          </a:p>
          <a:p>
            <a:pPr lvl="1"/>
            <a:r>
              <a:rPr lang="en-US" dirty="0"/>
              <a:t>classification, regression, clustering, &amp; collaborative filtering</a:t>
            </a:r>
          </a:p>
          <a:p>
            <a:r>
              <a:rPr lang="en-US" dirty="0"/>
              <a:t>Featurization </a:t>
            </a:r>
          </a:p>
          <a:p>
            <a:pPr lvl="1"/>
            <a:r>
              <a:rPr lang="en-US" dirty="0"/>
              <a:t>Feature extraction, Transformation, dimensionality reduction</a:t>
            </a:r>
          </a:p>
          <a:p>
            <a:r>
              <a:rPr lang="en-US" dirty="0"/>
              <a:t>ML Pipelines</a:t>
            </a:r>
          </a:p>
          <a:p>
            <a:pPr lvl="1"/>
            <a:r>
              <a:rPr lang="en-US" dirty="0"/>
              <a:t>Combine Transformers and Estimators</a:t>
            </a:r>
          </a:p>
        </p:txBody>
      </p:sp>
      <p:sp>
        <p:nvSpPr>
          <p:cNvPr id="5" name="Rectangle 4">
            <a:extLst>
              <a:ext uri="{FF2B5EF4-FFF2-40B4-BE49-F238E27FC236}">
                <a16:creationId xmlns:a16="http://schemas.microsoft.com/office/drawing/2014/main" id="{9F894FD1-4FC6-48BA-B116-BCB66AB11B04}"/>
              </a:ext>
            </a:extLst>
          </p:cNvPr>
          <p:cNvSpPr/>
          <p:nvPr/>
        </p:nvSpPr>
        <p:spPr>
          <a:xfrm>
            <a:off x="5798265" y="4016615"/>
            <a:ext cx="6318409" cy="945591"/>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AU" sz="2400" b="1" dirty="0"/>
              <a:t>Apache Spark Core APIs</a:t>
            </a:r>
          </a:p>
          <a:p>
            <a:pPr algn="ctr"/>
            <a:r>
              <a:rPr lang="en-AU" sz="1200" dirty="0"/>
              <a:t>RDDs, DataFrame, Datasets</a:t>
            </a:r>
            <a:endParaRPr lang="en-AU" sz="2800" dirty="0"/>
          </a:p>
        </p:txBody>
      </p:sp>
      <p:sp>
        <p:nvSpPr>
          <p:cNvPr id="6" name="Rectangle 5">
            <a:extLst>
              <a:ext uri="{FF2B5EF4-FFF2-40B4-BE49-F238E27FC236}">
                <a16:creationId xmlns:a16="http://schemas.microsoft.com/office/drawing/2014/main" id="{3CE73E11-EBFE-456E-97D9-7E06A3D0E82A}"/>
              </a:ext>
            </a:extLst>
          </p:cNvPr>
          <p:cNvSpPr/>
          <p:nvPr/>
        </p:nvSpPr>
        <p:spPr>
          <a:xfrm>
            <a:off x="5798266" y="2379487"/>
            <a:ext cx="1501213"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park SQL</a:t>
            </a:r>
            <a:endParaRPr lang="en-AU" dirty="0"/>
          </a:p>
        </p:txBody>
      </p:sp>
      <p:sp>
        <p:nvSpPr>
          <p:cNvPr id="7" name="Rectangle 6">
            <a:extLst>
              <a:ext uri="{FF2B5EF4-FFF2-40B4-BE49-F238E27FC236}">
                <a16:creationId xmlns:a16="http://schemas.microsoft.com/office/drawing/2014/main" id="{9EFA12B0-D0C4-44B4-8C0B-AF3E3C3453DD}"/>
              </a:ext>
            </a:extLst>
          </p:cNvPr>
          <p:cNvSpPr/>
          <p:nvPr/>
        </p:nvSpPr>
        <p:spPr>
          <a:xfrm>
            <a:off x="10624000" y="2379488"/>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GraphX</a:t>
            </a:r>
            <a:endParaRPr lang="en-AU" dirty="0"/>
          </a:p>
          <a:p>
            <a:pPr algn="ctr"/>
            <a:r>
              <a:rPr lang="en-AU" dirty="0"/>
              <a:t>(graph)</a:t>
            </a:r>
          </a:p>
        </p:txBody>
      </p:sp>
      <p:sp>
        <p:nvSpPr>
          <p:cNvPr id="8" name="Rectangle 7">
            <a:extLst>
              <a:ext uri="{FF2B5EF4-FFF2-40B4-BE49-F238E27FC236}">
                <a16:creationId xmlns:a16="http://schemas.microsoft.com/office/drawing/2014/main" id="{0FB94E73-5010-45A4-9881-EEB6C72752DD}"/>
              </a:ext>
            </a:extLst>
          </p:cNvPr>
          <p:cNvSpPr/>
          <p:nvPr/>
        </p:nvSpPr>
        <p:spPr>
          <a:xfrm>
            <a:off x="7412536" y="2379488"/>
            <a:ext cx="1492675" cy="1519327"/>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Structured Streaming</a:t>
            </a:r>
            <a:endParaRPr lang="en-AU" dirty="0"/>
          </a:p>
        </p:txBody>
      </p:sp>
      <p:sp>
        <p:nvSpPr>
          <p:cNvPr id="9" name="Rectangle 8">
            <a:extLst>
              <a:ext uri="{FF2B5EF4-FFF2-40B4-BE49-F238E27FC236}">
                <a16:creationId xmlns:a16="http://schemas.microsoft.com/office/drawing/2014/main" id="{02046F2B-8D1B-496D-84E8-5936206DB852}"/>
              </a:ext>
            </a:extLst>
          </p:cNvPr>
          <p:cNvSpPr/>
          <p:nvPr/>
        </p:nvSpPr>
        <p:spPr>
          <a:xfrm>
            <a:off x="9018268" y="2387669"/>
            <a:ext cx="1492675"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a:t>Mllib</a:t>
            </a:r>
            <a:endParaRPr lang="en-AU" b="1" dirty="0"/>
          </a:p>
          <a:p>
            <a:pPr algn="ctr"/>
            <a:r>
              <a:rPr lang="en-AU" b="1" dirty="0"/>
              <a:t>(machine learning)</a:t>
            </a:r>
          </a:p>
        </p:txBody>
      </p:sp>
    </p:spTree>
    <p:extLst>
      <p:ext uri="{BB962C8B-B14F-4D97-AF65-F5344CB8AC3E}">
        <p14:creationId xmlns:p14="http://schemas.microsoft.com/office/powerpoint/2010/main" val="129090418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80B0E9-C479-499B-B3A8-30E0FB4B0EEB}"/>
              </a:ext>
            </a:extLst>
          </p:cNvPr>
          <p:cNvPicPr>
            <a:picLocks noChangeAspect="1"/>
          </p:cNvPicPr>
          <p:nvPr/>
        </p:nvPicPr>
        <p:blipFill>
          <a:blip r:embed="rId3"/>
          <a:stretch>
            <a:fillRect/>
          </a:stretch>
        </p:blipFill>
        <p:spPr>
          <a:xfrm>
            <a:off x="888439" y="1481038"/>
            <a:ext cx="11258797" cy="4639344"/>
          </a:xfrm>
          <a:prstGeom prst="rect">
            <a:avLst/>
          </a:prstGeom>
        </p:spPr>
      </p:pic>
      <p:sp>
        <p:nvSpPr>
          <p:cNvPr id="2" name="Title 1">
            <a:extLst>
              <a:ext uri="{FF2B5EF4-FFF2-40B4-BE49-F238E27FC236}">
                <a16:creationId xmlns:a16="http://schemas.microsoft.com/office/drawing/2014/main" id="{F188B958-FB9B-46F0-A681-32731DE8697B}"/>
              </a:ext>
            </a:extLst>
          </p:cNvPr>
          <p:cNvSpPr>
            <a:spLocks noGrp="1"/>
          </p:cNvSpPr>
          <p:nvPr>
            <p:ph type="title"/>
          </p:nvPr>
        </p:nvSpPr>
        <p:spPr/>
        <p:txBody>
          <a:bodyPr/>
          <a:lstStyle/>
          <a:p>
            <a:r>
              <a:rPr lang="en-US" dirty="0"/>
              <a:t>Demo Architecture</a:t>
            </a:r>
          </a:p>
        </p:txBody>
      </p:sp>
      <p:sp>
        <p:nvSpPr>
          <p:cNvPr id="5" name="Freeform: Shape 4">
            <a:extLst>
              <a:ext uri="{FF2B5EF4-FFF2-40B4-BE49-F238E27FC236}">
                <a16:creationId xmlns:a16="http://schemas.microsoft.com/office/drawing/2014/main" id="{483D8305-B1A4-444E-8362-5DCB4AA143A6}"/>
              </a:ext>
            </a:extLst>
          </p:cNvPr>
          <p:cNvSpPr/>
          <p:nvPr/>
        </p:nvSpPr>
        <p:spPr bwMode="auto">
          <a:xfrm>
            <a:off x="1181100" y="3780278"/>
            <a:ext cx="4572000" cy="1642622"/>
          </a:xfrm>
          <a:custGeom>
            <a:avLst/>
            <a:gdLst>
              <a:gd name="connsiteX0" fmla="*/ 12700 w 4572000"/>
              <a:gd name="connsiteY0" fmla="*/ 131322 h 1642622"/>
              <a:gd name="connsiteX1" fmla="*/ 165100 w 4572000"/>
              <a:gd name="connsiteY1" fmla="*/ 93222 h 1642622"/>
              <a:gd name="connsiteX2" fmla="*/ 203200 w 4572000"/>
              <a:gd name="connsiteY2" fmla="*/ 80522 h 1642622"/>
              <a:gd name="connsiteX3" fmla="*/ 444500 w 4572000"/>
              <a:gd name="connsiteY3" fmla="*/ 55122 h 1642622"/>
              <a:gd name="connsiteX4" fmla="*/ 1485900 w 4572000"/>
              <a:gd name="connsiteY4" fmla="*/ 29722 h 1642622"/>
              <a:gd name="connsiteX5" fmla="*/ 1816100 w 4572000"/>
              <a:gd name="connsiteY5" fmla="*/ 17022 h 1642622"/>
              <a:gd name="connsiteX6" fmla="*/ 3670300 w 4572000"/>
              <a:gd name="connsiteY6" fmla="*/ 29722 h 1642622"/>
              <a:gd name="connsiteX7" fmla="*/ 3822700 w 4572000"/>
              <a:gd name="connsiteY7" fmla="*/ 55122 h 1642622"/>
              <a:gd name="connsiteX8" fmla="*/ 3911600 w 4572000"/>
              <a:gd name="connsiteY8" fmla="*/ 67822 h 1642622"/>
              <a:gd name="connsiteX9" fmla="*/ 3949700 w 4572000"/>
              <a:gd name="connsiteY9" fmla="*/ 80522 h 1642622"/>
              <a:gd name="connsiteX10" fmla="*/ 4114800 w 4572000"/>
              <a:gd name="connsiteY10" fmla="*/ 105922 h 1642622"/>
              <a:gd name="connsiteX11" fmla="*/ 4165600 w 4572000"/>
              <a:gd name="connsiteY11" fmla="*/ 131322 h 1642622"/>
              <a:gd name="connsiteX12" fmla="*/ 4241800 w 4572000"/>
              <a:gd name="connsiteY12" fmla="*/ 182122 h 1642622"/>
              <a:gd name="connsiteX13" fmla="*/ 4343400 w 4572000"/>
              <a:gd name="connsiteY13" fmla="*/ 245622 h 1642622"/>
              <a:gd name="connsiteX14" fmla="*/ 4406900 w 4572000"/>
              <a:gd name="connsiteY14" fmla="*/ 321822 h 1642622"/>
              <a:gd name="connsiteX15" fmla="*/ 4419600 w 4572000"/>
              <a:gd name="connsiteY15" fmla="*/ 359922 h 1642622"/>
              <a:gd name="connsiteX16" fmla="*/ 4457700 w 4572000"/>
              <a:gd name="connsiteY16" fmla="*/ 385322 h 1642622"/>
              <a:gd name="connsiteX17" fmla="*/ 4470400 w 4572000"/>
              <a:gd name="connsiteY17" fmla="*/ 423422 h 1642622"/>
              <a:gd name="connsiteX18" fmla="*/ 4495800 w 4572000"/>
              <a:gd name="connsiteY18" fmla="*/ 525022 h 1642622"/>
              <a:gd name="connsiteX19" fmla="*/ 4521200 w 4572000"/>
              <a:gd name="connsiteY19" fmla="*/ 563122 h 1642622"/>
              <a:gd name="connsiteX20" fmla="*/ 4559300 w 4572000"/>
              <a:gd name="connsiteY20" fmla="*/ 677422 h 1642622"/>
              <a:gd name="connsiteX21" fmla="*/ 4572000 w 4572000"/>
              <a:gd name="connsiteY21" fmla="*/ 715522 h 1642622"/>
              <a:gd name="connsiteX22" fmla="*/ 4559300 w 4572000"/>
              <a:gd name="connsiteY22" fmla="*/ 880622 h 1642622"/>
              <a:gd name="connsiteX23" fmla="*/ 4521200 w 4572000"/>
              <a:gd name="connsiteY23" fmla="*/ 956822 h 1642622"/>
              <a:gd name="connsiteX24" fmla="*/ 4508500 w 4572000"/>
              <a:gd name="connsiteY24" fmla="*/ 994922 h 1642622"/>
              <a:gd name="connsiteX25" fmla="*/ 4483100 w 4572000"/>
              <a:gd name="connsiteY25" fmla="*/ 1045722 h 1642622"/>
              <a:gd name="connsiteX26" fmla="*/ 4470400 w 4572000"/>
              <a:gd name="connsiteY26" fmla="*/ 1083822 h 1642622"/>
              <a:gd name="connsiteX27" fmla="*/ 4445000 w 4572000"/>
              <a:gd name="connsiteY27" fmla="*/ 1134622 h 1642622"/>
              <a:gd name="connsiteX28" fmla="*/ 4381500 w 4572000"/>
              <a:gd name="connsiteY28" fmla="*/ 1223522 h 1642622"/>
              <a:gd name="connsiteX29" fmla="*/ 4279900 w 4572000"/>
              <a:gd name="connsiteY29" fmla="*/ 1337822 h 1642622"/>
              <a:gd name="connsiteX30" fmla="*/ 4216400 w 4572000"/>
              <a:gd name="connsiteY30" fmla="*/ 1375922 h 1642622"/>
              <a:gd name="connsiteX31" fmla="*/ 4178300 w 4572000"/>
              <a:gd name="connsiteY31" fmla="*/ 1388622 h 1642622"/>
              <a:gd name="connsiteX32" fmla="*/ 4089400 w 4572000"/>
              <a:gd name="connsiteY32" fmla="*/ 1439422 h 1642622"/>
              <a:gd name="connsiteX33" fmla="*/ 4051300 w 4572000"/>
              <a:gd name="connsiteY33" fmla="*/ 1452122 h 1642622"/>
              <a:gd name="connsiteX34" fmla="*/ 4013200 w 4572000"/>
              <a:gd name="connsiteY34" fmla="*/ 1477522 h 1642622"/>
              <a:gd name="connsiteX35" fmla="*/ 3937000 w 4572000"/>
              <a:gd name="connsiteY35" fmla="*/ 1502922 h 1642622"/>
              <a:gd name="connsiteX36" fmla="*/ 3886200 w 4572000"/>
              <a:gd name="connsiteY36" fmla="*/ 1528322 h 1642622"/>
              <a:gd name="connsiteX37" fmla="*/ 3810000 w 4572000"/>
              <a:gd name="connsiteY37" fmla="*/ 1579122 h 1642622"/>
              <a:gd name="connsiteX38" fmla="*/ 3746500 w 4572000"/>
              <a:gd name="connsiteY38" fmla="*/ 1591822 h 1642622"/>
              <a:gd name="connsiteX39" fmla="*/ 3683000 w 4572000"/>
              <a:gd name="connsiteY39" fmla="*/ 1617222 h 1642622"/>
              <a:gd name="connsiteX40" fmla="*/ 3556000 w 4572000"/>
              <a:gd name="connsiteY40" fmla="*/ 1629922 h 1642622"/>
              <a:gd name="connsiteX41" fmla="*/ 3479800 w 4572000"/>
              <a:gd name="connsiteY41" fmla="*/ 1642622 h 1642622"/>
              <a:gd name="connsiteX42" fmla="*/ 1117600 w 4572000"/>
              <a:gd name="connsiteY42" fmla="*/ 1629922 h 1642622"/>
              <a:gd name="connsiteX43" fmla="*/ 965200 w 4572000"/>
              <a:gd name="connsiteY43" fmla="*/ 1591822 h 1642622"/>
              <a:gd name="connsiteX44" fmla="*/ 889000 w 4572000"/>
              <a:gd name="connsiteY44" fmla="*/ 1566422 h 1642622"/>
              <a:gd name="connsiteX45" fmla="*/ 850900 w 4572000"/>
              <a:gd name="connsiteY45" fmla="*/ 1553722 h 1642622"/>
              <a:gd name="connsiteX46" fmla="*/ 800100 w 4572000"/>
              <a:gd name="connsiteY46" fmla="*/ 1528322 h 1642622"/>
              <a:gd name="connsiteX47" fmla="*/ 762000 w 4572000"/>
              <a:gd name="connsiteY47" fmla="*/ 1515622 h 1642622"/>
              <a:gd name="connsiteX48" fmla="*/ 723900 w 4572000"/>
              <a:gd name="connsiteY48" fmla="*/ 1490222 h 1642622"/>
              <a:gd name="connsiteX49" fmla="*/ 647700 w 4572000"/>
              <a:gd name="connsiteY49" fmla="*/ 1464822 h 1642622"/>
              <a:gd name="connsiteX50" fmla="*/ 571500 w 4572000"/>
              <a:gd name="connsiteY50" fmla="*/ 1439422 h 1642622"/>
              <a:gd name="connsiteX51" fmla="*/ 533400 w 4572000"/>
              <a:gd name="connsiteY51" fmla="*/ 1426722 h 1642622"/>
              <a:gd name="connsiteX52" fmla="*/ 495300 w 4572000"/>
              <a:gd name="connsiteY52" fmla="*/ 1401322 h 1642622"/>
              <a:gd name="connsiteX53" fmla="*/ 469900 w 4572000"/>
              <a:gd name="connsiteY53" fmla="*/ 1363222 h 1642622"/>
              <a:gd name="connsiteX54" fmla="*/ 431800 w 4572000"/>
              <a:gd name="connsiteY54" fmla="*/ 1337822 h 1642622"/>
              <a:gd name="connsiteX55" fmla="*/ 381000 w 4572000"/>
              <a:gd name="connsiteY55" fmla="*/ 1299722 h 1642622"/>
              <a:gd name="connsiteX56" fmla="*/ 304800 w 4572000"/>
              <a:gd name="connsiteY56" fmla="*/ 1248922 h 1642622"/>
              <a:gd name="connsiteX57" fmla="*/ 228600 w 4572000"/>
              <a:gd name="connsiteY57" fmla="*/ 1198122 h 1642622"/>
              <a:gd name="connsiteX58" fmla="*/ 177800 w 4572000"/>
              <a:gd name="connsiteY58" fmla="*/ 1147322 h 1642622"/>
              <a:gd name="connsiteX59" fmla="*/ 165100 w 4572000"/>
              <a:gd name="connsiteY59" fmla="*/ 1109222 h 1642622"/>
              <a:gd name="connsiteX60" fmla="*/ 114300 w 4572000"/>
              <a:gd name="connsiteY60" fmla="*/ 1033022 h 1642622"/>
              <a:gd name="connsiteX61" fmla="*/ 50800 w 4572000"/>
              <a:gd name="connsiteY61" fmla="*/ 944122 h 1642622"/>
              <a:gd name="connsiteX62" fmla="*/ 12700 w 4572000"/>
              <a:gd name="connsiteY62" fmla="*/ 829822 h 1642622"/>
              <a:gd name="connsiteX63" fmla="*/ 0 w 4572000"/>
              <a:gd name="connsiteY63" fmla="*/ 791722 h 1642622"/>
              <a:gd name="connsiteX64" fmla="*/ 12700 w 4572000"/>
              <a:gd name="connsiteY64" fmla="*/ 601222 h 1642622"/>
              <a:gd name="connsiteX65" fmla="*/ 25400 w 4572000"/>
              <a:gd name="connsiteY65" fmla="*/ 182122 h 1642622"/>
              <a:gd name="connsiteX66" fmla="*/ 101600 w 4572000"/>
              <a:gd name="connsiteY66" fmla="*/ 169422 h 1642622"/>
              <a:gd name="connsiteX67" fmla="*/ 114300 w 4572000"/>
              <a:gd name="connsiteY67" fmla="*/ 156722 h 16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1642622">
                <a:moveTo>
                  <a:pt x="12700" y="131322"/>
                </a:moveTo>
                <a:cubicBezTo>
                  <a:pt x="309688" y="46468"/>
                  <a:pt x="-59830" y="149454"/>
                  <a:pt x="165100" y="93222"/>
                </a:cubicBezTo>
                <a:cubicBezTo>
                  <a:pt x="178087" y="89975"/>
                  <a:pt x="189936" y="82331"/>
                  <a:pt x="203200" y="80522"/>
                </a:cubicBezTo>
                <a:cubicBezTo>
                  <a:pt x="283336" y="69594"/>
                  <a:pt x="444500" y="55122"/>
                  <a:pt x="444500" y="55122"/>
                </a:cubicBezTo>
                <a:cubicBezTo>
                  <a:pt x="800724" y="-63619"/>
                  <a:pt x="448545" y="49481"/>
                  <a:pt x="1485900" y="29722"/>
                </a:cubicBezTo>
                <a:cubicBezTo>
                  <a:pt x="1596028" y="27624"/>
                  <a:pt x="1706033" y="21255"/>
                  <a:pt x="1816100" y="17022"/>
                </a:cubicBezTo>
                <a:lnTo>
                  <a:pt x="3670300" y="29722"/>
                </a:lnTo>
                <a:cubicBezTo>
                  <a:pt x="3715338" y="30311"/>
                  <a:pt x="3776886" y="47486"/>
                  <a:pt x="3822700" y="55122"/>
                </a:cubicBezTo>
                <a:cubicBezTo>
                  <a:pt x="3852227" y="60043"/>
                  <a:pt x="3881967" y="63589"/>
                  <a:pt x="3911600" y="67822"/>
                </a:cubicBezTo>
                <a:cubicBezTo>
                  <a:pt x="3924300" y="72055"/>
                  <a:pt x="3936713" y="77275"/>
                  <a:pt x="3949700" y="80522"/>
                </a:cubicBezTo>
                <a:cubicBezTo>
                  <a:pt x="4007880" y="95067"/>
                  <a:pt x="4053108" y="98211"/>
                  <a:pt x="4114800" y="105922"/>
                </a:cubicBezTo>
                <a:cubicBezTo>
                  <a:pt x="4131733" y="114389"/>
                  <a:pt x="4149366" y="121582"/>
                  <a:pt x="4165600" y="131322"/>
                </a:cubicBezTo>
                <a:cubicBezTo>
                  <a:pt x="4191777" y="147028"/>
                  <a:pt x="4214496" y="168470"/>
                  <a:pt x="4241800" y="182122"/>
                </a:cubicBezTo>
                <a:cubicBezTo>
                  <a:pt x="4293837" y="208140"/>
                  <a:pt x="4297238" y="206055"/>
                  <a:pt x="4343400" y="245622"/>
                </a:cubicBezTo>
                <a:cubicBezTo>
                  <a:pt x="4367976" y="266688"/>
                  <a:pt x="4392202" y="292427"/>
                  <a:pt x="4406900" y="321822"/>
                </a:cubicBezTo>
                <a:cubicBezTo>
                  <a:pt x="4412887" y="333796"/>
                  <a:pt x="4411237" y="349469"/>
                  <a:pt x="4419600" y="359922"/>
                </a:cubicBezTo>
                <a:cubicBezTo>
                  <a:pt x="4429135" y="371841"/>
                  <a:pt x="4445000" y="376855"/>
                  <a:pt x="4457700" y="385322"/>
                </a:cubicBezTo>
                <a:cubicBezTo>
                  <a:pt x="4461933" y="398022"/>
                  <a:pt x="4467153" y="410435"/>
                  <a:pt x="4470400" y="423422"/>
                </a:cubicBezTo>
                <a:cubicBezTo>
                  <a:pt x="4477646" y="452405"/>
                  <a:pt x="4481285" y="495992"/>
                  <a:pt x="4495800" y="525022"/>
                </a:cubicBezTo>
                <a:cubicBezTo>
                  <a:pt x="4502626" y="538674"/>
                  <a:pt x="4515001" y="549174"/>
                  <a:pt x="4521200" y="563122"/>
                </a:cubicBezTo>
                <a:lnTo>
                  <a:pt x="4559300" y="677422"/>
                </a:lnTo>
                <a:lnTo>
                  <a:pt x="4572000" y="715522"/>
                </a:lnTo>
                <a:cubicBezTo>
                  <a:pt x="4567767" y="770555"/>
                  <a:pt x="4566146" y="825852"/>
                  <a:pt x="4559300" y="880622"/>
                </a:cubicBezTo>
                <a:cubicBezTo>
                  <a:pt x="4553980" y="923184"/>
                  <a:pt x="4540108" y="919005"/>
                  <a:pt x="4521200" y="956822"/>
                </a:cubicBezTo>
                <a:cubicBezTo>
                  <a:pt x="4515213" y="968796"/>
                  <a:pt x="4513773" y="982617"/>
                  <a:pt x="4508500" y="994922"/>
                </a:cubicBezTo>
                <a:cubicBezTo>
                  <a:pt x="4501042" y="1012323"/>
                  <a:pt x="4490558" y="1028321"/>
                  <a:pt x="4483100" y="1045722"/>
                </a:cubicBezTo>
                <a:cubicBezTo>
                  <a:pt x="4477827" y="1058027"/>
                  <a:pt x="4475673" y="1071517"/>
                  <a:pt x="4470400" y="1083822"/>
                </a:cubicBezTo>
                <a:cubicBezTo>
                  <a:pt x="4462942" y="1101223"/>
                  <a:pt x="4454393" y="1118184"/>
                  <a:pt x="4445000" y="1134622"/>
                </a:cubicBezTo>
                <a:cubicBezTo>
                  <a:pt x="4427897" y="1164552"/>
                  <a:pt x="4400970" y="1196264"/>
                  <a:pt x="4381500" y="1223522"/>
                </a:cubicBezTo>
                <a:cubicBezTo>
                  <a:pt x="4348991" y="1269034"/>
                  <a:pt x="4336730" y="1303724"/>
                  <a:pt x="4279900" y="1337822"/>
                </a:cubicBezTo>
                <a:cubicBezTo>
                  <a:pt x="4258733" y="1350522"/>
                  <a:pt x="4238478" y="1364883"/>
                  <a:pt x="4216400" y="1375922"/>
                </a:cubicBezTo>
                <a:cubicBezTo>
                  <a:pt x="4204426" y="1381909"/>
                  <a:pt x="4190274" y="1382635"/>
                  <a:pt x="4178300" y="1388622"/>
                </a:cubicBezTo>
                <a:cubicBezTo>
                  <a:pt x="4050755" y="1452395"/>
                  <a:pt x="4245257" y="1372626"/>
                  <a:pt x="4089400" y="1439422"/>
                </a:cubicBezTo>
                <a:cubicBezTo>
                  <a:pt x="4077095" y="1444695"/>
                  <a:pt x="4063274" y="1446135"/>
                  <a:pt x="4051300" y="1452122"/>
                </a:cubicBezTo>
                <a:cubicBezTo>
                  <a:pt x="4037648" y="1458948"/>
                  <a:pt x="4027148" y="1471323"/>
                  <a:pt x="4013200" y="1477522"/>
                </a:cubicBezTo>
                <a:cubicBezTo>
                  <a:pt x="3988734" y="1488396"/>
                  <a:pt x="3960947" y="1490948"/>
                  <a:pt x="3937000" y="1502922"/>
                </a:cubicBezTo>
                <a:cubicBezTo>
                  <a:pt x="3920067" y="1511389"/>
                  <a:pt x="3902434" y="1518582"/>
                  <a:pt x="3886200" y="1528322"/>
                </a:cubicBezTo>
                <a:cubicBezTo>
                  <a:pt x="3860023" y="1544028"/>
                  <a:pt x="3839934" y="1573135"/>
                  <a:pt x="3810000" y="1579122"/>
                </a:cubicBezTo>
                <a:cubicBezTo>
                  <a:pt x="3788833" y="1583355"/>
                  <a:pt x="3767175" y="1585619"/>
                  <a:pt x="3746500" y="1591822"/>
                </a:cubicBezTo>
                <a:cubicBezTo>
                  <a:pt x="3724664" y="1598373"/>
                  <a:pt x="3705354" y="1612751"/>
                  <a:pt x="3683000" y="1617222"/>
                </a:cubicBezTo>
                <a:cubicBezTo>
                  <a:pt x="3641282" y="1625566"/>
                  <a:pt x="3598216" y="1624645"/>
                  <a:pt x="3556000" y="1629922"/>
                </a:cubicBezTo>
                <a:cubicBezTo>
                  <a:pt x="3530448" y="1633116"/>
                  <a:pt x="3505200" y="1638389"/>
                  <a:pt x="3479800" y="1642622"/>
                </a:cubicBezTo>
                <a:lnTo>
                  <a:pt x="1117600" y="1629922"/>
                </a:lnTo>
                <a:cubicBezTo>
                  <a:pt x="1064640" y="1629370"/>
                  <a:pt x="1014205" y="1608157"/>
                  <a:pt x="965200" y="1591822"/>
                </a:cubicBezTo>
                <a:lnTo>
                  <a:pt x="889000" y="1566422"/>
                </a:lnTo>
                <a:cubicBezTo>
                  <a:pt x="876300" y="1562189"/>
                  <a:pt x="862874" y="1559709"/>
                  <a:pt x="850900" y="1553722"/>
                </a:cubicBezTo>
                <a:cubicBezTo>
                  <a:pt x="833967" y="1545255"/>
                  <a:pt x="817501" y="1535780"/>
                  <a:pt x="800100" y="1528322"/>
                </a:cubicBezTo>
                <a:cubicBezTo>
                  <a:pt x="787795" y="1523049"/>
                  <a:pt x="773974" y="1521609"/>
                  <a:pt x="762000" y="1515622"/>
                </a:cubicBezTo>
                <a:cubicBezTo>
                  <a:pt x="748348" y="1508796"/>
                  <a:pt x="737848" y="1496421"/>
                  <a:pt x="723900" y="1490222"/>
                </a:cubicBezTo>
                <a:cubicBezTo>
                  <a:pt x="699434" y="1479348"/>
                  <a:pt x="673100" y="1473289"/>
                  <a:pt x="647700" y="1464822"/>
                </a:cubicBezTo>
                <a:lnTo>
                  <a:pt x="571500" y="1439422"/>
                </a:lnTo>
                <a:cubicBezTo>
                  <a:pt x="558800" y="1435189"/>
                  <a:pt x="544539" y="1434148"/>
                  <a:pt x="533400" y="1426722"/>
                </a:cubicBezTo>
                <a:lnTo>
                  <a:pt x="495300" y="1401322"/>
                </a:lnTo>
                <a:cubicBezTo>
                  <a:pt x="486833" y="1388622"/>
                  <a:pt x="480693" y="1374015"/>
                  <a:pt x="469900" y="1363222"/>
                </a:cubicBezTo>
                <a:cubicBezTo>
                  <a:pt x="459107" y="1352429"/>
                  <a:pt x="444220" y="1346694"/>
                  <a:pt x="431800" y="1337822"/>
                </a:cubicBezTo>
                <a:cubicBezTo>
                  <a:pt x="414576" y="1325519"/>
                  <a:pt x="398340" y="1311860"/>
                  <a:pt x="381000" y="1299722"/>
                </a:cubicBezTo>
                <a:cubicBezTo>
                  <a:pt x="355991" y="1282216"/>
                  <a:pt x="326386" y="1270508"/>
                  <a:pt x="304800" y="1248922"/>
                </a:cubicBezTo>
                <a:cubicBezTo>
                  <a:pt x="257234" y="1201356"/>
                  <a:pt x="283739" y="1216502"/>
                  <a:pt x="228600" y="1198122"/>
                </a:cubicBezTo>
                <a:cubicBezTo>
                  <a:pt x="194733" y="1096522"/>
                  <a:pt x="245533" y="1215055"/>
                  <a:pt x="177800" y="1147322"/>
                </a:cubicBezTo>
                <a:cubicBezTo>
                  <a:pt x="168334" y="1137856"/>
                  <a:pt x="171601" y="1120924"/>
                  <a:pt x="165100" y="1109222"/>
                </a:cubicBezTo>
                <a:cubicBezTo>
                  <a:pt x="150275" y="1082537"/>
                  <a:pt x="131233" y="1058422"/>
                  <a:pt x="114300" y="1033022"/>
                </a:cubicBezTo>
                <a:cubicBezTo>
                  <a:pt x="77159" y="977310"/>
                  <a:pt x="98058" y="1007133"/>
                  <a:pt x="50800" y="944122"/>
                </a:cubicBezTo>
                <a:lnTo>
                  <a:pt x="12700" y="829822"/>
                </a:lnTo>
                <a:lnTo>
                  <a:pt x="0" y="791722"/>
                </a:lnTo>
                <a:cubicBezTo>
                  <a:pt x="4233" y="728222"/>
                  <a:pt x="10051" y="664808"/>
                  <a:pt x="12700" y="601222"/>
                </a:cubicBezTo>
                <a:cubicBezTo>
                  <a:pt x="18518" y="461579"/>
                  <a:pt x="-2784" y="319015"/>
                  <a:pt x="25400" y="182122"/>
                </a:cubicBezTo>
                <a:cubicBezTo>
                  <a:pt x="30593" y="156901"/>
                  <a:pt x="76840" y="176496"/>
                  <a:pt x="101600" y="169422"/>
                </a:cubicBezTo>
                <a:cubicBezTo>
                  <a:pt x="107356" y="167777"/>
                  <a:pt x="110067" y="160955"/>
                  <a:pt x="114300" y="15672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C06A2B4-87ED-4F9F-8B6D-9848AD55E883}"/>
              </a:ext>
            </a:extLst>
          </p:cNvPr>
          <p:cNvSpPr/>
          <p:nvPr/>
        </p:nvSpPr>
        <p:spPr bwMode="auto">
          <a:xfrm>
            <a:off x="5147151" y="2003671"/>
            <a:ext cx="1647150" cy="1493591"/>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3538618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1181862"/>
          </a:xfrm>
        </p:spPr>
        <p:txBody>
          <a:bodyPr/>
          <a:lstStyle/>
          <a:p>
            <a:r>
              <a:rPr lang="en-US" dirty="0"/>
              <a:t>Build collaborative filtering recommendation model with Spark ML</a:t>
            </a:r>
          </a:p>
        </p:txBody>
      </p:sp>
    </p:spTree>
    <p:extLst>
      <p:ext uri="{BB962C8B-B14F-4D97-AF65-F5344CB8AC3E}">
        <p14:creationId xmlns:p14="http://schemas.microsoft.com/office/powerpoint/2010/main" val="3680132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7882-F72D-49C8-96E0-C98C471993DB}"/>
              </a:ext>
            </a:extLst>
          </p:cNvPr>
          <p:cNvSpPr>
            <a:spLocks noGrp="1"/>
          </p:cNvSpPr>
          <p:nvPr>
            <p:ph type="title"/>
          </p:nvPr>
        </p:nvSpPr>
        <p:spPr/>
        <p:txBody>
          <a:bodyPr/>
          <a:lstStyle/>
          <a:p>
            <a:r>
              <a:rPr lang="en-US" dirty="0"/>
              <a:t>Productionizing Machine Learning Workloads</a:t>
            </a:r>
          </a:p>
        </p:txBody>
      </p:sp>
      <p:sp>
        <p:nvSpPr>
          <p:cNvPr id="3" name="Text Placeholder 2">
            <a:extLst>
              <a:ext uri="{FF2B5EF4-FFF2-40B4-BE49-F238E27FC236}">
                <a16:creationId xmlns:a16="http://schemas.microsoft.com/office/drawing/2014/main" id="{592C5456-7C93-4E29-B1CC-E151E50FFA35}"/>
              </a:ext>
            </a:extLst>
          </p:cNvPr>
          <p:cNvSpPr>
            <a:spLocks noGrp="1"/>
          </p:cNvSpPr>
          <p:nvPr>
            <p:ph type="body" sz="quarter" idx="10"/>
          </p:nvPr>
        </p:nvSpPr>
        <p:spPr>
          <a:xfrm>
            <a:off x="274639" y="1211287"/>
            <a:ext cx="5486399" cy="3554819"/>
          </a:xfrm>
        </p:spPr>
        <p:txBody>
          <a:bodyPr/>
          <a:lstStyle/>
          <a:p>
            <a:pPr marL="0" indent="0">
              <a:buNone/>
            </a:pPr>
            <a:r>
              <a:rPr lang="en-US" dirty="0"/>
              <a:t>ML persistence</a:t>
            </a:r>
          </a:p>
          <a:p>
            <a:r>
              <a:rPr lang="en-US" sz="2800" dirty="0"/>
              <a:t>Sparks support saving multi- stage models built by Data Scientist in Python/R and loading in Scala/Java</a:t>
            </a:r>
          </a:p>
          <a:p>
            <a:pPr marL="0" indent="0">
              <a:buNone/>
            </a:pPr>
            <a:r>
              <a:rPr lang="en-US" dirty="0"/>
              <a:t>Schedule pipelines with Jobs</a:t>
            </a:r>
          </a:p>
          <a:p>
            <a:pPr marL="0" indent="0">
              <a:buNone/>
            </a:pPr>
            <a:r>
              <a:rPr lang="en-US" dirty="0"/>
              <a:t>Notification and alerting</a:t>
            </a:r>
          </a:p>
        </p:txBody>
      </p:sp>
      <p:sp>
        <p:nvSpPr>
          <p:cNvPr id="15" name="Freeform 2">
            <a:extLst>
              <a:ext uri="{FF2B5EF4-FFF2-40B4-BE49-F238E27FC236}">
                <a16:creationId xmlns:a16="http://schemas.microsoft.com/office/drawing/2014/main" id="{5FEEF0B3-1412-419F-BFE9-2E1D9BBA9E9B}"/>
              </a:ext>
            </a:extLst>
          </p:cNvPr>
          <p:cNvSpPr>
            <a:spLocks noChangeArrowheads="1"/>
          </p:cNvSpPr>
          <p:nvPr/>
        </p:nvSpPr>
        <p:spPr bwMode="auto">
          <a:xfrm>
            <a:off x="5820141" y="3262287"/>
            <a:ext cx="6354126" cy="1406291"/>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 name="Rectangle 15">
            <a:extLst>
              <a:ext uri="{FF2B5EF4-FFF2-40B4-BE49-F238E27FC236}">
                <a16:creationId xmlns:a16="http://schemas.microsoft.com/office/drawing/2014/main" id="{30D892F7-6461-45C6-A623-95BBAC24A8EB}"/>
              </a:ext>
            </a:extLst>
          </p:cNvPr>
          <p:cNvSpPr/>
          <p:nvPr/>
        </p:nvSpPr>
        <p:spPr>
          <a:xfrm>
            <a:off x="5899599" y="1863934"/>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18" name="Freeform 2">
            <a:extLst>
              <a:ext uri="{FF2B5EF4-FFF2-40B4-BE49-F238E27FC236}">
                <a16:creationId xmlns:a16="http://schemas.microsoft.com/office/drawing/2014/main" id="{1F75868C-D89F-45F3-8FC8-BE97BBAD61F0}"/>
              </a:ext>
            </a:extLst>
          </p:cNvPr>
          <p:cNvSpPr>
            <a:spLocks noChangeArrowheads="1"/>
          </p:cNvSpPr>
          <p:nvPr/>
        </p:nvSpPr>
        <p:spPr bwMode="auto">
          <a:xfrm>
            <a:off x="5820141" y="1862925"/>
            <a:ext cx="6354126" cy="1285694"/>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5" name="Rectangle 44">
            <a:extLst>
              <a:ext uri="{FF2B5EF4-FFF2-40B4-BE49-F238E27FC236}">
                <a16:creationId xmlns:a16="http://schemas.microsoft.com/office/drawing/2014/main" id="{04CD1573-602A-4A0A-AF1A-DBB0813C92CD}"/>
              </a:ext>
            </a:extLst>
          </p:cNvPr>
          <p:cNvSpPr/>
          <p:nvPr/>
        </p:nvSpPr>
        <p:spPr>
          <a:xfrm>
            <a:off x="5889711" y="3298687"/>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47" name="Rectangle 46">
            <a:extLst>
              <a:ext uri="{FF2B5EF4-FFF2-40B4-BE49-F238E27FC236}">
                <a16:creationId xmlns:a16="http://schemas.microsoft.com/office/drawing/2014/main" id="{D755A024-1EB7-452B-83CF-95EA3C84CC25}"/>
              </a:ext>
            </a:extLst>
          </p:cNvPr>
          <p:cNvSpPr/>
          <p:nvPr/>
        </p:nvSpPr>
        <p:spPr>
          <a:xfrm>
            <a:off x="5946784" y="4343996"/>
            <a:ext cx="1641651" cy="249299"/>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8" name="Rectangle 47">
            <a:extLst>
              <a:ext uri="{FF2B5EF4-FFF2-40B4-BE49-F238E27FC236}">
                <a16:creationId xmlns:a16="http://schemas.microsoft.com/office/drawing/2014/main" id="{BE65B0B3-94E8-4E6E-AAAE-B735EBFC154C}"/>
              </a:ext>
            </a:extLst>
          </p:cNvPr>
          <p:cNvSpPr/>
          <p:nvPr/>
        </p:nvSpPr>
        <p:spPr>
          <a:xfrm>
            <a:off x="6117624" y="2780008"/>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9" name="Group 48">
            <a:extLst>
              <a:ext uri="{FF2B5EF4-FFF2-40B4-BE49-F238E27FC236}">
                <a16:creationId xmlns:a16="http://schemas.microsoft.com/office/drawing/2014/main" id="{BC5A7CCD-6A45-45CE-A172-53CFEE264A39}"/>
              </a:ext>
            </a:extLst>
          </p:cNvPr>
          <p:cNvGrpSpPr/>
          <p:nvPr/>
        </p:nvGrpSpPr>
        <p:grpSpPr>
          <a:xfrm>
            <a:off x="6521793" y="2370668"/>
            <a:ext cx="519325" cy="407910"/>
            <a:chOff x="8339328" y="268334"/>
            <a:chExt cx="780544" cy="613088"/>
          </a:xfrm>
        </p:grpSpPr>
        <p:sp>
          <p:nvSpPr>
            <p:cNvPr id="50" name="Freeform 17">
              <a:extLst>
                <a:ext uri="{FF2B5EF4-FFF2-40B4-BE49-F238E27FC236}">
                  <a16:creationId xmlns:a16="http://schemas.microsoft.com/office/drawing/2014/main" id="{A881FC9D-D4CD-4461-A7C9-F1A67AF6B9B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1" name="Freeform 5">
              <a:extLst>
                <a:ext uri="{FF2B5EF4-FFF2-40B4-BE49-F238E27FC236}">
                  <a16:creationId xmlns:a16="http://schemas.microsoft.com/office/drawing/2014/main" id="{7D3A6DEA-1204-45DA-BD68-2D2CE009BAAC}"/>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52" name="Group 51">
            <a:extLst>
              <a:ext uri="{FF2B5EF4-FFF2-40B4-BE49-F238E27FC236}">
                <a16:creationId xmlns:a16="http://schemas.microsoft.com/office/drawing/2014/main" id="{0EA2BD59-9D76-4121-98A9-9516107E0A06}"/>
              </a:ext>
            </a:extLst>
          </p:cNvPr>
          <p:cNvGrpSpPr/>
          <p:nvPr/>
        </p:nvGrpSpPr>
        <p:grpSpPr>
          <a:xfrm>
            <a:off x="8696391" y="2427758"/>
            <a:ext cx="512932" cy="368552"/>
            <a:chOff x="10268712" y="1254226"/>
            <a:chExt cx="804672" cy="578172"/>
          </a:xfrm>
        </p:grpSpPr>
        <p:grpSp>
          <p:nvGrpSpPr>
            <p:cNvPr id="53" name="Group 11">
              <a:extLst>
                <a:ext uri="{FF2B5EF4-FFF2-40B4-BE49-F238E27FC236}">
                  <a16:creationId xmlns:a16="http://schemas.microsoft.com/office/drawing/2014/main" id="{57044556-3530-439E-9ACC-BA133DE77779}"/>
                </a:ext>
              </a:extLst>
            </p:cNvPr>
            <p:cNvGrpSpPr>
              <a:grpSpLocks noChangeAspect="1"/>
            </p:cNvGrpSpPr>
            <p:nvPr/>
          </p:nvGrpSpPr>
          <p:grpSpPr bwMode="auto">
            <a:xfrm>
              <a:off x="10607090" y="1257647"/>
              <a:ext cx="466294" cy="507929"/>
              <a:chOff x="3861" y="4291602"/>
              <a:chExt cx="112" cy="244433"/>
            </a:xfrm>
          </p:grpSpPr>
          <p:sp>
            <p:nvSpPr>
              <p:cNvPr id="55" name="Freeform 12">
                <a:extLst>
                  <a:ext uri="{FF2B5EF4-FFF2-40B4-BE49-F238E27FC236}">
                    <a16:creationId xmlns:a16="http://schemas.microsoft.com/office/drawing/2014/main" id="{51B17B92-1DEC-4B67-A13B-2C5CC53CC30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3">
                <a:extLst>
                  <a:ext uri="{FF2B5EF4-FFF2-40B4-BE49-F238E27FC236}">
                    <a16:creationId xmlns:a16="http://schemas.microsoft.com/office/drawing/2014/main" id="{51A9D88D-9F06-4DCD-9080-9B24E2CAE86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4">
                <a:extLst>
                  <a:ext uri="{FF2B5EF4-FFF2-40B4-BE49-F238E27FC236}">
                    <a16:creationId xmlns:a16="http://schemas.microsoft.com/office/drawing/2014/main" id="{345A82A4-9375-440A-9148-C937A3EF028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5">
                <a:extLst>
                  <a:ext uri="{FF2B5EF4-FFF2-40B4-BE49-F238E27FC236}">
                    <a16:creationId xmlns:a16="http://schemas.microsoft.com/office/drawing/2014/main" id="{DB8A8695-EF46-4F52-9878-15D663856E2D}"/>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6">
                <a:extLst>
                  <a:ext uri="{FF2B5EF4-FFF2-40B4-BE49-F238E27FC236}">
                    <a16:creationId xmlns:a16="http://schemas.microsoft.com/office/drawing/2014/main" id="{4BFE8332-8F29-46B5-889D-4B4827C956D1}"/>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 name="Line 17">
                <a:extLst>
                  <a:ext uri="{FF2B5EF4-FFF2-40B4-BE49-F238E27FC236}">
                    <a16:creationId xmlns:a16="http://schemas.microsoft.com/office/drawing/2014/main" id="{F81A03AE-AA6B-4A87-ADDA-DA8C4F81E83F}"/>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4" name="Freeform 5">
              <a:extLst>
                <a:ext uri="{FF2B5EF4-FFF2-40B4-BE49-F238E27FC236}">
                  <a16:creationId xmlns:a16="http://schemas.microsoft.com/office/drawing/2014/main" id="{6199244C-9787-4977-9B93-535D3D4E81E0}"/>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1" name="Group 60">
            <a:extLst>
              <a:ext uri="{FF2B5EF4-FFF2-40B4-BE49-F238E27FC236}">
                <a16:creationId xmlns:a16="http://schemas.microsoft.com/office/drawing/2014/main" id="{5CC51EA3-1D7C-4CDC-9952-D5D71237957B}"/>
              </a:ext>
            </a:extLst>
          </p:cNvPr>
          <p:cNvGrpSpPr/>
          <p:nvPr/>
        </p:nvGrpSpPr>
        <p:grpSpPr>
          <a:xfrm>
            <a:off x="11011926" y="2376878"/>
            <a:ext cx="565710" cy="384679"/>
            <a:chOff x="9151662" y="1184065"/>
            <a:chExt cx="554668" cy="377171"/>
          </a:xfrm>
        </p:grpSpPr>
        <p:grpSp>
          <p:nvGrpSpPr>
            <p:cNvPr id="62" name="Group 4">
              <a:extLst>
                <a:ext uri="{FF2B5EF4-FFF2-40B4-BE49-F238E27FC236}">
                  <a16:creationId xmlns:a16="http://schemas.microsoft.com/office/drawing/2014/main" id="{E719E779-476F-4CBC-824C-9C281AF46403}"/>
                </a:ext>
              </a:extLst>
            </p:cNvPr>
            <p:cNvGrpSpPr>
              <a:grpSpLocks noChangeAspect="1"/>
            </p:cNvGrpSpPr>
            <p:nvPr/>
          </p:nvGrpSpPr>
          <p:grpSpPr bwMode="auto">
            <a:xfrm>
              <a:off x="9396633" y="1190427"/>
              <a:ext cx="309697" cy="302323"/>
              <a:chOff x="1759" y="236"/>
              <a:chExt cx="252" cy="246"/>
            </a:xfrm>
            <a:noFill/>
          </p:grpSpPr>
          <p:sp>
            <p:nvSpPr>
              <p:cNvPr id="64" name="Freeform 5">
                <a:extLst>
                  <a:ext uri="{FF2B5EF4-FFF2-40B4-BE49-F238E27FC236}">
                    <a16:creationId xmlns:a16="http://schemas.microsoft.com/office/drawing/2014/main" id="{2A45DAF5-7944-4336-A77B-4A6C1061F01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5" name="Rectangle 6">
                <a:extLst>
                  <a:ext uri="{FF2B5EF4-FFF2-40B4-BE49-F238E27FC236}">
                    <a16:creationId xmlns:a16="http://schemas.microsoft.com/office/drawing/2014/main" id="{422292CE-5FEF-4C01-B13E-BD3763FD382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6" name="Rectangle 7">
                <a:extLst>
                  <a:ext uri="{FF2B5EF4-FFF2-40B4-BE49-F238E27FC236}">
                    <a16:creationId xmlns:a16="http://schemas.microsoft.com/office/drawing/2014/main" id="{F62F26E2-535B-475A-B61F-5E0573344A97}"/>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7" name="Rectangle 8">
                <a:extLst>
                  <a:ext uri="{FF2B5EF4-FFF2-40B4-BE49-F238E27FC236}">
                    <a16:creationId xmlns:a16="http://schemas.microsoft.com/office/drawing/2014/main" id="{820AE1B6-59EC-456A-97B4-E9513426661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3" name="Freeform 5">
              <a:extLst>
                <a:ext uri="{FF2B5EF4-FFF2-40B4-BE49-F238E27FC236}">
                  <a16:creationId xmlns:a16="http://schemas.microsoft.com/office/drawing/2014/main" id="{963DB6C4-6E58-47CE-8369-8F137046D8F6}"/>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68" name="Straight Arrow Connector 67">
            <a:extLst>
              <a:ext uri="{FF2B5EF4-FFF2-40B4-BE49-F238E27FC236}">
                <a16:creationId xmlns:a16="http://schemas.microsoft.com/office/drawing/2014/main" id="{E3182D63-0375-418C-B636-62903EE409DB}"/>
              </a:ext>
            </a:extLst>
          </p:cNvPr>
          <p:cNvCxnSpPr/>
          <p:nvPr/>
        </p:nvCxnSpPr>
        <p:spPr>
          <a:xfrm>
            <a:off x="7377239" y="2874524"/>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01FC8B63-7DD8-48C7-9CC2-FE3A5F5CF00C}"/>
              </a:ext>
            </a:extLst>
          </p:cNvPr>
          <p:cNvCxnSpPr/>
          <p:nvPr/>
        </p:nvCxnSpPr>
        <p:spPr>
          <a:xfrm>
            <a:off x="9605124" y="2884365"/>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A71BC3AD-5C1C-4965-BF44-9DC03BA383A8}"/>
              </a:ext>
            </a:extLst>
          </p:cNvPr>
          <p:cNvSpPr/>
          <p:nvPr/>
        </p:nvSpPr>
        <p:spPr>
          <a:xfrm>
            <a:off x="8112812" y="4330785"/>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71" name="Rectangle 70">
            <a:extLst>
              <a:ext uri="{FF2B5EF4-FFF2-40B4-BE49-F238E27FC236}">
                <a16:creationId xmlns:a16="http://schemas.microsoft.com/office/drawing/2014/main" id="{E1D58392-90CE-4557-9B3D-4051BA2BA65D}"/>
              </a:ext>
            </a:extLst>
          </p:cNvPr>
          <p:cNvSpPr/>
          <p:nvPr/>
        </p:nvSpPr>
        <p:spPr>
          <a:xfrm>
            <a:off x="10318681" y="4335654"/>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72" name="Rectangle 71">
            <a:extLst>
              <a:ext uri="{FF2B5EF4-FFF2-40B4-BE49-F238E27FC236}">
                <a16:creationId xmlns:a16="http://schemas.microsoft.com/office/drawing/2014/main" id="{C5F154EE-AAEF-4873-95E9-16F0B6E498A0}"/>
              </a:ext>
            </a:extLst>
          </p:cNvPr>
          <p:cNvSpPr/>
          <p:nvPr/>
        </p:nvSpPr>
        <p:spPr>
          <a:xfrm>
            <a:off x="8367215" y="2793234"/>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73" name="Rectangle 72">
            <a:extLst>
              <a:ext uri="{FF2B5EF4-FFF2-40B4-BE49-F238E27FC236}">
                <a16:creationId xmlns:a16="http://schemas.microsoft.com/office/drawing/2014/main" id="{B4349929-C951-465B-A6FA-A07081ECCE38}"/>
              </a:ext>
            </a:extLst>
          </p:cNvPr>
          <p:cNvSpPr/>
          <p:nvPr/>
        </p:nvSpPr>
        <p:spPr>
          <a:xfrm>
            <a:off x="10680930" y="2780007"/>
            <a:ext cx="1441963"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74" name="Oval 73">
            <a:extLst>
              <a:ext uri="{FF2B5EF4-FFF2-40B4-BE49-F238E27FC236}">
                <a16:creationId xmlns:a16="http://schemas.microsoft.com/office/drawing/2014/main" id="{A3D8528F-0E8E-4E93-8988-5A4C6479D828}"/>
              </a:ext>
            </a:extLst>
          </p:cNvPr>
          <p:cNvSpPr/>
          <p:nvPr/>
        </p:nvSpPr>
        <p:spPr>
          <a:xfrm>
            <a:off x="6073533" y="3927119"/>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08BCD411-2036-4272-894D-42EC02F2C1F9}"/>
              </a:ext>
            </a:extLst>
          </p:cNvPr>
          <p:cNvSpPr/>
          <p:nvPr/>
        </p:nvSpPr>
        <p:spPr>
          <a:xfrm>
            <a:off x="6609716" y="3923648"/>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Oval 75">
            <a:extLst>
              <a:ext uri="{FF2B5EF4-FFF2-40B4-BE49-F238E27FC236}">
                <a16:creationId xmlns:a16="http://schemas.microsoft.com/office/drawing/2014/main" id="{CC09A09C-F6BE-415A-94CB-4806423755C1}"/>
              </a:ext>
            </a:extLst>
          </p:cNvPr>
          <p:cNvSpPr/>
          <p:nvPr/>
        </p:nvSpPr>
        <p:spPr>
          <a:xfrm>
            <a:off x="7108378" y="3923647"/>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77" name="Straight Arrow Connector 76">
            <a:extLst>
              <a:ext uri="{FF2B5EF4-FFF2-40B4-BE49-F238E27FC236}">
                <a16:creationId xmlns:a16="http://schemas.microsoft.com/office/drawing/2014/main" id="{F021E977-5DF8-4327-9F51-B0B69032470E}"/>
              </a:ext>
            </a:extLst>
          </p:cNvPr>
          <p:cNvCxnSpPr>
            <a:cxnSpLocks/>
          </p:cNvCxnSpPr>
          <p:nvPr/>
        </p:nvCxnSpPr>
        <p:spPr>
          <a:xfrm>
            <a:off x="6353427" y="4063593"/>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970AAF-1DC3-4864-B5DC-0D17E19AA95F}"/>
              </a:ext>
            </a:extLst>
          </p:cNvPr>
          <p:cNvCxnSpPr>
            <a:cxnSpLocks/>
          </p:cNvCxnSpPr>
          <p:nvPr/>
        </p:nvCxnSpPr>
        <p:spPr>
          <a:xfrm>
            <a:off x="6889610" y="4054807"/>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9" name="Graphic 78" descr="Clock">
            <a:extLst>
              <a:ext uri="{FF2B5EF4-FFF2-40B4-BE49-F238E27FC236}">
                <a16:creationId xmlns:a16="http://schemas.microsoft.com/office/drawing/2014/main" id="{61A1FD42-5316-4C9A-A778-8D05A32823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63134" y="3790724"/>
            <a:ext cx="557579" cy="557579"/>
          </a:xfrm>
          <a:prstGeom prst="rect">
            <a:avLst/>
          </a:prstGeom>
        </p:spPr>
      </p:pic>
      <p:pic>
        <p:nvPicPr>
          <p:cNvPr id="80" name="Graphic 79" descr="Warning">
            <a:extLst>
              <a:ext uri="{FF2B5EF4-FFF2-40B4-BE49-F238E27FC236}">
                <a16:creationId xmlns:a16="http://schemas.microsoft.com/office/drawing/2014/main" id="{28065527-2315-41E0-824E-ED5BE58E55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00557" y="3830060"/>
            <a:ext cx="502837" cy="502837"/>
          </a:xfrm>
          <a:prstGeom prst="rect">
            <a:avLst/>
          </a:prstGeom>
        </p:spPr>
      </p:pic>
    </p:spTree>
    <p:extLst>
      <p:ext uri="{BB962C8B-B14F-4D97-AF65-F5344CB8AC3E}">
        <p14:creationId xmlns:p14="http://schemas.microsoft.com/office/powerpoint/2010/main" val="34813332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2115B9-B3F0-42B4-8D4D-8D9E9ED826EE}"/>
              </a:ext>
            </a:extLst>
          </p:cNvPr>
          <p:cNvPicPr>
            <a:picLocks noChangeAspect="1"/>
          </p:cNvPicPr>
          <p:nvPr/>
        </p:nvPicPr>
        <p:blipFill>
          <a:blip r:embed="rId3"/>
          <a:stretch>
            <a:fillRect/>
          </a:stretch>
        </p:blipFill>
        <p:spPr>
          <a:xfrm>
            <a:off x="888439" y="1481038"/>
            <a:ext cx="11258797" cy="4639344"/>
          </a:xfrm>
          <a:prstGeom prst="rect">
            <a:avLst/>
          </a:prstGeom>
        </p:spPr>
      </p:pic>
      <p:sp>
        <p:nvSpPr>
          <p:cNvPr id="2" name="Title 1">
            <a:extLst>
              <a:ext uri="{FF2B5EF4-FFF2-40B4-BE49-F238E27FC236}">
                <a16:creationId xmlns:a16="http://schemas.microsoft.com/office/drawing/2014/main" id="{F188B958-FB9B-46F0-A681-32731DE8697B}"/>
              </a:ext>
            </a:extLst>
          </p:cNvPr>
          <p:cNvSpPr>
            <a:spLocks noGrp="1"/>
          </p:cNvSpPr>
          <p:nvPr>
            <p:ph type="title"/>
          </p:nvPr>
        </p:nvSpPr>
        <p:spPr/>
        <p:txBody>
          <a:bodyPr/>
          <a:lstStyle/>
          <a:p>
            <a:r>
              <a:rPr lang="en-US" dirty="0"/>
              <a:t>Demo Architecture</a:t>
            </a:r>
          </a:p>
        </p:txBody>
      </p:sp>
      <p:sp>
        <p:nvSpPr>
          <p:cNvPr id="5" name="Freeform: Shape 4">
            <a:extLst>
              <a:ext uri="{FF2B5EF4-FFF2-40B4-BE49-F238E27FC236}">
                <a16:creationId xmlns:a16="http://schemas.microsoft.com/office/drawing/2014/main" id="{483D8305-B1A4-444E-8362-5DCB4AA143A6}"/>
              </a:ext>
            </a:extLst>
          </p:cNvPr>
          <p:cNvSpPr/>
          <p:nvPr/>
        </p:nvSpPr>
        <p:spPr bwMode="auto">
          <a:xfrm>
            <a:off x="1181100" y="3780278"/>
            <a:ext cx="4572000" cy="1642622"/>
          </a:xfrm>
          <a:custGeom>
            <a:avLst/>
            <a:gdLst>
              <a:gd name="connsiteX0" fmla="*/ 12700 w 4572000"/>
              <a:gd name="connsiteY0" fmla="*/ 131322 h 1642622"/>
              <a:gd name="connsiteX1" fmla="*/ 165100 w 4572000"/>
              <a:gd name="connsiteY1" fmla="*/ 93222 h 1642622"/>
              <a:gd name="connsiteX2" fmla="*/ 203200 w 4572000"/>
              <a:gd name="connsiteY2" fmla="*/ 80522 h 1642622"/>
              <a:gd name="connsiteX3" fmla="*/ 444500 w 4572000"/>
              <a:gd name="connsiteY3" fmla="*/ 55122 h 1642622"/>
              <a:gd name="connsiteX4" fmla="*/ 1485900 w 4572000"/>
              <a:gd name="connsiteY4" fmla="*/ 29722 h 1642622"/>
              <a:gd name="connsiteX5" fmla="*/ 1816100 w 4572000"/>
              <a:gd name="connsiteY5" fmla="*/ 17022 h 1642622"/>
              <a:gd name="connsiteX6" fmla="*/ 3670300 w 4572000"/>
              <a:gd name="connsiteY6" fmla="*/ 29722 h 1642622"/>
              <a:gd name="connsiteX7" fmla="*/ 3822700 w 4572000"/>
              <a:gd name="connsiteY7" fmla="*/ 55122 h 1642622"/>
              <a:gd name="connsiteX8" fmla="*/ 3911600 w 4572000"/>
              <a:gd name="connsiteY8" fmla="*/ 67822 h 1642622"/>
              <a:gd name="connsiteX9" fmla="*/ 3949700 w 4572000"/>
              <a:gd name="connsiteY9" fmla="*/ 80522 h 1642622"/>
              <a:gd name="connsiteX10" fmla="*/ 4114800 w 4572000"/>
              <a:gd name="connsiteY10" fmla="*/ 105922 h 1642622"/>
              <a:gd name="connsiteX11" fmla="*/ 4165600 w 4572000"/>
              <a:gd name="connsiteY11" fmla="*/ 131322 h 1642622"/>
              <a:gd name="connsiteX12" fmla="*/ 4241800 w 4572000"/>
              <a:gd name="connsiteY12" fmla="*/ 182122 h 1642622"/>
              <a:gd name="connsiteX13" fmla="*/ 4343400 w 4572000"/>
              <a:gd name="connsiteY13" fmla="*/ 245622 h 1642622"/>
              <a:gd name="connsiteX14" fmla="*/ 4406900 w 4572000"/>
              <a:gd name="connsiteY14" fmla="*/ 321822 h 1642622"/>
              <a:gd name="connsiteX15" fmla="*/ 4419600 w 4572000"/>
              <a:gd name="connsiteY15" fmla="*/ 359922 h 1642622"/>
              <a:gd name="connsiteX16" fmla="*/ 4457700 w 4572000"/>
              <a:gd name="connsiteY16" fmla="*/ 385322 h 1642622"/>
              <a:gd name="connsiteX17" fmla="*/ 4470400 w 4572000"/>
              <a:gd name="connsiteY17" fmla="*/ 423422 h 1642622"/>
              <a:gd name="connsiteX18" fmla="*/ 4495800 w 4572000"/>
              <a:gd name="connsiteY18" fmla="*/ 525022 h 1642622"/>
              <a:gd name="connsiteX19" fmla="*/ 4521200 w 4572000"/>
              <a:gd name="connsiteY19" fmla="*/ 563122 h 1642622"/>
              <a:gd name="connsiteX20" fmla="*/ 4559300 w 4572000"/>
              <a:gd name="connsiteY20" fmla="*/ 677422 h 1642622"/>
              <a:gd name="connsiteX21" fmla="*/ 4572000 w 4572000"/>
              <a:gd name="connsiteY21" fmla="*/ 715522 h 1642622"/>
              <a:gd name="connsiteX22" fmla="*/ 4559300 w 4572000"/>
              <a:gd name="connsiteY22" fmla="*/ 880622 h 1642622"/>
              <a:gd name="connsiteX23" fmla="*/ 4521200 w 4572000"/>
              <a:gd name="connsiteY23" fmla="*/ 956822 h 1642622"/>
              <a:gd name="connsiteX24" fmla="*/ 4508500 w 4572000"/>
              <a:gd name="connsiteY24" fmla="*/ 994922 h 1642622"/>
              <a:gd name="connsiteX25" fmla="*/ 4483100 w 4572000"/>
              <a:gd name="connsiteY25" fmla="*/ 1045722 h 1642622"/>
              <a:gd name="connsiteX26" fmla="*/ 4470400 w 4572000"/>
              <a:gd name="connsiteY26" fmla="*/ 1083822 h 1642622"/>
              <a:gd name="connsiteX27" fmla="*/ 4445000 w 4572000"/>
              <a:gd name="connsiteY27" fmla="*/ 1134622 h 1642622"/>
              <a:gd name="connsiteX28" fmla="*/ 4381500 w 4572000"/>
              <a:gd name="connsiteY28" fmla="*/ 1223522 h 1642622"/>
              <a:gd name="connsiteX29" fmla="*/ 4279900 w 4572000"/>
              <a:gd name="connsiteY29" fmla="*/ 1337822 h 1642622"/>
              <a:gd name="connsiteX30" fmla="*/ 4216400 w 4572000"/>
              <a:gd name="connsiteY30" fmla="*/ 1375922 h 1642622"/>
              <a:gd name="connsiteX31" fmla="*/ 4178300 w 4572000"/>
              <a:gd name="connsiteY31" fmla="*/ 1388622 h 1642622"/>
              <a:gd name="connsiteX32" fmla="*/ 4089400 w 4572000"/>
              <a:gd name="connsiteY32" fmla="*/ 1439422 h 1642622"/>
              <a:gd name="connsiteX33" fmla="*/ 4051300 w 4572000"/>
              <a:gd name="connsiteY33" fmla="*/ 1452122 h 1642622"/>
              <a:gd name="connsiteX34" fmla="*/ 4013200 w 4572000"/>
              <a:gd name="connsiteY34" fmla="*/ 1477522 h 1642622"/>
              <a:gd name="connsiteX35" fmla="*/ 3937000 w 4572000"/>
              <a:gd name="connsiteY35" fmla="*/ 1502922 h 1642622"/>
              <a:gd name="connsiteX36" fmla="*/ 3886200 w 4572000"/>
              <a:gd name="connsiteY36" fmla="*/ 1528322 h 1642622"/>
              <a:gd name="connsiteX37" fmla="*/ 3810000 w 4572000"/>
              <a:gd name="connsiteY37" fmla="*/ 1579122 h 1642622"/>
              <a:gd name="connsiteX38" fmla="*/ 3746500 w 4572000"/>
              <a:gd name="connsiteY38" fmla="*/ 1591822 h 1642622"/>
              <a:gd name="connsiteX39" fmla="*/ 3683000 w 4572000"/>
              <a:gd name="connsiteY39" fmla="*/ 1617222 h 1642622"/>
              <a:gd name="connsiteX40" fmla="*/ 3556000 w 4572000"/>
              <a:gd name="connsiteY40" fmla="*/ 1629922 h 1642622"/>
              <a:gd name="connsiteX41" fmla="*/ 3479800 w 4572000"/>
              <a:gd name="connsiteY41" fmla="*/ 1642622 h 1642622"/>
              <a:gd name="connsiteX42" fmla="*/ 1117600 w 4572000"/>
              <a:gd name="connsiteY42" fmla="*/ 1629922 h 1642622"/>
              <a:gd name="connsiteX43" fmla="*/ 965200 w 4572000"/>
              <a:gd name="connsiteY43" fmla="*/ 1591822 h 1642622"/>
              <a:gd name="connsiteX44" fmla="*/ 889000 w 4572000"/>
              <a:gd name="connsiteY44" fmla="*/ 1566422 h 1642622"/>
              <a:gd name="connsiteX45" fmla="*/ 850900 w 4572000"/>
              <a:gd name="connsiteY45" fmla="*/ 1553722 h 1642622"/>
              <a:gd name="connsiteX46" fmla="*/ 800100 w 4572000"/>
              <a:gd name="connsiteY46" fmla="*/ 1528322 h 1642622"/>
              <a:gd name="connsiteX47" fmla="*/ 762000 w 4572000"/>
              <a:gd name="connsiteY47" fmla="*/ 1515622 h 1642622"/>
              <a:gd name="connsiteX48" fmla="*/ 723900 w 4572000"/>
              <a:gd name="connsiteY48" fmla="*/ 1490222 h 1642622"/>
              <a:gd name="connsiteX49" fmla="*/ 647700 w 4572000"/>
              <a:gd name="connsiteY49" fmla="*/ 1464822 h 1642622"/>
              <a:gd name="connsiteX50" fmla="*/ 571500 w 4572000"/>
              <a:gd name="connsiteY50" fmla="*/ 1439422 h 1642622"/>
              <a:gd name="connsiteX51" fmla="*/ 533400 w 4572000"/>
              <a:gd name="connsiteY51" fmla="*/ 1426722 h 1642622"/>
              <a:gd name="connsiteX52" fmla="*/ 495300 w 4572000"/>
              <a:gd name="connsiteY52" fmla="*/ 1401322 h 1642622"/>
              <a:gd name="connsiteX53" fmla="*/ 469900 w 4572000"/>
              <a:gd name="connsiteY53" fmla="*/ 1363222 h 1642622"/>
              <a:gd name="connsiteX54" fmla="*/ 431800 w 4572000"/>
              <a:gd name="connsiteY54" fmla="*/ 1337822 h 1642622"/>
              <a:gd name="connsiteX55" fmla="*/ 381000 w 4572000"/>
              <a:gd name="connsiteY55" fmla="*/ 1299722 h 1642622"/>
              <a:gd name="connsiteX56" fmla="*/ 304800 w 4572000"/>
              <a:gd name="connsiteY56" fmla="*/ 1248922 h 1642622"/>
              <a:gd name="connsiteX57" fmla="*/ 228600 w 4572000"/>
              <a:gd name="connsiteY57" fmla="*/ 1198122 h 1642622"/>
              <a:gd name="connsiteX58" fmla="*/ 177800 w 4572000"/>
              <a:gd name="connsiteY58" fmla="*/ 1147322 h 1642622"/>
              <a:gd name="connsiteX59" fmla="*/ 165100 w 4572000"/>
              <a:gd name="connsiteY59" fmla="*/ 1109222 h 1642622"/>
              <a:gd name="connsiteX60" fmla="*/ 114300 w 4572000"/>
              <a:gd name="connsiteY60" fmla="*/ 1033022 h 1642622"/>
              <a:gd name="connsiteX61" fmla="*/ 50800 w 4572000"/>
              <a:gd name="connsiteY61" fmla="*/ 944122 h 1642622"/>
              <a:gd name="connsiteX62" fmla="*/ 12700 w 4572000"/>
              <a:gd name="connsiteY62" fmla="*/ 829822 h 1642622"/>
              <a:gd name="connsiteX63" fmla="*/ 0 w 4572000"/>
              <a:gd name="connsiteY63" fmla="*/ 791722 h 1642622"/>
              <a:gd name="connsiteX64" fmla="*/ 12700 w 4572000"/>
              <a:gd name="connsiteY64" fmla="*/ 601222 h 1642622"/>
              <a:gd name="connsiteX65" fmla="*/ 25400 w 4572000"/>
              <a:gd name="connsiteY65" fmla="*/ 182122 h 1642622"/>
              <a:gd name="connsiteX66" fmla="*/ 101600 w 4572000"/>
              <a:gd name="connsiteY66" fmla="*/ 169422 h 1642622"/>
              <a:gd name="connsiteX67" fmla="*/ 114300 w 4572000"/>
              <a:gd name="connsiteY67" fmla="*/ 156722 h 16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1642622">
                <a:moveTo>
                  <a:pt x="12700" y="131322"/>
                </a:moveTo>
                <a:cubicBezTo>
                  <a:pt x="309688" y="46468"/>
                  <a:pt x="-59830" y="149454"/>
                  <a:pt x="165100" y="93222"/>
                </a:cubicBezTo>
                <a:cubicBezTo>
                  <a:pt x="178087" y="89975"/>
                  <a:pt x="189936" y="82331"/>
                  <a:pt x="203200" y="80522"/>
                </a:cubicBezTo>
                <a:cubicBezTo>
                  <a:pt x="283336" y="69594"/>
                  <a:pt x="444500" y="55122"/>
                  <a:pt x="444500" y="55122"/>
                </a:cubicBezTo>
                <a:cubicBezTo>
                  <a:pt x="800724" y="-63619"/>
                  <a:pt x="448545" y="49481"/>
                  <a:pt x="1485900" y="29722"/>
                </a:cubicBezTo>
                <a:cubicBezTo>
                  <a:pt x="1596028" y="27624"/>
                  <a:pt x="1706033" y="21255"/>
                  <a:pt x="1816100" y="17022"/>
                </a:cubicBezTo>
                <a:lnTo>
                  <a:pt x="3670300" y="29722"/>
                </a:lnTo>
                <a:cubicBezTo>
                  <a:pt x="3715338" y="30311"/>
                  <a:pt x="3776886" y="47486"/>
                  <a:pt x="3822700" y="55122"/>
                </a:cubicBezTo>
                <a:cubicBezTo>
                  <a:pt x="3852227" y="60043"/>
                  <a:pt x="3881967" y="63589"/>
                  <a:pt x="3911600" y="67822"/>
                </a:cubicBezTo>
                <a:cubicBezTo>
                  <a:pt x="3924300" y="72055"/>
                  <a:pt x="3936713" y="77275"/>
                  <a:pt x="3949700" y="80522"/>
                </a:cubicBezTo>
                <a:cubicBezTo>
                  <a:pt x="4007880" y="95067"/>
                  <a:pt x="4053108" y="98211"/>
                  <a:pt x="4114800" y="105922"/>
                </a:cubicBezTo>
                <a:cubicBezTo>
                  <a:pt x="4131733" y="114389"/>
                  <a:pt x="4149366" y="121582"/>
                  <a:pt x="4165600" y="131322"/>
                </a:cubicBezTo>
                <a:cubicBezTo>
                  <a:pt x="4191777" y="147028"/>
                  <a:pt x="4214496" y="168470"/>
                  <a:pt x="4241800" y="182122"/>
                </a:cubicBezTo>
                <a:cubicBezTo>
                  <a:pt x="4293837" y="208140"/>
                  <a:pt x="4297238" y="206055"/>
                  <a:pt x="4343400" y="245622"/>
                </a:cubicBezTo>
                <a:cubicBezTo>
                  <a:pt x="4367976" y="266688"/>
                  <a:pt x="4392202" y="292427"/>
                  <a:pt x="4406900" y="321822"/>
                </a:cubicBezTo>
                <a:cubicBezTo>
                  <a:pt x="4412887" y="333796"/>
                  <a:pt x="4411237" y="349469"/>
                  <a:pt x="4419600" y="359922"/>
                </a:cubicBezTo>
                <a:cubicBezTo>
                  <a:pt x="4429135" y="371841"/>
                  <a:pt x="4445000" y="376855"/>
                  <a:pt x="4457700" y="385322"/>
                </a:cubicBezTo>
                <a:cubicBezTo>
                  <a:pt x="4461933" y="398022"/>
                  <a:pt x="4467153" y="410435"/>
                  <a:pt x="4470400" y="423422"/>
                </a:cubicBezTo>
                <a:cubicBezTo>
                  <a:pt x="4477646" y="452405"/>
                  <a:pt x="4481285" y="495992"/>
                  <a:pt x="4495800" y="525022"/>
                </a:cubicBezTo>
                <a:cubicBezTo>
                  <a:pt x="4502626" y="538674"/>
                  <a:pt x="4515001" y="549174"/>
                  <a:pt x="4521200" y="563122"/>
                </a:cubicBezTo>
                <a:lnTo>
                  <a:pt x="4559300" y="677422"/>
                </a:lnTo>
                <a:lnTo>
                  <a:pt x="4572000" y="715522"/>
                </a:lnTo>
                <a:cubicBezTo>
                  <a:pt x="4567767" y="770555"/>
                  <a:pt x="4566146" y="825852"/>
                  <a:pt x="4559300" y="880622"/>
                </a:cubicBezTo>
                <a:cubicBezTo>
                  <a:pt x="4553980" y="923184"/>
                  <a:pt x="4540108" y="919005"/>
                  <a:pt x="4521200" y="956822"/>
                </a:cubicBezTo>
                <a:cubicBezTo>
                  <a:pt x="4515213" y="968796"/>
                  <a:pt x="4513773" y="982617"/>
                  <a:pt x="4508500" y="994922"/>
                </a:cubicBezTo>
                <a:cubicBezTo>
                  <a:pt x="4501042" y="1012323"/>
                  <a:pt x="4490558" y="1028321"/>
                  <a:pt x="4483100" y="1045722"/>
                </a:cubicBezTo>
                <a:cubicBezTo>
                  <a:pt x="4477827" y="1058027"/>
                  <a:pt x="4475673" y="1071517"/>
                  <a:pt x="4470400" y="1083822"/>
                </a:cubicBezTo>
                <a:cubicBezTo>
                  <a:pt x="4462942" y="1101223"/>
                  <a:pt x="4454393" y="1118184"/>
                  <a:pt x="4445000" y="1134622"/>
                </a:cubicBezTo>
                <a:cubicBezTo>
                  <a:pt x="4427897" y="1164552"/>
                  <a:pt x="4400970" y="1196264"/>
                  <a:pt x="4381500" y="1223522"/>
                </a:cubicBezTo>
                <a:cubicBezTo>
                  <a:pt x="4348991" y="1269034"/>
                  <a:pt x="4336730" y="1303724"/>
                  <a:pt x="4279900" y="1337822"/>
                </a:cubicBezTo>
                <a:cubicBezTo>
                  <a:pt x="4258733" y="1350522"/>
                  <a:pt x="4238478" y="1364883"/>
                  <a:pt x="4216400" y="1375922"/>
                </a:cubicBezTo>
                <a:cubicBezTo>
                  <a:pt x="4204426" y="1381909"/>
                  <a:pt x="4190274" y="1382635"/>
                  <a:pt x="4178300" y="1388622"/>
                </a:cubicBezTo>
                <a:cubicBezTo>
                  <a:pt x="4050755" y="1452395"/>
                  <a:pt x="4245257" y="1372626"/>
                  <a:pt x="4089400" y="1439422"/>
                </a:cubicBezTo>
                <a:cubicBezTo>
                  <a:pt x="4077095" y="1444695"/>
                  <a:pt x="4063274" y="1446135"/>
                  <a:pt x="4051300" y="1452122"/>
                </a:cubicBezTo>
                <a:cubicBezTo>
                  <a:pt x="4037648" y="1458948"/>
                  <a:pt x="4027148" y="1471323"/>
                  <a:pt x="4013200" y="1477522"/>
                </a:cubicBezTo>
                <a:cubicBezTo>
                  <a:pt x="3988734" y="1488396"/>
                  <a:pt x="3960947" y="1490948"/>
                  <a:pt x="3937000" y="1502922"/>
                </a:cubicBezTo>
                <a:cubicBezTo>
                  <a:pt x="3920067" y="1511389"/>
                  <a:pt x="3902434" y="1518582"/>
                  <a:pt x="3886200" y="1528322"/>
                </a:cubicBezTo>
                <a:cubicBezTo>
                  <a:pt x="3860023" y="1544028"/>
                  <a:pt x="3839934" y="1573135"/>
                  <a:pt x="3810000" y="1579122"/>
                </a:cubicBezTo>
                <a:cubicBezTo>
                  <a:pt x="3788833" y="1583355"/>
                  <a:pt x="3767175" y="1585619"/>
                  <a:pt x="3746500" y="1591822"/>
                </a:cubicBezTo>
                <a:cubicBezTo>
                  <a:pt x="3724664" y="1598373"/>
                  <a:pt x="3705354" y="1612751"/>
                  <a:pt x="3683000" y="1617222"/>
                </a:cubicBezTo>
                <a:cubicBezTo>
                  <a:pt x="3641282" y="1625566"/>
                  <a:pt x="3598216" y="1624645"/>
                  <a:pt x="3556000" y="1629922"/>
                </a:cubicBezTo>
                <a:cubicBezTo>
                  <a:pt x="3530448" y="1633116"/>
                  <a:pt x="3505200" y="1638389"/>
                  <a:pt x="3479800" y="1642622"/>
                </a:cubicBezTo>
                <a:lnTo>
                  <a:pt x="1117600" y="1629922"/>
                </a:lnTo>
                <a:cubicBezTo>
                  <a:pt x="1064640" y="1629370"/>
                  <a:pt x="1014205" y="1608157"/>
                  <a:pt x="965200" y="1591822"/>
                </a:cubicBezTo>
                <a:lnTo>
                  <a:pt x="889000" y="1566422"/>
                </a:lnTo>
                <a:cubicBezTo>
                  <a:pt x="876300" y="1562189"/>
                  <a:pt x="862874" y="1559709"/>
                  <a:pt x="850900" y="1553722"/>
                </a:cubicBezTo>
                <a:cubicBezTo>
                  <a:pt x="833967" y="1545255"/>
                  <a:pt x="817501" y="1535780"/>
                  <a:pt x="800100" y="1528322"/>
                </a:cubicBezTo>
                <a:cubicBezTo>
                  <a:pt x="787795" y="1523049"/>
                  <a:pt x="773974" y="1521609"/>
                  <a:pt x="762000" y="1515622"/>
                </a:cubicBezTo>
                <a:cubicBezTo>
                  <a:pt x="748348" y="1508796"/>
                  <a:pt x="737848" y="1496421"/>
                  <a:pt x="723900" y="1490222"/>
                </a:cubicBezTo>
                <a:cubicBezTo>
                  <a:pt x="699434" y="1479348"/>
                  <a:pt x="673100" y="1473289"/>
                  <a:pt x="647700" y="1464822"/>
                </a:cubicBezTo>
                <a:lnTo>
                  <a:pt x="571500" y="1439422"/>
                </a:lnTo>
                <a:cubicBezTo>
                  <a:pt x="558800" y="1435189"/>
                  <a:pt x="544539" y="1434148"/>
                  <a:pt x="533400" y="1426722"/>
                </a:cubicBezTo>
                <a:lnTo>
                  <a:pt x="495300" y="1401322"/>
                </a:lnTo>
                <a:cubicBezTo>
                  <a:pt x="486833" y="1388622"/>
                  <a:pt x="480693" y="1374015"/>
                  <a:pt x="469900" y="1363222"/>
                </a:cubicBezTo>
                <a:cubicBezTo>
                  <a:pt x="459107" y="1352429"/>
                  <a:pt x="444220" y="1346694"/>
                  <a:pt x="431800" y="1337822"/>
                </a:cubicBezTo>
                <a:cubicBezTo>
                  <a:pt x="414576" y="1325519"/>
                  <a:pt x="398340" y="1311860"/>
                  <a:pt x="381000" y="1299722"/>
                </a:cubicBezTo>
                <a:cubicBezTo>
                  <a:pt x="355991" y="1282216"/>
                  <a:pt x="326386" y="1270508"/>
                  <a:pt x="304800" y="1248922"/>
                </a:cubicBezTo>
                <a:cubicBezTo>
                  <a:pt x="257234" y="1201356"/>
                  <a:pt x="283739" y="1216502"/>
                  <a:pt x="228600" y="1198122"/>
                </a:cubicBezTo>
                <a:cubicBezTo>
                  <a:pt x="194733" y="1096522"/>
                  <a:pt x="245533" y="1215055"/>
                  <a:pt x="177800" y="1147322"/>
                </a:cubicBezTo>
                <a:cubicBezTo>
                  <a:pt x="168334" y="1137856"/>
                  <a:pt x="171601" y="1120924"/>
                  <a:pt x="165100" y="1109222"/>
                </a:cubicBezTo>
                <a:cubicBezTo>
                  <a:pt x="150275" y="1082537"/>
                  <a:pt x="131233" y="1058422"/>
                  <a:pt x="114300" y="1033022"/>
                </a:cubicBezTo>
                <a:cubicBezTo>
                  <a:pt x="77159" y="977310"/>
                  <a:pt x="98058" y="1007133"/>
                  <a:pt x="50800" y="944122"/>
                </a:cubicBezTo>
                <a:lnTo>
                  <a:pt x="12700" y="829822"/>
                </a:lnTo>
                <a:lnTo>
                  <a:pt x="0" y="791722"/>
                </a:lnTo>
                <a:cubicBezTo>
                  <a:pt x="4233" y="728222"/>
                  <a:pt x="10051" y="664808"/>
                  <a:pt x="12700" y="601222"/>
                </a:cubicBezTo>
                <a:cubicBezTo>
                  <a:pt x="18518" y="461579"/>
                  <a:pt x="-2784" y="319015"/>
                  <a:pt x="25400" y="182122"/>
                </a:cubicBezTo>
                <a:cubicBezTo>
                  <a:pt x="30593" y="156901"/>
                  <a:pt x="76840" y="176496"/>
                  <a:pt x="101600" y="169422"/>
                </a:cubicBezTo>
                <a:cubicBezTo>
                  <a:pt x="107356" y="167777"/>
                  <a:pt x="110067" y="160955"/>
                  <a:pt x="114300" y="15672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C06A2B4-87ED-4F9F-8B6D-9848AD55E883}"/>
              </a:ext>
            </a:extLst>
          </p:cNvPr>
          <p:cNvSpPr/>
          <p:nvPr/>
        </p:nvSpPr>
        <p:spPr bwMode="auto">
          <a:xfrm>
            <a:off x="6362253" y="1630070"/>
            <a:ext cx="3528392" cy="2227232"/>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02271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738664"/>
          </a:xfrm>
        </p:spPr>
        <p:txBody>
          <a:bodyPr/>
          <a:lstStyle/>
          <a:p>
            <a:r>
              <a:rPr lang="en-US" dirty="0"/>
              <a:t>Productionize workflow with Spark Jobs</a:t>
            </a:r>
          </a:p>
        </p:txBody>
      </p:sp>
    </p:spTree>
    <p:extLst>
      <p:ext uri="{BB962C8B-B14F-4D97-AF65-F5344CB8AC3E}">
        <p14:creationId xmlns:p14="http://schemas.microsoft.com/office/powerpoint/2010/main" val="1207578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7882-F72D-49C8-96E0-C98C471993DB}"/>
              </a:ext>
            </a:extLst>
          </p:cNvPr>
          <p:cNvSpPr>
            <a:spLocks noGrp="1"/>
          </p:cNvSpPr>
          <p:nvPr>
            <p:ph type="title"/>
          </p:nvPr>
        </p:nvSpPr>
        <p:spPr/>
        <p:txBody>
          <a:bodyPr/>
          <a:lstStyle/>
          <a:p>
            <a:r>
              <a:rPr lang="en-US" dirty="0"/>
              <a:t>Visualize with Dashboards</a:t>
            </a:r>
          </a:p>
        </p:txBody>
      </p:sp>
      <p:sp>
        <p:nvSpPr>
          <p:cNvPr id="3" name="Text Placeholder 2">
            <a:extLst>
              <a:ext uri="{FF2B5EF4-FFF2-40B4-BE49-F238E27FC236}">
                <a16:creationId xmlns:a16="http://schemas.microsoft.com/office/drawing/2014/main" id="{592C5456-7C93-4E29-B1CC-E151E50FFA35}"/>
              </a:ext>
            </a:extLst>
          </p:cNvPr>
          <p:cNvSpPr>
            <a:spLocks noGrp="1"/>
          </p:cNvSpPr>
          <p:nvPr>
            <p:ph type="body" sz="quarter" idx="10"/>
          </p:nvPr>
        </p:nvSpPr>
        <p:spPr>
          <a:xfrm>
            <a:off x="274639" y="1211287"/>
            <a:ext cx="5486399" cy="2000548"/>
          </a:xfrm>
        </p:spPr>
        <p:txBody>
          <a:bodyPr/>
          <a:lstStyle/>
          <a:p>
            <a:pPr marL="0" indent="0">
              <a:buNone/>
            </a:pPr>
            <a:r>
              <a:rPr lang="en-US" dirty="0"/>
              <a:t>Convert Notebooks into Dashboards</a:t>
            </a:r>
          </a:p>
          <a:p>
            <a:pPr marL="0" indent="0">
              <a:buNone/>
            </a:pPr>
            <a:r>
              <a:rPr lang="en-US" dirty="0"/>
              <a:t>Parameterize Notebooks using Widgets</a:t>
            </a:r>
          </a:p>
        </p:txBody>
      </p:sp>
      <p:sp>
        <p:nvSpPr>
          <p:cNvPr id="15" name="Freeform 2">
            <a:extLst>
              <a:ext uri="{FF2B5EF4-FFF2-40B4-BE49-F238E27FC236}">
                <a16:creationId xmlns:a16="http://schemas.microsoft.com/office/drawing/2014/main" id="{5FEEF0B3-1412-419F-BFE9-2E1D9BBA9E9B}"/>
              </a:ext>
            </a:extLst>
          </p:cNvPr>
          <p:cNvSpPr>
            <a:spLocks noChangeArrowheads="1"/>
          </p:cNvSpPr>
          <p:nvPr/>
        </p:nvSpPr>
        <p:spPr bwMode="auto">
          <a:xfrm>
            <a:off x="5820141" y="3262287"/>
            <a:ext cx="6354126" cy="1406291"/>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16" name="Rectangle 15">
            <a:extLst>
              <a:ext uri="{FF2B5EF4-FFF2-40B4-BE49-F238E27FC236}">
                <a16:creationId xmlns:a16="http://schemas.microsoft.com/office/drawing/2014/main" id="{30D892F7-6461-45C6-A623-95BBAC24A8EB}"/>
              </a:ext>
            </a:extLst>
          </p:cNvPr>
          <p:cNvSpPr/>
          <p:nvPr/>
        </p:nvSpPr>
        <p:spPr>
          <a:xfrm>
            <a:off x="5899599" y="1863934"/>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Collaborative Workspace</a:t>
            </a:r>
          </a:p>
        </p:txBody>
      </p:sp>
      <p:sp>
        <p:nvSpPr>
          <p:cNvPr id="18" name="Freeform 2">
            <a:extLst>
              <a:ext uri="{FF2B5EF4-FFF2-40B4-BE49-F238E27FC236}">
                <a16:creationId xmlns:a16="http://schemas.microsoft.com/office/drawing/2014/main" id="{1F75868C-D89F-45F3-8FC8-BE97BBAD61F0}"/>
              </a:ext>
            </a:extLst>
          </p:cNvPr>
          <p:cNvSpPr>
            <a:spLocks noChangeArrowheads="1"/>
          </p:cNvSpPr>
          <p:nvPr/>
        </p:nvSpPr>
        <p:spPr bwMode="auto">
          <a:xfrm>
            <a:off x="5820141" y="1862925"/>
            <a:ext cx="6354126" cy="1285694"/>
          </a:xfrm>
          <a:prstGeom prst="rect">
            <a:avLst/>
          </a:prstGeom>
          <a:noFill/>
          <a:ln w="12700" cap="flat">
            <a:solidFill>
              <a:schemeClr val="accent4"/>
            </a:solidFill>
            <a:miter lim="800000"/>
            <a:headEnd/>
            <a:tailEnd/>
          </a:ln>
          <a:effectLst/>
        </p:spPr>
        <p:txBody>
          <a:bodyPr wrap="none" anchor="ct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45" name="Rectangle 44">
            <a:extLst>
              <a:ext uri="{FF2B5EF4-FFF2-40B4-BE49-F238E27FC236}">
                <a16:creationId xmlns:a16="http://schemas.microsoft.com/office/drawing/2014/main" id="{04CD1573-602A-4A0A-AF1A-DBB0813C92CD}"/>
              </a:ext>
            </a:extLst>
          </p:cNvPr>
          <p:cNvSpPr/>
          <p:nvPr/>
        </p:nvSpPr>
        <p:spPr>
          <a:xfrm>
            <a:off x="5889711" y="3298687"/>
            <a:ext cx="3717032" cy="318286"/>
          </a:xfrm>
          <a:prstGeom prst="rect">
            <a:avLst/>
          </a:prstGeom>
        </p:spPr>
        <p:txBody>
          <a:bodyPr wrap="squar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0078D6"/>
                </a:solidFill>
                <a:effectLst/>
                <a:uLnTx/>
                <a:uFillTx/>
                <a:latin typeface="Segoe UI" charset="0"/>
                <a:ea typeface="Segoe UI" charset="0"/>
                <a:cs typeface="Segoe UI" charset="0"/>
              </a:rPr>
              <a:t>Deploy Production Jobs &amp; Workflows </a:t>
            </a:r>
          </a:p>
        </p:txBody>
      </p:sp>
      <p:sp>
        <p:nvSpPr>
          <p:cNvPr id="47" name="Rectangle 46">
            <a:extLst>
              <a:ext uri="{FF2B5EF4-FFF2-40B4-BE49-F238E27FC236}">
                <a16:creationId xmlns:a16="http://schemas.microsoft.com/office/drawing/2014/main" id="{D755A024-1EB7-452B-83CF-95EA3C84CC25}"/>
              </a:ext>
            </a:extLst>
          </p:cNvPr>
          <p:cNvSpPr/>
          <p:nvPr/>
        </p:nvSpPr>
        <p:spPr>
          <a:xfrm>
            <a:off x="5946784" y="4343996"/>
            <a:ext cx="1641651" cy="249299"/>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MULTI-STAGE PIPELINES</a:t>
            </a:r>
          </a:p>
        </p:txBody>
      </p:sp>
      <p:sp>
        <p:nvSpPr>
          <p:cNvPr id="48" name="Rectangle 47">
            <a:extLst>
              <a:ext uri="{FF2B5EF4-FFF2-40B4-BE49-F238E27FC236}">
                <a16:creationId xmlns:a16="http://schemas.microsoft.com/office/drawing/2014/main" id="{BE65B0B3-94E8-4E6E-AAAE-B735EBFC154C}"/>
              </a:ext>
            </a:extLst>
          </p:cNvPr>
          <p:cNvSpPr/>
          <p:nvPr/>
        </p:nvSpPr>
        <p:spPr>
          <a:xfrm>
            <a:off x="6117624" y="2780008"/>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ENGINEER</a:t>
            </a:r>
          </a:p>
        </p:txBody>
      </p:sp>
      <p:grpSp>
        <p:nvGrpSpPr>
          <p:cNvPr id="49" name="Group 48">
            <a:extLst>
              <a:ext uri="{FF2B5EF4-FFF2-40B4-BE49-F238E27FC236}">
                <a16:creationId xmlns:a16="http://schemas.microsoft.com/office/drawing/2014/main" id="{BC5A7CCD-6A45-45CE-A172-53CFEE264A39}"/>
              </a:ext>
            </a:extLst>
          </p:cNvPr>
          <p:cNvGrpSpPr/>
          <p:nvPr/>
        </p:nvGrpSpPr>
        <p:grpSpPr>
          <a:xfrm>
            <a:off x="6521793" y="2370668"/>
            <a:ext cx="519325" cy="407910"/>
            <a:chOff x="8339328" y="268334"/>
            <a:chExt cx="780544" cy="613088"/>
          </a:xfrm>
        </p:grpSpPr>
        <p:sp>
          <p:nvSpPr>
            <p:cNvPr id="50" name="Freeform 17">
              <a:extLst>
                <a:ext uri="{FF2B5EF4-FFF2-40B4-BE49-F238E27FC236}">
                  <a16:creationId xmlns:a16="http://schemas.microsoft.com/office/drawing/2014/main" id="{A881FC9D-D4CD-4461-A7C9-F1A67AF6B9B3}"/>
                </a:ext>
              </a:extLst>
            </p:cNvPr>
            <p:cNvSpPr>
              <a:spLocks noEditPoints="1"/>
            </p:cNvSpPr>
            <p:nvPr/>
          </p:nvSpPr>
          <p:spPr bwMode="auto">
            <a:xfrm>
              <a:off x="8578117" y="268334"/>
              <a:ext cx="541755" cy="49976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a:solidFill>
                <a:schemeClr val="tx2"/>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51" name="Freeform 5">
              <a:extLst>
                <a:ext uri="{FF2B5EF4-FFF2-40B4-BE49-F238E27FC236}">
                  <a16:creationId xmlns:a16="http://schemas.microsoft.com/office/drawing/2014/main" id="{7D3A6DEA-1204-45DA-BD68-2D2CE009BAAC}"/>
                </a:ext>
              </a:extLst>
            </p:cNvPr>
            <p:cNvSpPr>
              <a:spLocks noEditPoints="1"/>
            </p:cNvSpPr>
            <p:nvPr/>
          </p:nvSpPr>
          <p:spPr bwMode="auto">
            <a:xfrm>
              <a:off x="8339328" y="303250"/>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52" name="Group 51">
            <a:extLst>
              <a:ext uri="{FF2B5EF4-FFF2-40B4-BE49-F238E27FC236}">
                <a16:creationId xmlns:a16="http://schemas.microsoft.com/office/drawing/2014/main" id="{0EA2BD59-9D76-4121-98A9-9516107E0A06}"/>
              </a:ext>
            </a:extLst>
          </p:cNvPr>
          <p:cNvGrpSpPr/>
          <p:nvPr/>
        </p:nvGrpSpPr>
        <p:grpSpPr>
          <a:xfrm>
            <a:off x="8696391" y="2427758"/>
            <a:ext cx="512932" cy="368552"/>
            <a:chOff x="10268712" y="1254226"/>
            <a:chExt cx="804672" cy="578172"/>
          </a:xfrm>
        </p:grpSpPr>
        <p:grpSp>
          <p:nvGrpSpPr>
            <p:cNvPr id="53" name="Group 11">
              <a:extLst>
                <a:ext uri="{FF2B5EF4-FFF2-40B4-BE49-F238E27FC236}">
                  <a16:creationId xmlns:a16="http://schemas.microsoft.com/office/drawing/2014/main" id="{57044556-3530-439E-9ACC-BA133DE77779}"/>
                </a:ext>
              </a:extLst>
            </p:cNvPr>
            <p:cNvGrpSpPr>
              <a:grpSpLocks noChangeAspect="1"/>
            </p:cNvGrpSpPr>
            <p:nvPr/>
          </p:nvGrpSpPr>
          <p:grpSpPr bwMode="auto">
            <a:xfrm>
              <a:off x="10607090" y="1257647"/>
              <a:ext cx="466294" cy="507929"/>
              <a:chOff x="3861" y="4291602"/>
              <a:chExt cx="112" cy="244433"/>
            </a:xfrm>
          </p:grpSpPr>
          <p:sp>
            <p:nvSpPr>
              <p:cNvPr id="55" name="Freeform 12">
                <a:extLst>
                  <a:ext uri="{FF2B5EF4-FFF2-40B4-BE49-F238E27FC236}">
                    <a16:creationId xmlns:a16="http://schemas.microsoft.com/office/drawing/2014/main" id="{51B17B92-1DEC-4B67-A13B-2C5CC53CC305}"/>
                  </a:ext>
                </a:extLst>
              </p:cNvPr>
              <p:cNvSpPr>
                <a:spLocks/>
              </p:cNvSpPr>
              <p:nvPr/>
            </p:nvSpPr>
            <p:spPr bwMode="auto">
              <a:xfrm>
                <a:off x="3861" y="4291602"/>
                <a:ext cx="112" cy="244433"/>
              </a:xfrm>
              <a:custGeom>
                <a:avLst/>
                <a:gdLst>
                  <a:gd name="T0" fmla="*/ 24 w 80"/>
                  <a:gd name="T1" fmla="*/ 36 h 88"/>
                  <a:gd name="T2" fmla="*/ 4 w 80"/>
                  <a:gd name="T3" fmla="*/ 74 h 88"/>
                  <a:gd name="T4" fmla="*/ 12 w 80"/>
                  <a:gd name="T5" fmla="*/ 88 h 88"/>
                  <a:gd name="T6" fmla="*/ 68 w 80"/>
                  <a:gd name="T7" fmla="*/ 88 h 88"/>
                  <a:gd name="T8" fmla="*/ 76 w 80"/>
                  <a:gd name="T9" fmla="*/ 74 h 88"/>
                  <a:gd name="T10" fmla="*/ 56 w 80"/>
                  <a:gd name="T11" fmla="*/ 36 h 88"/>
                  <a:gd name="T12" fmla="*/ 56 w 80"/>
                  <a:gd name="T13" fmla="*/ 0 h 88"/>
                  <a:gd name="T14" fmla="*/ 24 w 80"/>
                  <a:gd name="T15" fmla="*/ 0 h 88"/>
                  <a:gd name="T16" fmla="*/ 24 w 80"/>
                  <a:gd name="T1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88">
                    <a:moveTo>
                      <a:pt x="24" y="36"/>
                    </a:moveTo>
                    <a:cubicBezTo>
                      <a:pt x="4" y="74"/>
                      <a:pt x="4" y="74"/>
                      <a:pt x="4" y="74"/>
                    </a:cubicBezTo>
                    <a:cubicBezTo>
                      <a:pt x="0" y="80"/>
                      <a:pt x="5" y="88"/>
                      <a:pt x="12" y="88"/>
                    </a:cubicBezTo>
                    <a:cubicBezTo>
                      <a:pt x="68" y="88"/>
                      <a:pt x="68" y="88"/>
                      <a:pt x="68" y="88"/>
                    </a:cubicBezTo>
                    <a:cubicBezTo>
                      <a:pt x="75" y="88"/>
                      <a:pt x="80" y="80"/>
                      <a:pt x="76" y="74"/>
                    </a:cubicBezTo>
                    <a:cubicBezTo>
                      <a:pt x="56" y="36"/>
                      <a:pt x="56" y="36"/>
                      <a:pt x="56" y="36"/>
                    </a:cubicBezTo>
                    <a:cubicBezTo>
                      <a:pt x="56" y="0"/>
                      <a:pt x="56" y="0"/>
                      <a:pt x="56" y="0"/>
                    </a:cubicBezTo>
                    <a:cubicBezTo>
                      <a:pt x="24" y="0"/>
                      <a:pt x="24" y="0"/>
                      <a:pt x="24" y="0"/>
                    </a:cubicBezTo>
                    <a:lnTo>
                      <a:pt x="24" y="36"/>
                    </a:ln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6" name="Line 13">
                <a:extLst>
                  <a:ext uri="{FF2B5EF4-FFF2-40B4-BE49-F238E27FC236}">
                    <a16:creationId xmlns:a16="http://schemas.microsoft.com/office/drawing/2014/main" id="{51A9D88D-9F06-4DCD-9080-9B24E2CAE860}"/>
                  </a:ext>
                </a:extLst>
              </p:cNvPr>
              <p:cNvSpPr>
                <a:spLocks noChangeShapeType="1"/>
              </p:cNvSpPr>
              <p:nvPr/>
            </p:nvSpPr>
            <p:spPr bwMode="auto">
              <a:xfrm>
                <a:off x="3872" y="4469918"/>
                <a:ext cx="9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7" name="Line 14">
                <a:extLst>
                  <a:ext uri="{FF2B5EF4-FFF2-40B4-BE49-F238E27FC236}">
                    <a16:creationId xmlns:a16="http://schemas.microsoft.com/office/drawing/2014/main" id="{345A82A4-9375-440A-9148-C937A3EF0281}"/>
                  </a:ext>
                </a:extLst>
              </p:cNvPr>
              <p:cNvSpPr>
                <a:spLocks noChangeShapeType="1"/>
              </p:cNvSpPr>
              <p:nvPr/>
            </p:nvSpPr>
            <p:spPr bwMode="auto">
              <a:xfrm>
                <a:off x="3923" y="4335680"/>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8" name="Line 15">
                <a:extLst>
                  <a:ext uri="{FF2B5EF4-FFF2-40B4-BE49-F238E27FC236}">
                    <a16:creationId xmlns:a16="http://schemas.microsoft.com/office/drawing/2014/main" id="{DB8A8695-EF46-4F52-9878-15D663856E2D}"/>
                  </a:ext>
                </a:extLst>
              </p:cNvPr>
              <p:cNvSpPr>
                <a:spLocks noChangeShapeType="1"/>
              </p:cNvSpPr>
              <p:nvPr/>
            </p:nvSpPr>
            <p:spPr bwMode="auto">
              <a:xfrm>
                <a:off x="3923" y="4379758"/>
                <a:ext cx="16"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59" name="Line 16">
                <a:extLst>
                  <a:ext uri="{FF2B5EF4-FFF2-40B4-BE49-F238E27FC236}">
                    <a16:creationId xmlns:a16="http://schemas.microsoft.com/office/drawing/2014/main" id="{4BFE8332-8F29-46B5-889D-4B4827C956D1}"/>
                  </a:ext>
                </a:extLst>
              </p:cNvPr>
              <p:cNvSpPr>
                <a:spLocks noChangeShapeType="1"/>
              </p:cNvSpPr>
              <p:nvPr/>
            </p:nvSpPr>
            <p:spPr bwMode="auto">
              <a:xfrm>
                <a:off x="3923" y="4425840"/>
                <a:ext cx="2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60" name="Line 17">
                <a:extLst>
                  <a:ext uri="{FF2B5EF4-FFF2-40B4-BE49-F238E27FC236}">
                    <a16:creationId xmlns:a16="http://schemas.microsoft.com/office/drawing/2014/main" id="{F81A03AE-AA6B-4A87-ADDA-DA8C4F81E83F}"/>
                  </a:ext>
                </a:extLst>
              </p:cNvPr>
              <p:cNvSpPr>
                <a:spLocks noChangeShapeType="1"/>
              </p:cNvSpPr>
              <p:nvPr/>
            </p:nvSpPr>
            <p:spPr bwMode="auto">
              <a:xfrm>
                <a:off x="3883" y="4291602"/>
                <a:ext cx="68"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grpSp>
        <p:sp>
          <p:nvSpPr>
            <p:cNvPr id="54" name="Freeform 5">
              <a:extLst>
                <a:ext uri="{FF2B5EF4-FFF2-40B4-BE49-F238E27FC236}">
                  <a16:creationId xmlns:a16="http://schemas.microsoft.com/office/drawing/2014/main" id="{6199244C-9787-4977-9B93-535D3D4E81E0}"/>
                </a:ext>
              </a:extLst>
            </p:cNvPr>
            <p:cNvSpPr>
              <a:spLocks noEditPoints="1"/>
            </p:cNvSpPr>
            <p:nvPr/>
          </p:nvSpPr>
          <p:spPr bwMode="auto">
            <a:xfrm>
              <a:off x="10268712" y="1254226"/>
              <a:ext cx="517467" cy="57817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1" name="Group 60">
            <a:extLst>
              <a:ext uri="{FF2B5EF4-FFF2-40B4-BE49-F238E27FC236}">
                <a16:creationId xmlns:a16="http://schemas.microsoft.com/office/drawing/2014/main" id="{5CC51EA3-1D7C-4CDC-9952-D5D71237957B}"/>
              </a:ext>
            </a:extLst>
          </p:cNvPr>
          <p:cNvGrpSpPr/>
          <p:nvPr/>
        </p:nvGrpSpPr>
        <p:grpSpPr>
          <a:xfrm>
            <a:off x="11011926" y="2376878"/>
            <a:ext cx="565710" cy="384679"/>
            <a:chOff x="9151662" y="1184065"/>
            <a:chExt cx="554668" cy="377171"/>
          </a:xfrm>
        </p:grpSpPr>
        <p:grpSp>
          <p:nvGrpSpPr>
            <p:cNvPr id="62" name="Group 4">
              <a:extLst>
                <a:ext uri="{FF2B5EF4-FFF2-40B4-BE49-F238E27FC236}">
                  <a16:creationId xmlns:a16="http://schemas.microsoft.com/office/drawing/2014/main" id="{E719E779-476F-4CBC-824C-9C281AF46403}"/>
                </a:ext>
              </a:extLst>
            </p:cNvPr>
            <p:cNvGrpSpPr>
              <a:grpSpLocks noChangeAspect="1"/>
            </p:cNvGrpSpPr>
            <p:nvPr/>
          </p:nvGrpSpPr>
          <p:grpSpPr bwMode="auto">
            <a:xfrm>
              <a:off x="9396633" y="1190427"/>
              <a:ext cx="309697" cy="302323"/>
              <a:chOff x="1759" y="236"/>
              <a:chExt cx="252" cy="246"/>
            </a:xfrm>
            <a:noFill/>
          </p:grpSpPr>
          <p:sp>
            <p:nvSpPr>
              <p:cNvPr id="64" name="Freeform 5">
                <a:extLst>
                  <a:ext uri="{FF2B5EF4-FFF2-40B4-BE49-F238E27FC236}">
                    <a16:creationId xmlns:a16="http://schemas.microsoft.com/office/drawing/2014/main" id="{2A45DAF5-7944-4336-A77B-4A6C1061F01E}"/>
                  </a:ext>
                </a:extLst>
              </p:cNvPr>
              <p:cNvSpPr>
                <a:spLocks/>
              </p:cNvSpPr>
              <p:nvPr/>
            </p:nvSpPr>
            <p:spPr bwMode="auto">
              <a:xfrm>
                <a:off x="1759" y="236"/>
                <a:ext cx="252"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5" name="Rectangle 6">
                <a:extLst>
                  <a:ext uri="{FF2B5EF4-FFF2-40B4-BE49-F238E27FC236}">
                    <a16:creationId xmlns:a16="http://schemas.microsoft.com/office/drawing/2014/main" id="{422292CE-5FEF-4C01-B13E-BD3763FD382C}"/>
                  </a:ext>
                </a:extLst>
              </p:cNvPr>
              <p:cNvSpPr>
                <a:spLocks noChangeArrowheads="1"/>
              </p:cNvSpPr>
              <p:nvPr/>
            </p:nvSpPr>
            <p:spPr bwMode="auto">
              <a:xfrm>
                <a:off x="1799" y="376"/>
                <a:ext cx="32" cy="106"/>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6" name="Rectangle 7">
                <a:extLst>
                  <a:ext uri="{FF2B5EF4-FFF2-40B4-BE49-F238E27FC236}">
                    <a16:creationId xmlns:a16="http://schemas.microsoft.com/office/drawing/2014/main" id="{F62F26E2-535B-475A-B61F-5E0573344A97}"/>
                  </a:ext>
                </a:extLst>
              </p:cNvPr>
              <p:cNvSpPr>
                <a:spLocks noChangeArrowheads="1"/>
              </p:cNvSpPr>
              <p:nvPr/>
            </p:nvSpPr>
            <p:spPr bwMode="auto">
              <a:xfrm>
                <a:off x="1862" y="283"/>
                <a:ext cx="33" cy="199"/>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sp>
            <p:nvSpPr>
              <p:cNvPr id="67" name="Rectangle 8">
                <a:extLst>
                  <a:ext uri="{FF2B5EF4-FFF2-40B4-BE49-F238E27FC236}">
                    <a16:creationId xmlns:a16="http://schemas.microsoft.com/office/drawing/2014/main" id="{820AE1B6-59EC-456A-97B4-E9513426661E}"/>
                  </a:ext>
                </a:extLst>
              </p:cNvPr>
              <p:cNvSpPr>
                <a:spLocks noChangeArrowheads="1"/>
              </p:cNvSpPr>
              <p:nvPr/>
            </p:nvSpPr>
            <p:spPr bwMode="auto">
              <a:xfrm>
                <a:off x="1926" y="324"/>
                <a:ext cx="33" cy="158"/>
              </a:xfrm>
              <a:prstGeom prst="rect">
                <a:avLst/>
              </a:prstGeom>
              <a:grpFill/>
              <a:ln w="12700" cap="flat">
                <a:solidFill>
                  <a:schemeClr val="tx2"/>
                </a:solidFill>
                <a:prstDash val="solid"/>
                <a:miter lim="800000"/>
                <a:headEnd/>
                <a:tailEnd/>
              </a:ln>
              <a:extLst/>
            </p:spPr>
            <p:txBody>
              <a:bodyPr vert="horz" wrap="square" lIns="73863" tIns="36932" rIns="73863" bIns="36932"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962" b="0" i="0" u="none" strike="noStrike" kern="0" cap="none" spc="0" normalizeH="0" baseline="0" noProof="0">
                  <a:ln>
                    <a:noFill/>
                  </a:ln>
                  <a:solidFill>
                    <a:srgbClr val="505050"/>
                  </a:solidFill>
                  <a:effectLst/>
                  <a:uLnTx/>
                  <a:uFillTx/>
                  <a:latin typeface="Segoe UI Semilight"/>
                  <a:ea typeface="+mn-ea"/>
                  <a:cs typeface="+mn-cs"/>
                </a:endParaRPr>
              </a:p>
            </p:txBody>
          </p:sp>
        </p:grpSp>
        <p:sp>
          <p:nvSpPr>
            <p:cNvPr id="63" name="Freeform 5">
              <a:extLst>
                <a:ext uri="{FF2B5EF4-FFF2-40B4-BE49-F238E27FC236}">
                  <a16:creationId xmlns:a16="http://schemas.microsoft.com/office/drawing/2014/main" id="{963DB6C4-6E58-47CE-8369-8F137046D8F6}"/>
                </a:ext>
              </a:extLst>
            </p:cNvPr>
            <p:cNvSpPr>
              <a:spLocks noEditPoints="1"/>
            </p:cNvSpPr>
            <p:nvPr/>
          </p:nvSpPr>
          <p:spPr bwMode="auto">
            <a:xfrm>
              <a:off x="9151662" y="1184065"/>
              <a:ext cx="337570" cy="377171"/>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solidFill>
              <a:schemeClr val="bg1"/>
            </a:solidFill>
            <a:ln w="12700" cap="flat">
              <a:solidFill>
                <a:schemeClr val="tx2"/>
              </a:solidFill>
              <a:prstDash val="solid"/>
              <a:miter lim="800000"/>
              <a:headEnd/>
              <a:tailEnd/>
            </a:ln>
            <a:extLst/>
          </p:spPr>
          <p:txBody>
            <a:bodyPr vert="horz" wrap="square" lIns="93260" tIns="46630" rIns="93260" bIns="46630" numCol="1" anchor="t" anchorCtr="0" compatLnSpc="1">
              <a:prstTxWarp prst="textNoShape">
                <a:avLst/>
              </a:prstTxWarp>
            </a:bodyPr>
            <a:lstStyle/>
            <a:p>
              <a:pPr marL="0" marR="0" lvl="0" indent="0" algn="l" defTabSz="95130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Semilight"/>
                <a:ea typeface="+mn-ea"/>
                <a:cs typeface="+mn-cs"/>
              </a:endParaRPr>
            </a:p>
          </p:txBody>
        </p:sp>
      </p:grpSp>
      <p:cxnSp>
        <p:nvCxnSpPr>
          <p:cNvPr id="68" name="Straight Arrow Connector 67">
            <a:extLst>
              <a:ext uri="{FF2B5EF4-FFF2-40B4-BE49-F238E27FC236}">
                <a16:creationId xmlns:a16="http://schemas.microsoft.com/office/drawing/2014/main" id="{E3182D63-0375-418C-B636-62903EE409DB}"/>
              </a:ext>
            </a:extLst>
          </p:cNvPr>
          <p:cNvCxnSpPr/>
          <p:nvPr/>
        </p:nvCxnSpPr>
        <p:spPr>
          <a:xfrm>
            <a:off x="7377239" y="2874524"/>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01FC8B63-7DD8-48C7-9CC2-FE3A5F5CF00C}"/>
              </a:ext>
            </a:extLst>
          </p:cNvPr>
          <p:cNvCxnSpPr/>
          <p:nvPr/>
        </p:nvCxnSpPr>
        <p:spPr>
          <a:xfrm>
            <a:off x="9605124" y="2884365"/>
            <a:ext cx="90958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A71BC3AD-5C1C-4965-BF44-9DC03BA383A8}"/>
              </a:ext>
            </a:extLst>
          </p:cNvPr>
          <p:cNvSpPr/>
          <p:nvPr/>
        </p:nvSpPr>
        <p:spPr>
          <a:xfrm>
            <a:off x="8112812" y="4330785"/>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JOB SCHEDULER</a:t>
            </a:r>
          </a:p>
        </p:txBody>
      </p:sp>
      <p:sp>
        <p:nvSpPr>
          <p:cNvPr id="71" name="Rectangle 70">
            <a:extLst>
              <a:ext uri="{FF2B5EF4-FFF2-40B4-BE49-F238E27FC236}">
                <a16:creationId xmlns:a16="http://schemas.microsoft.com/office/drawing/2014/main" id="{E1D58392-90CE-4557-9B3D-4051BA2BA65D}"/>
              </a:ext>
            </a:extLst>
          </p:cNvPr>
          <p:cNvSpPr/>
          <p:nvPr/>
        </p:nvSpPr>
        <p:spPr>
          <a:xfrm>
            <a:off x="10318681" y="4335654"/>
            <a:ext cx="1641651"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NOTIFICATION &amp; LOGS</a:t>
            </a:r>
          </a:p>
        </p:txBody>
      </p:sp>
      <p:sp>
        <p:nvSpPr>
          <p:cNvPr id="72" name="Rectangle 71">
            <a:extLst>
              <a:ext uri="{FF2B5EF4-FFF2-40B4-BE49-F238E27FC236}">
                <a16:creationId xmlns:a16="http://schemas.microsoft.com/office/drawing/2014/main" id="{C5F154EE-AAEF-4873-95E9-16F0B6E498A0}"/>
              </a:ext>
            </a:extLst>
          </p:cNvPr>
          <p:cNvSpPr/>
          <p:nvPr/>
        </p:nvSpPr>
        <p:spPr>
          <a:xfrm>
            <a:off x="8367215" y="2793234"/>
            <a:ext cx="1197349"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DATA SCIENTIST</a:t>
            </a:r>
          </a:p>
        </p:txBody>
      </p:sp>
      <p:sp>
        <p:nvSpPr>
          <p:cNvPr id="73" name="Rectangle 72">
            <a:extLst>
              <a:ext uri="{FF2B5EF4-FFF2-40B4-BE49-F238E27FC236}">
                <a16:creationId xmlns:a16="http://schemas.microsoft.com/office/drawing/2014/main" id="{B4349929-C951-465B-A6FA-A07081ECCE38}"/>
              </a:ext>
            </a:extLst>
          </p:cNvPr>
          <p:cNvSpPr/>
          <p:nvPr/>
        </p:nvSpPr>
        <p:spPr>
          <a:xfrm>
            <a:off x="10680930" y="2780007"/>
            <a:ext cx="1441963" cy="254262"/>
          </a:xfrm>
          <a:prstGeom prst="rect">
            <a:avLst/>
          </a:prstGeom>
        </p:spPr>
        <p:txBody>
          <a:bodyPr wrap="square">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020" b="1" i="0" u="none" strike="noStrike" kern="1200" cap="none" spc="0" normalizeH="0" baseline="0" noProof="0" dirty="0">
                <a:ln>
                  <a:noFill/>
                </a:ln>
                <a:solidFill>
                  <a:srgbClr val="505050"/>
                </a:solidFill>
                <a:effectLst/>
                <a:uLnTx/>
                <a:uFillTx/>
                <a:latin typeface="Segoe UI Semibold" charset="0"/>
                <a:ea typeface="Segoe UI Semibold" charset="0"/>
                <a:cs typeface="Segoe UI Semibold" charset="0"/>
              </a:rPr>
              <a:t>BUSINESS ANALYST</a:t>
            </a:r>
          </a:p>
        </p:txBody>
      </p:sp>
      <p:sp>
        <p:nvSpPr>
          <p:cNvPr id="74" name="Oval 73">
            <a:extLst>
              <a:ext uri="{FF2B5EF4-FFF2-40B4-BE49-F238E27FC236}">
                <a16:creationId xmlns:a16="http://schemas.microsoft.com/office/drawing/2014/main" id="{A3D8528F-0E8E-4E93-8988-5A4C6479D828}"/>
              </a:ext>
            </a:extLst>
          </p:cNvPr>
          <p:cNvSpPr/>
          <p:nvPr/>
        </p:nvSpPr>
        <p:spPr>
          <a:xfrm>
            <a:off x="6073533" y="3927119"/>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5" name="Oval 74">
            <a:extLst>
              <a:ext uri="{FF2B5EF4-FFF2-40B4-BE49-F238E27FC236}">
                <a16:creationId xmlns:a16="http://schemas.microsoft.com/office/drawing/2014/main" id="{08BCD411-2036-4272-894D-42EC02F2C1F9}"/>
              </a:ext>
            </a:extLst>
          </p:cNvPr>
          <p:cNvSpPr/>
          <p:nvPr/>
        </p:nvSpPr>
        <p:spPr>
          <a:xfrm>
            <a:off x="6609716" y="3923648"/>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76" name="Oval 75">
            <a:extLst>
              <a:ext uri="{FF2B5EF4-FFF2-40B4-BE49-F238E27FC236}">
                <a16:creationId xmlns:a16="http://schemas.microsoft.com/office/drawing/2014/main" id="{CC09A09C-F6BE-415A-94CB-4806423755C1}"/>
              </a:ext>
            </a:extLst>
          </p:cNvPr>
          <p:cNvSpPr/>
          <p:nvPr/>
        </p:nvSpPr>
        <p:spPr>
          <a:xfrm>
            <a:off x="7108378" y="3923647"/>
            <a:ext cx="279894" cy="279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77" name="Straight Arrow Connector 76">
            <a:extLst>
              <a:ext uri="{FF2B5EF4-FFF2-40B4-BE49-F238E27FC236}">
                <a16:creationId xmlns:a16="http://schemas.microsoft.com/office/drawing/2014/main" id="{F021E977-5DF8-4327-9F51-B0B69032470E}"/>
              </a:ext>
            </a:extLst>
          </p:cNvPr>
          <p:cNvCxnSpPr>
            <a:cxnSpLocks/>
          </p:cNvCxnSpPr>
          <p:nvPr/>
        </p:nvCxnSpPr>
        <p:spPr>
          <a:xfrm>
            <a:off x="6353427" y="4063593"/>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4C970AAF-1DC3-4864-B5DC-0D17E19AA95F}"/>
              </a:ext>
            </a:extLst>
          </p:cNvPr>
          <p:cNvCxnSpPr>
            <a:cxnSpLocks/>
          </p:cNvCxnSpPr>
          <p:nvPr/>
        </p:nvCxnSpPr>
        <p:spPr>
          <a:xfrm>
            <a:off x="6889610" y="4054807"/>
            <a:ext cx="2356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9" name="Graphic 78" descr="Clock">
            <a:extLst>
              <a:ext uri="{FF2B5EF4-FFF2-40B4-BE49-F238E27FC236}">
                <a16:creationId xmlns:a16="http://schemas.microsoft.com/office/drawing/2014/main" id="{61A1FD42-5316-4C9A-A778-8D05A32823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63134" y="3790724"/>
            <a:ext cx="557579" cy="557579"/>
          </a:xfrm>
          <a:prstGeom prst="rect">
            <a:avLst/>
          </a:prstGeom>
        </p:spPr>
      </p:pic>
      <p:pic>
        <p:nvPicPr>
          <p:cNvPr id="80" name="Graphic 79" descr="Warning">
            <a:extLst>
              <a:ext uri="{FF2B5EF4-FFF2-40B4-BE49-F238E27FC236}">
                <a16:creationId xmlns:a16="http://schemas.microsoft.com/office/drawing/2014/main" id="{28065527-2315-41E0-824E-ED5BE58E55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00557" y="3830060"/>
            <a:ext cx="502837" cy="502837"/>
          </a:xfrm>
          <a:prstGeom prst="rect">
            <a:avLst/>
          </a:prstGeom>
        </p:spPr>
      </p:pic>
    </p:spTree>
    <p:extLst>
      <p:ext uri="{BB962C8B-B14F-4D97-AF65-F5344CB8AC3E}">
        <p14:creationId xmlns:p14="http://schemas.microsoft.com/office/powerpoint/2010/main" val="169535343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2115B9-B3F0-42B4-8D4D-8D9E9ED826EE}"/>
              </a:ext>
            </a:extLst>
          </p:cNvPr>
          <p:cNvPicPr>
            <a:picLocks noChangeAspect="1"/>
          </p:cNvPicPr>
          <p:nvPr/>
        </p:nvPicPr>
        <p:blipFill>
          <a:blip r:embed="rId3"/>
          <a:stretch>
            <a:fillRect/>
          </a:stretch>
        </p:blipFill>
        <p:spPr>
          <a:xfrm>
            <a:off x="888439" y="1481038"/>
            <a:ext cx="11258797" cy="4639344"/>
          </a:xfrm>
          <a:prstGeom prst="rect">
            <a:avLst/>
          </a:prstGeom>
        </p:spPr>
      </p:pic>
      <p:sp>
        <p:nvSpPr>
          <p:cNvPr id="2" name="Title 1">
            <a:extLst>
              <a:ext uri="{FF2B5EF4-FFF2-40B4-BE49-F238E27FC236}">
                <a16:creationId xmlns:a16="http://schemas.microsoft.com/office/drawing/2014/main" id="{F188B958-FB9B-46F0-A681-32731DE8697B}"/>
              </a:ext>
            </a:extLst>
          </p:cNvPr>
          <p:cNvSpPr>
            <a:spLocks noGrp="1"/>
          </p:cNvSpPr>
          <p:nvPr>
            <p:ph type="title"/>
          </p:nvPr>
        </p:nvSpPr>
        <p:spPr/>
        <p:txBody>
          <a:bodyPr/>
          <a:lstStyle/>
          <a:p>
            <a:r>
              <a:rPr lang="en-US" dirty="0"/>
              <a:t>Demo Architecture</a:t>
            </a:r>
          </a:p>
        </p:txBody>
      </p:sp>
      <p:sp>
        <p:nvSpPr>
          <p:cNvPr id="5" name="Freeform: Shape 4">
            <a:extLst>
              <a:ext uri="{FF2B5EF4-FFF2-40B4-BE49-F238E27FC236}">
                <a16:creationId xmlns:a16="http://schemas.microsoft.com/office/drawing/2014/main" id="{483D8305-B1A4-444E-8362-5DCB4AA143A6}"/>
              </a:ext>
            </a:extLst>
          </p:cNvPr>
          <p:cNvSpPr/>
          <p:nvPr/>
        </p:nvSpPr>
        <p:spPr bwMode="auto">
          <a:xfrm>
            <a:off x="1181100" y="3780278"/>
            <a:ext cx="4572000" cy="1642622"/>
          </a:xfrm>
          <a:custGeom>
            <a:avLst/>
            <a:gdLst>
              <a:gd name="connsiteX0" fmla="*/ 12700 w 4572000"/>
              <a:gd name="connsiteY0" fmla="*/ 131322 h 1642622"/>
              <a:gd name="connsiteX1" fmla="*/ 165100 w 4572000"/>
              <a:gd name="connsiteY1" fmla="*/ 93222 h 1642622"/>
              <a:gd name="connsiteX2" fmla="*/ 203200 w 4572000"/>
              <a:gd name="connsiteY2" fmla="*/ 80522 h 1642622"/>
              <a:gd name="connsiteX3" fmla="*/ 444500 w 4572000"/>
              <a:gd name="connsiteY3" fmla="*/ 55122 h 1642622"/>
              <a:gd name="connsiteX4" fmla="*/ 1485900 w 4572000"/>
              <a:gd name="connsiteY4" fmla="*/ 29722 h 1642622"/>
              <a:gd name="connsiteX5" fmla="*/ 1816100 w 4572000"/>
              <a:gd name="connsiteY5" fmla="*/ 17022 h 1642622"/>
              <a:gd name="connsiteX6" fmla="*/ 3670300 w 4572000"/>
              <a:gd name="connsiteY6" fmla="*/ 29722 h 1642622"/>
              <a:gd name="connsiteX7" fmla="*/ 3822700 w 4572000"/>
              <a:gd name="connsiteY7" fmla="*/ 55122 h 1642622"/>
              <a:gd name="connsiteX8" fmla="*/ 3911600 w 4572000"/>
              <a:gd name="connsiteY8" fmla="*/ 67822 h 1642622"/>
              <a:gd name="connsiteX9" fmla="*/ 3949700 w 4572000"/>
              <a:gd name="connsiteY9" fmla="*/ 80522 h 1642622"/>
              <a:gd name="connsiteX10" fmla="*/ 4114800 w 4572000"/>
              <a:gd name="connsiteY10" fmla="*/ 105922 h 1642622"/>
              <a:gd name="connsiteX11" fmla="*/ 4165600 w 4572000"/>
              <a:gd name="connsiteY11" fmla="*/ 131322 h 1642622"/>
              <a:gd name="connsiteX12" fmla="*/ 4241800 w 4572000"/>
              <a:gd name="connsiteY12" fmla="*/ 182122 h 1642622"/>
              <a:gd name="connsiteX13" fmla="*/ 4343400 w 4572000"/>
              <a:gd name="connsiteY13" fmla="*/ 245622 h 1642622"/>
              <a:gd name="connsiteX14" fmla="*/ 4406900 w 4572000"/>
              <a:gd name="connsiteY14" fmla="*/ 321822 h 1642622"/>
              <a:gd name="connsiteX15" fmla="*/ 4419600 w 4572000"/>
              <a:gd name="connsiteY15" fmla="*/ 359922 h 1642622"/>
              <a:gd name="connsiteX16" fmla="*/ 4457700 w 4572000"/>
              <a:gd name="connsiteY16" fmla="*/ 385322 h 1642622"/>
              <a:gd name="connsiteX17" fmla="*/ 4470400 w 4572000"/>
              <a:gd name="connsiteY17" fmla="*/ 423422 h 1642622"/>
              <a:gd name="connsiteX18" fmla="*/ 4495800 w 4572000"/>
              <a:gd name="connsiteY18" fmla="*/ 525022 h 1642622"/>
              <a:gd name="connsiteX19" fmla="*/ 4521200 w 4572000"/>
              <a:gd name="connsiteY19" fmla="*/ 563122 h 1642622"/>
              <a:gd name="connsiteX20" fmla="*/ 4559300 w 4572000"/>
              <a:gd name="connsiteY20" fmla="*/ 677422 h 1642622"/>
              <a:gd name="connsiteX21" fmla="*/ 4572000 w 4572000"/>
              <a:gd name="connsiteY21" fmla="*/ 715522 h 1642622"/>
              <a:gd name="connsiteX22" fmla="*/ 4559300 w 4572000"/>
              <a:gd name="connsiteY22" fmla="*/ 880622 h 1642622"/>
              <a:gd name="connsiteX23" fmla="*/ 4521200 w 4572000"/>
              <a:gd name="connsiteY23" fmla="*/ 956822 h 1642622"/>
              <a:gd name="connsiteX24" fmla="*/ 4508500 w 4572000"/>
              <a:gd name="connsiteY24" fmla="*/ 994922 h 1642622"/>
              <a:gd name="connsiteX25" fmla="*/ 4483100 w 4572000"/>
              <a:gd name="connsiteY25" fmla="*/ 1045722 h 1642622"/>
              <a:gd name="connsiteX26" fmla="*/ 4470400 w 4572000"/>
              <a:gd name="connsiteY26" fmla="*/ 1083822 h 1642622"/>
              <a:gd name="connsiteX27" fmla="*/ 4445000 w 4572000"/>
              <a:gd name="connsiteY27" fmla="*/ 1134622 h 1642622"/>
              <a:gd name="connsiteX28" fmla="*/ 4381500 w 4572000"/>
              <a:gd name="connsiteY28" fmla="*/ 1223522 h 1642622"/>
              <a:gd name="connsiteX29" fmla="*/ 4279900 w 4572000"/>
              <a:gd name="connsiteY29" fmla="*/ 1337822 h 1642622"/>
              <a:gd name="connsiteX30" fmla="*/ 4216400 w 4572000"/>
              <a:gd name="connsiteY30" fmla="*/ 1375922 h 1642622"/>
              <a:gd name="connsiteX31" fmla="*/ 4178300 w 4572000"/>
              <a:gd name="connsiteY31" fmla="*/ 1388622 h 1642622"/>
              <a:gd name="connsiteX32" fmla="*/ 4089400 w 4572000"/>
              <a:gd name="connsiteY32" fmla="*/ 1439422 h 1642622"/>
              <a:gd name="connsiteX33" fmla="*/ 4051300 w 4572000"/>
              <a:gd name="connsiteY33" fmla="*/ 1452122 h 1642622"/>
              <a:gd name="connsiteX34" fmla="*/ 4013200 w 4572000"/>
              <a:gd name="connsiteY34" fmla="*/ 1477522 h 1642622"/>
              <a:gd name="connsiteX35" fmla="*/ 3937000 w 4572000"/>
              <a:gd name="connsiteY35" fmla="*/ 1502922 h 1642622"/>
              <a:gd name="connsiteX36" fmla="*/ 3886200 w 4572000"/>
              <a:gd name="connsiteY36" fmla="*/ 1528322 h 1642622"/>
              <a:gd name="connsiteX37" fmla="*/ 3810000 w 4572000"/>
              <a:gd name="connsiteY37" fmla="*/ 1579122 h 1642622"/>
              <a:gd name="connsiteX38" fmla="*/ 3746500 w 4572000"/>
              <a:gd name="connsiteY38" fmla="*/ 1591822 h 1642622"/>
              <a:gd name="connsiteX39" fmla="*/ 3683000 w 4572000"/>
              <a:gd name="connsiteY39" fmla="*/ 1617222 h 1642622"/>
              <a:gd name="connsiteX40" fmla="*/ 3556000 w 4572000"/>
              <a:gd name="connsiteY40" fmla="*/ 1629922 h 1642622"/>
              <a:gd name="connsiteX41" fmla="*/ 3479800 w 4572000"/>
              <a:gd name="connsiteY41" fmla="*/ 1642622 h 1642622"/>
              <a:gd name="connsiteX42" fmla="*/ 1117600 w 4572000"/>
              <a:gd name="connsiteY42" fmla="*/ 1629922 h 1642622"/>
              <a:gd name="connsiteX43" fmla="*/ 965200 w 4572000"/>
              <a:gd name="connsiteY43" fmla="*/ 1591822 h 1642622"/>
              <a:gd name="connsiteX44" fmla="*/ 889000 w 4572000"/>
              <a:gd name="connsiteY44" fmla="*/ 1566422 h 1642622"/>
              <a:gd name="connsiteX45" fmla="*/ 850900 w 4572000"/>
              <a:gd name="connsiteY45" fmla="*/ 1553722 h 1642622"/>
              <a:gd name="connsiteX46" fmla="*/ 800100 w 4572000"/>
              <a:gd name="connsiteY46" fmla="*/ 1528322 h 1642622"/>
              <a:gd name="connsiteX47" fmla="*/ 762000 w 4572000"/>
              <a:gd name="connsiteY47" fmla="*/ 1515622 h 1642622"/>
              <a:gd name="connsiteX48" fmla="*/ 723900 w 4572000"/>
              <a:gd name="connsiteY48" fmla="*/ 1490222 h 1642622"/>
              <a:gd name="connsiteX49" fmla="*/ 647700 w 4572000"/>
              <a:gd name="connsiteY49" fmla="*/ 1464822 h 1642622"/>
              <a:gd name="connsiteX50" fmla="*/ 571500 w 4572000"/>
              <a:gd name="connsiteY50" fmla="*/ 1439422 h 1642622"/>
              <a:gd name="connsiteX51" fmla="*/ 533400 w 4572000"/>
              <a:gd name="connsiteY51" fmla="*/ 1426722 h 1642622"/>
              <a:gd name="connsiteX52" fmla="*/ 495300 w 4572000"/>
              <a:gd name="connsiteY52" fmla="*/ 1401322 h 1642622"/>
              <a:gd name="connsiteX53" fmla="*/ 469900 w 4572000"/>
              <a:gd name="connsiteY53" fmla="*/ 1363222 h 1642622"/>
              <a:gd name="connsiteX54" fmla="*/ 431800 w 4572000"/>
              <a:gd name="connsiteY54" fmla="*/ 1337822 h 1642622"/>
              <a:gd name="connsiteX55" fmla="*/ 381000 w 4572000"/>
              <a:gd name="connsiteY55" fmla="*/ 1299722 h 1642622"/>
              <a:gd name="connsiteX56" fmla="*/ 304800 w 4572000"/>
              <a:gd name="connsiteY56" fmla="*/ 1248922 h 1642622"/>
              <a:gd name="connsiteX57" fmla="*/ 228600 w 4572000"/>
              <a:gd name="connsiteY57" fmla="*/ 1198122 h 1642622"/>
              <a:gd name="connsiteX58" fmla="*/ 177800 w 4572000"/>
              <a:gd name="connsiteY58" fmla="*/ 1147322 h 1642622"/>
              <a:gd name="connsiteX59" fmla="*/ 165100 w 4572000"/>
              <a:gd name="connsiteY59" fmla="*/ 1109222 h 1642622"/>
              <a:gd name="connsiteX60" fmla="*/ 114300 w 4572000"/>
              <a:gd name="connsiteY60" fmla="*/ 1033022 h 1642622"/>
              <a:gd name="connsiteX61" fmla="*/ 50800 w 4572000"/>
              <a:gd name="connsiteY61" fmla="*/ 944122 h 1642622"/>
              <a:gd name="connsiteX62" fmla="*/ 12700 w 4572000"/>
              <a:gd name="connsiteY62" fmla="*/ 829822 h 1642622"/>
              <a:gd name="connsiteX63" fmla="*/ 0 w 4572000"/>
              <a:gd name="connsiteY63" fmla="*/ 791722 h 1642622"/>
              <a:gd name="connsiteX64" fmla="*/ 12700 w 4572000"/>
              <a:gd name="connsiteY64" fmla="*/ 601222 h 1642622"/>
              <a:gd name="connsiteX65" fmla="*/ 25400 w 4572000"/>
              <a:gd name="connsiteY65" fmla="*/ 182122 h 1642622"/>
              <a:gd name="connsiteX66" fmla="*/ 101600 w 4572000"/>
              <a:gd name="connsiteY66" fmla="*/ 169422 h 1642622"/>
              <a:gd name="connsiteX67" fmla="*/ 114300 w 4572000"/>
              <a:gd name="connsiteY67" fmla="*/ 156722 h 16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572000" h="1642622">
                <a:moveTo>
                  <a:pt x="12700" y="131322"/>
                </a:moveTo>
                <a:cubicBezTo>
                  <a:pt x="309688" y="46468"/>
                  <a:pt x="-59830" y="149454"/>
                  <a:pt x="165100" y="93222"/>
                </a:cubicBezTo>
                <a:cubicBezTo>
                  <a:pt x="178087" y="89975"/>
                  <a:pt x="189936" y="82331"/>
                  <a:pt x="203200" y="80522"/>
                </a:cubicBezTo>
                <a:cubicBezTo>
                  <a:pt x="283336" y="69594"/>
                  <a:pt x="444500" y="55122"/>
                  <a:pt x="444500" y="55122"/>
                </a:cubicBezTo>
                <a:cubicBezTo>
                  <a:pt x="800724" y="-63619"/>
                  <a:pt x="448545" y="49481"/>
                  <a:pt x="1485900" y="29722"/>
                </a:cubicBezTo>
                <a:cubicBezTo>
                  <a:pt x="1596028" y="27624"/>
                  <a:pt x="1706033" y="21255"/>
                  <a:pt x="1816100" y="17022"/>
                </a:cubicBezTo>
                <a:lnTo>
                  <a:pt x="3670300" y="29722"/>
                </a:lnTo>
                <a:cubicBezTo>
                  <a:pt x="3715338" y="30311"/>
                  <a:pt x="3776886" y="47486"/>
                  <a:pt x="3822700" y="55122"/>
                </a:cubicBezTo>
                <a:cubicBezTo>
                  <a:pt x="3852227" y="60043"/>
                  <a:pt x="3881967" y="63589"/>
                  <a:pt x="3911600" y="67822"/>
                </a:cubicBezTo>
                <a:cubicBezTo>
                  <a:pt x="3924300" y="72055"/>
                  <a:pt x="3936713" y="77275"/>
                  <a:pt x="3949700" y="80522"/>
                </a:cubicBezTo>
                <a:cubicBezTo>
                  <a:pt x="4007880" y="95067"/>
                  <a:pt x="4053108" y="98211"/>
                  <a:pt x="4114800" y="105922"/>
                </a:cubicBezTo>
                <a:cubicBezTo>
                  <a:pt x="4131733" y="114389"/>
                  <a:pt x="4149366" y="121582"/>
                  <a:pt x="4165600" y="131322"/>
                </a:cubicBezTo>
                <a:cubicBezTo>
                  <a:pt x="4191777" y="147028"/>
                  <a:pt x="4214496" y="168470"/>
                  <a:pt x="4241800" y="182122"/>
                </a:cubicBezTo>
                <a:cubicBezTo>
                  <a:pt x="4293837" y="208140"/>
                  <a:pt x="4297238" y="206055"/>
                  <a:pt x="4343400" y="245622"/>
                </a:cubicBezTo>
                <a:cubicBezTo>
                  <a:pt x="4367976" y="266688"/>
                  <a:pt x="4392202" y="292427"/>
                  <a:pt x="4406900" y="321822"/>
                </a:cubicBezTo>
                <a:cubicBezTo>
                  <a:pt x="4412887" y="333796"/>
                  <a:pt x="4411237" y="349469"/>
                  <a:pt x="4419600" y="359922"/>
                </a:cubicBezTo>
                <a:cubicBezTo>
                  <a:pt x="4429135" y="371841"/>
                  <a:pt x="4445000" y="376855"/>
                  <a:pt x="4457700" y="385322"/>
                </a:cubicBezTo>
                <a:cubicBezTo>
                  <a:pt x="4461933" y="398022"/>
                  <a:pt x="4467153" y="410435"/>
                  <a:pt x="4470400" y="423422"/>
                </a:cubicBezTo>
                <a:cubicBezTo>
                  <a:pt x="4477646" y="452405"/>
                  <a:pt x="4481285" y="495992"/>
                  <a:pt x="4495800" y="525022"/>
                </a:cubicBezTo>
                <a:cubicBezTo>
                  <a:pt x="4502626" y="538674"/>
                  <a:pt x="4515001" y="549174"/>
                  <a:pt x="4521200" y="563122"/>
                </a:cubicBezTo>
                <a:lnTo>
                  <a:pt x="4559300" y="677422"/>
                </a:lnTo>
                <a:lnTo>
                  <a:pt x="4572000" y="715522"/>
                </a:lnTo>
                <a:cubicBezTo>
                  <a:pt x="4567767" y="770555"/>
                  <a:pt x="4566146" y="825852"/>
                  <a:pt x="4559300" y="880622"/>
                </a:cubicBezTo>
                <a:cubicBezTo>
                  <a:pt x="4553980" y="923184"/>
                  <a:pt x="4540108" y="919005"/>
                  <a:pt x="4521200" y="956822"/>
                </a:cubicBezTo>
                <a:cubicBezTo>
                  <a:pt x="4515213" y="968796"/>
                  <a:pt x="4513773" y="982617"/>
                  <a:pt x="4508500" y="994922"/>
                </a:cubicBezTo>
                <a:cubicBezTo>
                  <a:pt x="4501042" y="1012323"/>
                  <a:pt x="4490558" y="1028321"/>
                  <a:pt x="4483100" y="1045722"/>
                </a:cubicBezTo>
                <a:cubicBezTo>
                  <a:pt x="4477827" y="1058027"/>
                  <a:pt x="4475673" y="1071517"/>
                  <a:pt x="4470400" y="1083822"/>
                </a:cubicBezTo>
                <a:cubicBezTo>
                  <a:pt x="4462942" y="1101223"/>
                  <a:pt x="4454393" y="1118184"/>
                  <a:pt x="4445000" y="1134622"/>
                </a:cubicBezTo>
                <a:cubicBezTo>
                  <a:pt x="4427897" y="1164552"/>
                  <a:pt x="4400970" y="1196264"/>
                  <a:pt x="4381500" y="1223522"/>
                </a:cubicBezTo>
                <a:cubicBezTo>
                  <a:pt x="4348991" y="1269034"/>
                  <a:pt x="4336730" y="1303724"/>
                  <a:pt x="4279900" y="1337822"/>
                </a:cubicBezTo>
                <a:cubicBezTo>
                  <a:pt x="4258733" y="1350522"/>
                  <a:pt x="4238478" y="1364883"/>
                  <a:pt x="4216400" y="1375922"/>
                </a:cubicBezTo>
                <a:cubicBezTo>
                  <a:pt x="4204426" y="1381909"/>
                  <a:pt x="4190274" y="1382635"/>
                  <a:pt x="4178300" y="1388622"/>
                </a:cubicBezTo>
                <a:cubicBezTo>
                  <a:pt x="4050755" y="1452395"/>
                  <a:pt x="4245257" y="1372626"/>
                  <a:pt x="4089400" y="1439422"/>
                </a:cubicBezTo>
                <a:cubicBezTo>
                  <a:pt x="4077095" y="1444695"/>
                  <a:pt x="4063274" y="1446135"/>
                  <a:pt x="4051300" y="1452122"/>
                </a:cubicBezTo>
                <a:cubicBezTo>
                  <a:pt x="4037648" y="1458948"/>
                  <a:pt x="4027148" y="1471323"/>
                  <a:pt x="4013200" y="1477522"/>
                </a:cubicBezTo>
                <a:cubicBezTo>
                  <a:pt x="3988734" y="1488396"/>
                  <a:pt x="3960947" y="1490948"/>
                  <a:pt x="3937000" y="1502922"/>
                </a:cubicBezTo>
                <a:cubicBezTo>
                  <a:pt x="3920067" y="1511389"/>
                  <a:pt x="3902434" y="1518582"/>
                  <a:pt x="3886200" y="1528322"/>
                </a:cubicBezTo>
                <a:cubicBezTo>
                  <a:pt x="3860023" y="1544028"/>
                  <a:pt x="3839934" y="1573135"/>
                  <a:pt x="3810000" y="1579122"/>
                </a:cubicBezTo>
                <a:cubicBezTo>
                  <a:pt x="3788833" y="1583355"/>
                  <a:pt x="3767175" y="1585619"/>
                  <a:pt x="3746500" y="1591822"/>
                </a:cubicBezTo>
                <a:cubicBezTo>
                  <a:pt x="3724664" y="1598373"/>
                  <a:pt x="3705354" y="1612751"/>
                  <a:pt x="3683000" y="1617222"/>
                </a:cubicBezTo>
                <a:cubicBezTo>
                  <a:pt x="3641282" y="1625566"/>
                  <a:pt x="3598216" y="1624645"/>
                  <a:pt x="3556000" y="1629922"/>
                </a:cubicBezTo>
                <a:cubicBezTo>
                  <a:pt x="3530448" y="1633116"/>
                  <a:pt x="3505200" y="1638389"/>
                  <a:pt x="3479800" y="1642622"/>
                </a:cubicBezTo>
                <a:lnTo>
                  <a:pt x="1117600" y="1629922"/>
                </a:lnTo>
                <a:cubicBezTo>
                  <a:pt x="1064640" y="1629370"/>
                  <a:pt x="1014205" y="1608157"/>
                  <a:pt x="965200" y="1591822"/>
                </a:cubicBezTo>
                <a:lnTo>
                  <a:pt x="889000" y="1566422"/>
                </a:lnTo>
                <a:cubicBezTo>
                  <a:pt x="876300" y="1562189"/>
                  <a:pt x="862874" y="1559709"/>
                  <a:pt x="850900" y="1553722"/>
                </a:cubicBezTo>
                <a:cubicBezTo>
                  <a:pt x="833967" y="1545255"/>
                  <a:pt x="817501" y="1535780"/>
                  <a:pt x="800100" y="1528322"/>
                </a:cubicBezTo>
                <a:cubicBezTo>
                  <a:pt x="787795" y="1523049"/>
                  <a:pt x="773974" y="1521609"/>
                  <a:pt x="762000" y="1515622"/>
                </a:cubicBezTo>
                <a:cubicBezTo>
                  <a:pt x="748348" y="1508796"/>
                  <a:pt x="737848" y="1496421"/>
                  <a:pt x="723900" y="1490222"/>
                </a:cubicBezTo>
                <a:cubicBezTo>
                  <a:pt x="699434" y="1479348"/>
                  <a:pt x="673100" y="1473289"/>
                  <a:pt x="647700" y="1464822"/>
                </a:cubicBezTo>
                <a:lnTo>
                  <a:pt x="571500" y="1439422"/>
                </a:lnTo>
                <a:cubicBezTo>
                  <a:pt x="558800" y="1435189"/>
                  <a:pt x="544539" y="1434148"/>
                  <a:pt x="533400" y="1426722"/>
                </a:cubicBezTo>
                <a:lnTo>
                  <a:pt x="495300" y="1401322"/>
                </a:lnTo>
                <a:cubicBezTo>
                  <a:pt x="486833" y="1388622"/>
                  <a:pt x="480693" y="1374015"/>
                  <a:pt x="469900" y="1363222"/>
                </a:cubicBezTo>
                <a:cubicBezTo>
                  <a:pt x="459107" y="1352429"/>
                  <a:pt x="444220" y="1346694"/>
                  <a:pt x="431800" y="1337822"/>
                </a:cubicBezTo>
                <a:cubicBezTo>
                  <a:pt x="414576" y="1325519"/>
                  <a:pt x="398340" y="1311860"/>
                  <a:pt x="381000" y="1299722"/>
                </a:cubicBezTo>
                <a:cubicBezTo>
                  <a:pt x="355991" y="1282216"/>
                  <a:pt x="326386" y="1270508"/>
                  <a:pt x="304800" y="1248922"/>
                </a:cubicBezTo>
                <a:cubicBezTo>
                  <a:pt x="257234" y="1201356"/>
                  <a:pt x="283739" y="1216502"/>
                  <a:pt x="228600" y="1198122"/>
                </a:cubicBezTo>
                <a:cubicBezTo>
                  <a:pt x="194733" y="1096522"/>
                  <a:pt x="245533" y="1215055"/>
                  <a:pt x="177800" y="1147322"/>
                </a:cubicBezTo>
                <a:cubicBezTo>
                  <a:pt x="168334" y="1137856"/>
                  <a:pt x="171601" y="1120924"/>
                  <a:pt x="165100" y="1109222"/>
                </a:cubicBezTo>
                <a:cubicBezTo>
                  <a:pt x="150275" y="1082537"/>
                  <a:pt x="131233" y="1058422"/>
                  <a:pt x="114300" y="1033022"/>
                </a:cubicBezTo>
                <a:cubicBezTo>
                  <a:pt x="77159" y="977310"/>
                  <a:pt x="98058" y="1007133"/>
                  <a:pt x="50800" y="944122"/>
                </a:cubicBezTo>
                <a:lnTo>
                  <a:pt x="12700" y="829822"/>
                </a:lnTo>
                <a:lnTo>
                  <a:pt x="0" y="791722"/>
                </a:lnTo>
                <a:cubicBezTo>
                  <a:pt x="4233" y="728222"/>
                  <a:pt x="10051" y="664808"/>
                  <a:pt x="12700" y="601222"/>
                </a:cubicBezTo>
                <a:cubicBezTo>
                  <a:pt x="18518" y="461579"/>
                  <a:pt x="-2784" y="319015"/>
                  <a:pt x="25400" y="182122"/>
                </a:cubicBezTo>
                <a:cubicBezTo>
                  <a:pt x="30593" y="156901"/>
                  <a:pt x="76840" y="176496"/>
                  <a:pt x="101600" y="169422"/>
                </a:cubicBezTo>
                <a:cubicBezTo>
                  <a:pt x="107356" y="167777"/>
                  <a:pt x="110067" y="160955"/>
                  <a:pt x="114300" y="156722"/>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C06A2B4-87ED-4F9F-8B6D-9848AD55E883}"/>
              </a:ext>
            </a:extLst>
          </p:cNvPr>
          <p:cNvSpPr/>
          <p:nvPr/>
        </p:nvSpPr>
        <p:spPr bwMode="auto">
          <a:xfrm>
            <a:off x="9962653" y="3694708"/>
            <a:ext cx="1728192" cy="1728192"/>
          </a:xfrm>
          <a:prstGeom prst="ellipse">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05447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68673-CAB3-4498-90A4-102EEFF2B78A}"/>
              </a:ext>
            </a:extLst>
          </p:cNvPr>
          <p:cNvSpPr>
            <a:spLocks noGrp="1"/>
          </p:cNvSpPr>
          <p:nvPr>
            <p:ph type="title"/>
          </p:nvPr>
        </p:nvSpPr>
        <p:spPr/>
        <p:txBody>
          <a:bodyPr/>
          <a:lstStyle/>
          <a:p>
            <a:r>
              <a:rPr lang="en-US" dirty="0"/>
              <a:t>Agenda</a:t>
            </a:r>
          </a:p>
        </p:txBody>
      </p:sp>
      <p:sp>
        <p:nvSpPr>
          <p:cNvPr id="5" name="Rectangle 4">
            <a:extLst>
              <a:ext uri="{FF2B5EF4-FFF2-40B4-BE49-F238E27FC236}">
                <a16:creationId xmlns:a16="http://schemas.microsoft.com/office/drawing/2014/main" id="{6BF3CF70-4486-4DA4-9EF0-40DC61D31F0A}"/>
              </a:ext>
            </a:extLst>
          </p:cNvPr>
          <p:cNvSpPr/>
          <p:nvPr/>
        </p:nvSpPr>
        <p:spPr bwMode="auto">
          <a:xfrm>
            <a:off x="961653" y="2345134"/>
            <a:ext cx="2952328" cy="25922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Spark Fundamentals</a:t>
            </a:r>
          </a:p>
          <a:p>
            <a:pPr algn="ctr" defTabSz="932472" fontAlgn="base">
              <a:lnSpc>
                <a:spcPct val="90000"/>
              </a:lnSpc>
              <a:spcBef>
                <a:spcPct val="0"/>
              </a:spcBef>
              <a:spcAft>
                <a:spcPct val="0"/>
              </a:spcAft>
            </a:pPr>
            <a:endParaRPr lang="en-US" b="1"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Unified </a:t>
            </a:r>
            <a:r>
              <a:rPr lang="en-US" dirty="0">
                <a:gradFill>
                  <a:gsLst>
                    <a:gs pos="0">
                      <a:srgbClr val="FFFFFF"/>
                    </a:gs>
                    <a:gs pos="100000">
                      <a:srgbClr val="FFFFFF"/>
                    </a:gs>
                  </a:gsLst>
                  <a:lin ang="5400000" scaled="0"/>
                </a:gradFill>
                <a:ea typeface="Segoe UI" pitchFamily="34" charset="0"/>
                <a:cs typeface="Segoe UI" pitchFamily="34" charset="0"/>
              </a:rPr>
              <a:t>Computing Engine</a:t>
            </a:r>
          </a:p>
        </p:txBody>
      </p:sp>
      <p:sp>
        <p:nvSpPr>
          <p:cNvPr id="6" name="Rectangle 5">
            <a:extLst>
              <a:ext uri="{FF2B5EF4-FFF2-40B4-BE49-F238E27FC236}">
                <a16:creationId xmlns:a16="http://schemas.microsoft.com/office/drawing/2014/main" id="{C687620C-3333-4A4F-BE35-57392817B42D}"/>
              </a:ext>
            </a:extLst>
          </p:cNvPr>
          <p:cNvSpPr/>
          <p:nvPr/>
        </p:nvSpPr>
        <p:spPr bwMode="auto">
          <a:xfrm>
            <a:off x="4742073" y="2358032"/>
            <a:ext cx="2952328" cy="25922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Azure Databricks</a:t>
            </a:r>
          </a:p>
          <a:p>
            <a:pPr algn="ctr" defTabSz="932472" fontAlgn="base">
              <a:lnSpc>
                <a:spcPct val="90000"/>
              </a:lnSpc>
              <a:spcBef>
                <a:spcPct val="0"/>
              </a:spcBef>
              <a:spcAft>
                <a:spcPct val="0"/>
              </a:spcAft>
            </a:pPr>
            <a:endParaRPr lang="en-US" b="1"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anaged Apache Spark, Integrations with Azure Services</a:t>
            </a:r>
          </a:p>
        </p:txBody>
      </p:sp>
      <p:sp>
        <p:nvSpPr>
          <p:cNvPr id="7" name="Rectangle 6">
            <a:extLst>
              <a:ext uri="{FF2B5EF4-FFF2-40B4-BE49-F238E27FC236}">
                <a16:creationId xmlns:a16="http://schemas.microsoft.com/office/drawing/2014/main" id="{5D1DA3B7-488E-4DA6-BF42-DE7AA658B1EB}"/>
              </a:ext>
            </a:extLst>
          </p:cNvPr>
          <p:cNvSpPr/>
          <p:nvPr/>
        </p:nvSpPr>
        <p:spPr bwMode="auto">
          <a:xfrm>
            <a:off x="8522493" y="2358032"/>
            <a:ext cx="2952328" cy="25922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b="1" dirty="0">
                <a:gradFill>
                  <a:gsLst>
                    <a:gs pos="0">
                      <a:srgbClr val="FFFFFF"/>
                    </a:gs>
                    <a:gs pos="100000">
                      <a:srgbClr val="FFFFFF"/>
                    </a:gs>
                  </a:gsLst>
                  <a:lin ang="5400000" scaled="0"/>
                </a:gradFill>
                <a:ea typeface="Segoe UI" pitchFamily="34" charset="0"/>
                <a:cs typeface="Segoe UI" pitchFamily="34" charset="0"/>
              </a:rPr>
              <a:t>Demo</a:t>
            </a:r>
          </a:p>
          <a:p>
            <a:pPr algn="ctr" defTabSz="932472" fontAlgn="base">
              <a:lnSpc>
                <a:spcPct val="90000"/>
              </a:lnSpc>
              <a:spcBef>
                <a:spcPct val="0"/>
              </a:spcBef>
              <a:spcAft>
                <a:spcPct val="0"/>
              </a:spcAft>
            </a:pPr>
            <a:endParaRPr lang="en-US" b="1"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Recommendation </a:t>
            </a:r>
          </a:p>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ystem</a:t>
            </a:r>
          </a:p>
        </p:txBody>
      </p:sp>
    </p:spTree>
    <p:extLst>
      <p:ext uri="{BB962C8B-B14F-4D97-AF65-F5344CB8AC3E}">
        <p14:creationId xmlns:p14="http://schemas.microsoft.com/office/powerpoint/2010/main" val="370411392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B8C43-FB5F-4738-ACD1-15F4A895D7F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D7FFB026-E224-4BE1-A937-2F5134739DF2}"/>
              </a:ext>
            </a:extLst>
          </p:cNvPr>
          <p:cNvSpPr>
            <a:spLocks noGrp="1"/>
          </p:cNvSpPr>
          <p:nvPr>
            <p:ph type="body" sz="quarter" idx="12"/>
          </p:nvPr>
        </p:nvSpPr>
        <p:spPr>
          <a:xfrm>
            <a:off x="274638" y="3954463"/>
            <a:ext cx="10058401" cy="738664"/>
          </a:xfrm>
        </p:spPr>
        <p:txBody>
          <a:bodyPr/>
          <a:lstStyle/>
          <a:p>
            <a:r>
              <a:rPr lang="en-US" dirty="0"/>
              <a:t>User Recommendation Dashboard</a:t>
            </a:r>
          </a:p>
        </p:txBody>
      </p:sp>
    </p:spTree>
    <p:extLst>
      <p:ext uri="{BB962C8B-B14F-4D97-AF65-F5344CB8AC3E}">
        <p14:creationId xmlns:p14="http://schemas.microsoft.com/office/powerpoint/2010/main" val="1547623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2C3-A8A6-43A1-A4F1-3B1D012F36CA}"/>
              </a:ext>
            </a:extLst>
          </p:cNvPr>
          <p:cNvSpPr>
            <a:spLocks noGrp="1"/>
          </p:cNvSpPr>
          <p:nvPr>
            <p:ph type="title"/>
          </p:nvPr>
        </p:nvSpPr>
        <p:spPr/>
        <p:txBody>
          <a:bodyPr/>
          <a:lstStyle/>
          <a:p>
            <a:r>
              <a:rPr lang="en-US" dirty="0"/>
              <a:t>Try the demo!</a:t>
            </a:r>
          </a:p>
        </p:txBody>
      </p:sp>
      <p:sp>
        <p:nvSpPr>
          <p:cNvPr id="3" name="Text Placeholder 2">
            <a:extLst>
              <a:ext uri="{FF2B5EF4-FFF2-40B4-BE49-F238E27FC236}">
                <a16:creationId xmlns:a16="http://schemas.microsoft.com/office/drawing/2014/main" id="{469CE95A-C3F0-467C-905B-04F2ED385857}"/>
              </a:ext>
            </a:extLst>
          </p:cNvPr>
          <p:cNvSpPr>
            <a:spLocks noGrp="1"/>
          </p:cNvSpPr>
          <p:nvPr>
            <p:ph type="body" sz="quarter" idx="10"/>
          </p:nvPr>
        </p:nvSpPr>
        <p:spPr>
          <a:xfrm>
            <a:off x="274702" y="1211287"/>
            <a:ext cx="11888787" cy="5463034"/>
          </a:xfrm>
        </p:spPr>
        <p:txBody>
          <a:bodyPr/>
          <a:lstStyle/>
          <a:p>
            <a:pPr marL="0" indent="0">
              <a:buNone/>
            </a:pPr>
            <a:r>
              <a:rPr lang="en-US" dirty="0">
                <a:hlinkClick r:id="rId2"/>
              </a:rPr>
              <a:t>https://github.com/devlace/azure-databricks-recommendation-system</a:t>
            </a:r>
            <a:endParaRPr lang="en-US" dirty="0"/>
          </a:p>
          <a:p>
            <a:pPr marL="0" indent="0">
              <a:buNone/>
            </a:pPr>
            <a:endParaRPr lang="en-US" dirty="0"/>
          </a:p>
          <a:p>
            <a:pPr marL="0" indent="0">
              <a:buNone/>
            </a:pPr>
            <a:r>
              <a:rPr lang="en-US" dirty="0"/>
              <a:t>To deploy…</a:t>
            </a:r>
          </a:p>
          <a:p>
            <a:pPr marL="0" indent="0">
              <a:buNone/>
            </a:pPr>
            <a:r>
              <a:rPr lang="en-US" sz="4000" b="1" dirty="0">
                <a:latin typeface="Courier New" panose="02070309020205020404" pitchFamily="49" charset="0"/>
                <a:cs typeface="Courier New" panose="02070309020205020404" pitchFamily="49" charset="0"/>
              </a:rPr>
              <a:t>make deploy</a:t>
            </a:r>
          </a:p>
          <a:p>
            <a:pPr marL="0" indent="0">
              <a:buNone/>
            </a:pPr>
            <a:endParaRPr lang="en-US" sz="2400" dirty="0"/>
          </a:p>
          <a:p>
            <a:pPr marL="0" indent="0">
              <a:buNone/>
            </a:pPr>
            <a:r>
              <a:rPr lang="en-US" dirty="0"/>
              <a:t>To download requirements…</a:t>
            </a:r>
          </a:p>
          <a:p>
            <a:pPr marL="0" indent="0">
              <a:buNone/>
            </a:pPr>
            <a:r>
              <a:rPr lang="en-US" sz="4000" b="1" dirty="0">
                <a:latin typeface="Courier New" panose="02070309020205020404" pitchFamily="49" charset="0"/>
                <a:cs typeface="Courier New" panose="02070309020205020404" pitchFamily="49" charset="0"/>
              </a:rPr>
              <a:t>make requirements</a:t>
            </a:r>
          </a:p>
          <a:p>
            <a:pPr marL="0" indent="0">
              <a:buNone/>
            </a:pPr>
            <a:endParaRPr lang="en-US" sz="4000" b="1"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29244791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AE63B-C6E7-4848-A28C-72839995E794}"/>
              </a:ext>
            </a:extLst>
          </p:cNvPr>
          <p:cNvSpPr>
            <a:spLocks noGrp="1"/>
          </p:cNvSpPr>
          <p:nvPr>
            <p:ph type="title"/>
          </p:nvPr>
        </p:nvSpPr>
        <p:spPr/>
        <p:txBody>
          <a:bodyPr/>
          <a:lstStyle/>
          <a:p>
            <a:r>
              <a:rPr lang="en-US" dirty="0"/>
              <a:t>More resources</a:t>
            </a:r>
          </a:p>
        </p:txBody>
      </p:sp>
      <p:sp>
        <p:nvSpPr>
          <p:cNvPr id="3" name="Text Placeholder 2">
            <a:extLst>
              <a:ext uri="{FF2B5EF4-FFF2-40B4-BE49-F238E27FC236}">
                <a16:creationId xmlns:a16="http://schemas.microsoft.com/office/drawing/2014/main" id="{D20A8ED2-2371-4644-A416-FACE587B64C3}"/>
              </a:ext>
            </a:extLst>
          </p:cNvPr>
          <p:cNvSpPr>
            <a:spLocks noGrp="1"/>
          </p:cNvSpPr>
          <p:nvPr>
            <p:ph type="body" sz="quarter" idx="10"/>
          </p:nvPr>
        </p:nvSpPr>
        <p:spPr>
          <a:xfrm>
            <a:off x="274638" y="1212850"/>
            <a:ext cx="11888787" cy="1902059"/>
          </a:xfrm>
        </p:spPr>
        <p:txBody>
          <a:bodyPr/>
          <a:lstStyle/>
          <a:p>
            <a:r>
              <a:rPr lang="en-US" dirty="0">
                <a:hlinkClick r:id="rId3"/>
              </a:rPr>
              <a:t>Official Apache Spark website</a:t>
            </a:r>
            <a:endParaRPr lang="en-US" dirty="0"/>
          </a:p>
          <a:p>
            <a:r>
              <a:rPr lang="en-US" dirty="0">
                <a:hlinkClick r:id="rId4"/>
              </a:rPr>
              <a:t>Azure Databricks Documentation</a:t>
            </a:r>
            <a:endParaRPr lang="en-US" dirty="0"/>
          </a:p>
          <a:p>
            <a:pPr fontAlgn="base"/>
            <a:r>
              <a:rPr lang="en-US" dirty="0">
                <a:hlinkClick r:id="rId5"/>
              </a:rPr>
              <a:t>[Book] Spark: The Definitive Guide</a:t>
            </a:r>
            <a:endParaRPr lang="en-US" dirty="0"/>
          </a:p>
        </p:txBody>
      </p:sp>
    </p:spTree>
    <p:extLst>
      <p:ext uri="{BB962C8B-B14F-4D97-AF65-F5344CB8AC3E}">
        <p14:creationId xmlns:p14="http://schemas.microsoft.com/office/powerpoint/2010/main" val="136656296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E4D62-0855-4880-9232-FA181D09071C}"/>
              </a:ext>
            </a:extLst>
          </p:cNvPr>
          <p:cNvSpPr>
            <a:spLocks noGrp="1"/>
          </p:cNvSpPr>
          <p:nvPr>
            <p:ph type="title"/>
          </p:nvPr>
        </p:nvSpPr>
        <p:spPr/>
        <p:txBody>
          <a:bodyPr/>
          <a:lstStyle/>
          <a:p>
            <a:r>
              <a:rPr lang="en-AU" dirty="0"/>
              <a:t>Thank you!</a:t>
            </a:r>
          </a:p>
        </p:txBody>
      </p:sp>
      <p:sp>
        <p:nvSpPr>
          <p:cNvPr id="3" name="Text Placeholder 2">
            <a:extLst>
              <a:ext uri="{FF2B5EF4-FFF2-40B4-BE49-F238E27FC236}">
                <a16:creationId xmlns:a16="http://schemas.microsoft.com/office/drawing/2014/main" id="{E0D031DD-8F12-445C-961A-3E30083B78A8}"/>
              </a:ext>
            </a:extLst>
          </p:cNvPr>
          <p:cNvSpPr>
            <a:spLocks noGrp="1"/>
          </p:cNvSpPr>
          <p:nvPr>
            <p:ph type="body" sz="quarter" idx="12"/>
          </p:nvPr>
        </p:nvSpPr>
        <p:spPr>
          <a:xfrm>
            <a:off x="274701" y="3955786"/>
            <a:ext cx="7315200" cy="1828007"/>
          </a:xfrm>
        </p:spPr>
        <p:txBody>
          <a:bodyPr/>
          <a:lstStyle/>
          <a:p>
            <a:r>
              <a:rPr lang="en-AU" dirty="0"/>
              <a:t>Lace Lofranco</a:t>
            </a:r>
          </a:p>
          <a:p>
            <a:r>
              <a:rPr lang="en-AU" sz="2800" dirty="0"/>
              <a:t>Senior Software Development Engineer</a:t>
            </a:r>
          </a:p>
          <a:p>
            <a:r>
              <a:rPr lang="en-AU" sz="2800" dirty="0"/>
              <a:t>Commercial </a:t>
            </a:r>
            <a:r>
              <a:rPr lang="en-AU" sz="2800"/>
              <a:t>Software Engineering</a:t>
            </a:r>
          </a:p>
          <a:p>
            <a:r>
              <a:rPr lang="en-AU" sz="2800" dirty="0"/>
              <a:t>Microsoft</a:t>
            </a:r>
          </a:p>
          <a:p>
            <a:r>
              <a:rPr lang="en-AU" sz="2800" dirty="0"/>
              <a:t>lace.lofranco@microsoft.com</a:t>
            </a:r>
          </a:p>
        </p:txBody>
      </p:sp>
    </p:spTree>
    <p:extLst>
      <p:ext uri="{BB962C8B-B14F-4D97-AF65-F5344CB8AC3E}">
        <p14:creationId xmlns:p14="http://schemas.microsoft.com/office/powerpoint/2010/main" val="41224952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143265" y="1280628"/>
            <a:ext cx="8627165" cy="443082"/>
            <a:chOff x="821550" y="364537"/>
            <a:chExt cx="7313575" cy="442424"/>
          </a:xfrm>
          <a:solidFill>
            <a:schemeClr val="tx2"/>
          </a:solidFill>
        </p:grpSpPr>
        <p:sp>
          <p:nvSpPr>
            <p:cNvPr id="38" name="Pentagon 63"/>
            <p:cNvSpPr/>
            <p:nvPr/>
          </p:nvSpPr>
          <p:spPr bwMode="auto">
            <a:xfrm>
              <a:off x="4179199" y="364537"/>
              <a:ext cx="3955926"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latin typeface="Segoe UI"/>
                <a:ea typeface="Segoe UI" pitchFamily="34" charset="0"/>
                <a:cs typeface="Segoe UI Semibold" panose="020B0702040204020203" pitchFamily="34" charset="0"/>
              </a:endParaRPr>
            </a:p>
          </p:txBody>
        </p:sp>
        <p:sp>
          <p:nvSpPr>
            <p:cNvPr id="39" name="Pentagon 64"/>
            <p:cNvSpPr/>
            <p:nvPr/>
          </p:nvSpPr>
          <p:spPr bwMode="auto">
            <a:xfrm flipH="1">
              <a:off x="821550" y="364537"/>
              <a:ext cx="3357649" cy="442424"/>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349656" indent="-349656" algn="ctr" defTabSz="950846" fontAlgn="base">
                <a:lnSpc>
                  <a:spcPct val="90000"/>
                </a:lnSpc>
                <a:spcBef>
                  <a:spcPct val="0"/>
                </a:spcBef>
                <a:spcAft>
                  <a:spcPct val="0"/>
                </a:spcAft>
                <a:buFont typeface="Wingdings 3" panose="05040102010807070707" pitchFamily="18" charset="2"/>
                <a:buChar char="Æ"/>
                <a:defRPr/>
              </a:pPr>
              <a:endParaRPr lang="en-US" sz="1428" b="1" kern="0" dirty="0" err="1">
                <a:solidFill>
                  <a:srgbClr val="FFFFFF"/>
                </a:solidFill>
                <a:latin typeface="Segoe UI"/>
                <a:ea typeface="Segoe UI" pitchFamily="34" charset="0"/>
                <a:cs typeface="Segoe UI Semibold" panose="020B0702040204020203" pitchFamily="34" charset="0"/>
              </a:endParaRPr>
            </a:p>
          </p:txBody>
        </p:sp>
        <p:sp>
          <p:nvSpPr>
            <p:cNvPr id="40" name="TextBox 39"/>
            <p:cNvSpPr txBox="1"/>
            <p:nvPr/>
          </p:nvSpPr>
          <p:spPr>
            <a:xfrm>
              <a:off x="982392" y="461920"/>
              <a:ext cx="2481944" cy="272830"/>
            </a:xfrm>
            <a:prstGeom prst="rect">
              <a:avLst/>
            </a:prstGeom>
            <a:grpFill/>
          </p:spPr>
          <p:txBody>
            <a:bodyPr wrap="square" lIns="186494" tIns="149196" rIns="186494" bIns="149196" rtlCol="0" anchor="ctr">
              <a:noAutofit/>
            </a:bodyPr>
            <a:lstStyle/>
            <a:p>
              <a:pPr defTabSz="932418">
                <a:lnSpc>
                  <a:spcPct val="90000"/>
                </a:lnSpc>
                <a:spcAft>
                  <a:spcPts val="612"/>
                </a:spcAft>
                <a:defRPr/>
              </a:pPr>
              <a:r>
                <a:rPr lang="en-US" sz="1224" b="1" dirty="0">
                  <a:solidFill>
                    <a:srgbClr val="FFFFFF"/>
                  </a:solidFill>
                  <a:latin typeface="Segoe UI"/>
                  <a:ea typeface="Segoe UI" pitchFamily="34" charset="0"/>
                  <a:cs typeface="Segoe UI" pitchFamily="34" charset="0"/>
                </a:rPr>
                <a:t>CONTROL</a:t>
              </a:r>
            </a:p>
          </p:txBody>
        </p:sp>
        <p:sp>
          <p:nvSpPr>
            <p:cNvPr id="41" name="TextBox 40"/>
            <p:cNvSpPr txBox="1"/>
            <p:nvPr/>
          </p:nvSpPr>
          <p:spPr>
            <a:xfrm>
              <a:off x="4515157" y="451240"/>
              <a:ext cx="3423678" cy="294190"/>
            </a:xfrm>
            <a:prstGeom prst="rect">
              <a:avLst/>
            </a:prstGeom>
            <a:grpFill/>
          </p:spPr>
          <p:txBody>
            <a:bodyPr wrap="square" lIns="186494" tIns="149196" rIns="186494" bIns="149196" rtlCol="0" anchor="ctr">
              <a:noAutofit/>
            </a:bodyPr>
            <a:lstStyle/>
            <a:p>
              <a:pPr algn="r" defTabSz="932418">
                <a:lnSpc>
                  <a:spcPct val="90000"/>
                </a:lnSpc>
                <a:spcAft>
                  <a:spcPts val="612"/>
                </a:spcAft>
                <a:defRPr/>
              </a:pPr>
              <a:r>
                <a:rPr lang="en-US" sz="1224" b="1" dirty="0">
                  <a:solidFill>
                    <a:srgbClr val="FFFFFF"/>
                  </a:solidFill>
                  <a:latin typeface="Segoe UI"/>
                  <a:ea typeface="Segoe UI" pitchFamily="34" charset="0"/>
                  <a:cs typeface="Segoe UI" pitchFamily="34" charset="0"/>
                </a:rPr>
                <a:t>EASE OF USE</a:t>
              </a:r>
            </a:p>
          </p:txBody>
        </p:sp>
      </p:grpSp>
      <p:grpSp>
        <p:nvGrpSpPr>
          <p:cNvPr id="9" name="Group 8"/>
          <p:cNvGrpSpPr/>
          <p:nvPr/>
        </p:nvGrpSpPr>
        <p:grpSpPr>
          <a:xfrm>
            <a:off x="2361787" y="5164037"/>
            <a:ext cx="7908811" cy="1159113"/>
            <a:chOff x="2657138" y="4258826"/>
            <a:chExt cx="7754440" cy="1136488"/>
          </a:xfrm>
        </p:grpSpPr>
        <p:sp>
          <p:nvSpPr>
            <p:cNvPr id="13" name="Rectangle 12"/>
            <p:cNvSpPr/>
            <p:nvPr/>
          </p:nvSpPr>
          <p:spPr>
            <a:xfrm>
              <a:off x="2657138" y="4258826"/>
              <a:ext cx="7754439" cy="54864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b="1" dirty="0">
                  <a:solidFill>
                    <a:srgbClr val="0078D7"/>
                  </a:solidFill>
                  <a:latin typeface="Segoe UI" panose="020B0502040204020203" pitchFamily="34" charset="0"/>
                  <a:cs typeface="Segoe UI" panose="020B0502040204020203" pitchFamily="34" charset="0"/>
                </a:rPr>
                <a:t>Azure Data Lake Store</a:t>
              </a:r>
            </a:p>
          </p:txBody>
        </p:sp>
        <p:sp>
          <p:nvSpPr>
            <p:cNvPr id="15" name="Rectangle 14"/>
            <p:cNvSpPr/>
            <p:nvPr/>
          </p:nvSpPr>
          <p:spPr>
            <a:xfrm>
              <a:off x="2657138" y="4846674"/>
              <a:ext cx="7754440" cy="548640"/>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r>
                <a:rPr lang="en-US" sz="1836" b="1" dirty="0">
                  <a:solidFill>
                    <a:srgbClr val="0078D7"/>
                  </a:solidFill>
                  <a:latin typeface="Segoe UI" panose="020B0502040204020203" pitchFamily="34" charset="0"/>
                  <a:cs typeface="Segoe UI" panose="020B0502040204020203" pitchFamily="34" charset="0"/>
                </a:rPr>
                <a:t>Azure Storage</a:t>
              </a:r>
            </a:p>
          </p:txBody>
        </p:sp>
      </p:grpSp>
      <p:sp>
        <p:nvSpPr>
          <p:cNvPr id="16" name="Rectangle 15"/>
          <p:cNvSpPr/>
          <p:nvPr/>
        </p:nvSpPr>
        <p:spPr>
          <a:xfrm>
            <a:off x="2241755" y="5064702"/>
            <a:ext cx="8145074" cy="1374640"/>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grpSp>
        <p:nvGrpSpPr>
          <p:cNvPr id="8" name="Group 7"/>
          <p:cNvGrpSpPr/>
          <p:nvPr/>
        </p:nvGrpSpPr>
        <p:grpSpPr>
          <a:xfrm>
            <a:off x="2065929" y="1789330"/>
            <a:ext cx="8619124" cy="3204169"/>
            <a:chOff x="2374847" y="814147"/>
            <a:chExt cx="8450889" cy="3141627"/>
          </a:xfrm>
        </p:grpSpPr>
        <p:sp>
          <p:nvSpPr>
            <p:cNvPr id="4" name="Rectangle 3"/>
            <p:cNvSpPr/>
            <p:nvPr/>
          </p:nvSpPr>
          <p:spPr>
            <a:xfrm>
              <a:off x="2657138" y="2370011"/>
              <a:ext cx="1642118" cy="115092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46083" rtlCol="0" anchor="b"/>
            <a:lstStyle/>
            <a:p>
              <a:pPr algn="ctr" defTabSz="932597">
                <a:defRPr/>
              </a:pPr>
              <a:r>
                <a:rPr lang="en-US" sz="1020" dirty="0">
                  <a:solidFill>
                    <a:srgbClr val="505050"/>
                  </a:solidFill>
                  <a:latin typeface="Segoe UI" panose="020B0502040204020203" pitchFamily="34" charset="0"/>
                  <a:cs typeface="Segoe UI" panose="020B0502040204020203" pitchFamily="34" charset="0"/>
                </a:rPr>
                <a:t>Any Hadoop technology, any distribution</a:t>
              </a:r>
            </a:p>
          </p:txBody>
        </p:sp>
        <p:sp>
          <p:nvSpPr>
            <p:cNvPr id="5" name="Rectangle 4"/>
            <p:cNvSpPr/>
            <p:nvPr/>
          </p:nvSpPr>
          <p:spPr>
            <a:xfrm>
              <a:off x="4513033" y="1747770"/>
              <a:ext cx="1818806" cy="1779606"/>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46083" rtlCol="0" anchor="b"/>
            <a:lstStyle/>
            <a:p>
              <a:pPr algn="ctr" defTabSz="932597">
                <a:defRPr/>
              </a:pPr>
              <a:r>
                <a:rPr lang="en-US" sz="1071" dirty="0">
                  <a:solidFill>
                    <a:srgbClr val="505050"/>
                  </a:solidFill>
                  <a:latin typeface="Segoe UI" panose="020B0502040204020203" pitchFamily="34" charset="0"/>
                  <a:cs typeface="Segoe UI" panose="020B0502040204020203" pitchFamily="34" charset="0"/>
                </a:rPr>
                <a:t>Workload optimized, managed clusters</a:t>
              </a:r>
            </a:p>
          </p:txBody>
        </p:sp>
        <p:sp>
          <p:nvSpPr>
            <p:cNvPr id="6" name="Rectangle 5"/>
            <p:cNvSpPr/>
            <p:nvPr/>
          </p:nvSpPr>
          <p:spPr>
            <a:xfrm>
              <a:off x="8572870" y="869316"/>
              <a:ext cx="1871899" cy="2655519"/>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46083" rtlCol="0" anchor="b"/>
            <a:lstStyle/>
            <a:p>
              <a:pPr algn="ctr" defTabSz="932597">
                <a:defRPr/>
              </a:pPr>
              <a:r>
                <a:rPr lang="en-US" sz="1071" dirty="0">
                  <a:solidFill>
                    <a:srgbClr val="505050"/>
                  </a:solidFill>
                  <a:latin typeface="Segoe UI" panose="020B0502040204020203" pitchFamily="34" charset="0"/>
                  <a:cs typeface="Segoe UI" panose="020B0502040204020203" pitchFamily="34" charset="0"/>
                </a:rPr>
                <a:t>Data Engineering in a </a:t>
              </a:r>
            </a:p>
            <a:p>
              <a:pPr algn="ctr" defTabSz="932597">
                <a:defRPr/>
              </a:pPr>
              <a:r>
                <a:rPr lang="en-US" sz="1071" dirty="0">
                  <a:solidFill>
                    <a:srgbClr val="505050"/>
                  </a:solidFill>
                  <a:latin typeface="Segoe UI" panose="020B0502040204020203" pitchFamily="34" charset="0"/>
                  <a:cs typeface="Segoe UI" panose="020B0502040204020203" pitchFamily="34" charset="0"/>
                </a:rPr>
                <a:t>Job-as-a-service model</a:t>
              </a:r>
            </a:p>
          </p:txBody>
        </p:sp>
        <p:sp>
          <p:nvSpPr>
            <p:cNvPr id="10" name="Rectangle 9"/>
            <p:cNvSpPr/>
            <p:nvPr/>
          </p:nvSpPr>
          <p:spPr>
            <a:xfrm>
              <a:off x="2374847" y="2284265"/>
              <a:ext cx="209944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3260" rIns="0" bIns="0" rtlCol="0" anchor="ctr">
              <a:spAutoFit/>
            </a:bodyPr>
            <a:lstStyle/>
            <a:p>
              <a:pPr algn="ctr" defTabSz="932597">
                <a:defRPr/>
              </a:pPr>
              <a:r>
                <a:rPr lang="en-US" sz="1224" b="1" dirty="0">
                  <a:solidFill>
                    <a:srgbClr val="0078D7"/>
                  </a:solidFill>
                  <a:latin typeface="Segoe UI" panose="020B0502040204020203" pitchFamily="34" charset="0"/>
                  <a:cs typeface="Segoe UI" panose="020B0502040204020203" pitchFamily="34" charset="0"/>
                </a:rPr>
                <a:t>Azure Marketplace</a:t>
              </a:r>
            </a:p>
            <a:p>
              <a:pPr algn="ctr" defTabSz="932597">
                <a:defRPr/>
              </a:pPr>
              <a:r>
                <a:rPr lang="en-US" sz="1122" dirty="0">
                  <a:solidFill>
                    <a:srgbClr val="0078D7"/>
                  </a:solidFill>
                  <a:latin typeface="Segoe UI" panose="020B0502040204020203" pitchFamily="34" charset="0"/>
                  <a:cs typeface="Segoe UI" panose="020B0502040204020203" pitchFamily="34" charset="0"/>
                </a:rPr>
                <a:t>HDP | CDH | </a:t>
              </a:r>
              <a:r>
                <a:rPr lang="en-US" sz="1122" dirty="0" err="1">
                  <a:solidFill>
                    <a:srgbClr val="0078D7"/>
                  </a:solidFill>
                  <a:latin typeface="Segoe UI" panose="020B0502040204020203" pitchFamily="34" charset="0"/>
                  <a:cs typeface="Segoe UI" panose="020B0502040204020203" pitchFamily="34" charset="0"/>
                </a:rPr>
                <a:t>MapR</a:t>
              </a:r>
              <a:endParaRPr lang="en-US" sz="1122" dirty="0">
                <a:solidFill>
                  <a:srgbClr val="0078D7"/>
                </a:solidFill>
                <a:latin typeface="Segoe UI" panose="020B0502040204020203" pitchFamily="34" charset="0"/>
                <a:cs typeface="Segoe UI" panose="020B0502040204020203" pitchFamily="34" charset="0"/>
              </a:endParaRPr>
            </a:p>
          </p:txBody>
        </p:sp>
        <p:sp>
          <p:nvSpPr>
            <p:cNvPr id="11" name="Rectangle 10"/>
            <p:cNvSpPr/>
            <p:nvPr/>
          </p:nvSpPr>
          <p:spPr>
            <a:xfrm>
              <a:off x="8289135" y="814147"/>
              <a:ext cx="2536601" cy="5318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3260" rIns="0" bIns="0" rtlCol="0" anchor="ctr">
              <a:spAutoFit/>
            </a:bodyPr>
            <a:lstStyle/>
            <a:p>
              <a:pPr algn="ctr" defTabSz="932597">
                <a:defRPr/>
              </a:pPr>
              <a:r>
                <a:rPr lang="en-US" sz="1428" b="1" dirty="0">
                  <a:solidFill>
                    <a:srgbClr val="0078D7"/>
                  </a:solidFill>
                  <a:latin typeface="Segoe UI" panose="020B0502040204020203" pitchFamily="34" charset="0"/>
                  <a:cs typeface="Segoe UI" panose="020B0502040204020203" pitchFamily="34" charset="0"/>
                </a:rPr>
                <a:t>Azure Data Lake </a:t>
              </a:r>
            </a:p>
            <a:p>
              <a:pPr algn="ctr" defTabSz="932597">
                <a:defRPr/>
              </a:pPr>
              <a:r>
                <a:rPr lang="en-US" sz="1428" b="1" dirty="0">
                  <a:solidFill>
                    <a:srgbClr val="0078D7"/>
                  </a:solidFill>
                  <a:latin typeface="Segoe UI" panose="020B0502040204020203" pitchFamily="34" charset="0"/>
                  <a:cs typeface="Segoe UI" panose="020B0502040204020203" pitchFamily="34" charset="0"/>
                </a:rPr>
                <a:t>Analytics</a:t>
              </a:r>
            </a:p>
          </p:txBody>
        </p:sp>
        <p:sp>
          <p:nvSpPr>
            <p:cNvPr id="48" name="Rectangle 47"/>
            <p:cNvSpPr/>
            <p:nvPr/>
          </p:nvSpPr>
          <p:spPr bwMode="auto">
            <a:xfrm>
              <a:off x="2389955" y="3498344"/>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defRPr/>
              </a:pPr>
              <a:r>
                <a:rPr lang="en-US" sz="1224" b="1" dirty="0">
                  <a:solidFill>
                    <a:srgbClr val="505050"/>
                  </a:solidFill>
                  <a:latin typeface="Segoe UI"/>
                  <a:ea typeface="Segoe UI" pitchFamily="34" charset="0"/>
                  <a:cs typeface="Segoe UI" pitchFamily="34" charset="0"/>
                </a:rPr>
                <a:t>IaaS Clusters</a:t>
              </a:r>
            </a:p>
          </p:txBody>
        </p:sp>
        <p:sp>
          <p:nvSpPr>
            <p:cNvPr id="54" name="Rectangle 53"/>
            <p:cNvSpPr/>
            <p:nvPr/>
          </p:nvSpPr>
          <p:spPr bwMode="auto">
            <a:xfrm>
              <a:off x="5407710"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defRPr/>
              </a:pPr>
              <a:r>
                <a:rPr lang="en-US" sz="1224" b="1" dirty="0">
                  <a:solidFill>
                    <a:srgbClr val="505050"/>
                  </a:solidFill>
                  <a:latin typeface="Segoe UI"/>
                  <a:ea typeface="Segoe UI" pitchFamily="34" charset="0"/>
                  <a:cs typeface="Segoe UI" pitchFamily="34" charset="0"/>
                </a:rPr>
                <a:t>Managed Clusters</a:t>
              </a:r>
            </a:p>
          </p:txBody>
        </p:sp>
        <p:sp>
          <p:nvSpPr>
            <p:cNvPr id="55" name="Rectangle 54"/>
            <p:cNvSpPr/>
            <p:nvPr/>
          </p:nvSpPr>
          <p:spPr bwMode="auto">
            <a:xfrm>
              <a:off x="8475547" y="3520551"/>
              <a:ext cx="2066544" cy="4352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46630" numCol="1" spcCol="0" rtlCol="0" fromWordArt="0" anchor="t" anchorCtr="0" forceAA="0" compatLnSpc="1">
              <a:prstTxWarp prst="textNoShape">
                <a:avLst/>
              </a:prstTxWarp>
              <a:noAutofit/>
            </a:bodyPr>
            <a:lstStyle/>
            <a:p>
              <a:pPr algn="ctr" defTabSz="951028" fontAlgn="base">
                <a:spcBef>
                  <a:spcPct val="0"/>
                </a:spcBef>
                <a:spcAft>
                  <a:spcPct val="0"/>
                </a:spcAft>
                <a:defRPr/>
              </a:pPr>
              <a:r>
                <a:rPr lang="en-US" sz="1224" b="1" dirty="0">
                  <a:solidFill>
                    <a:srgbClr val="505050"/>
                  </a:solidFill>
                  <a:latin typeface="Segoe UI"/>
                  <a:ea typeface="Segoe UI" pitchFamily="34" charset="0"/>
                  <a:cs typeface="Segoe UI" pitchFamily="34" charset="0"/>
                </a:rPr>
                <a:t>Big Data as-a-service</a:t>
              </a:r>
            </a:p>
          </p:txBody>
        </p:sp>
        <p:sp>
          <p:nvSpPr>
            <p:cNvPr id="56" name="Rectangle 55"/>
            <p:cNvSpPr/>
            <p:nvPr/>
          </p:nvSpPr>
          <p:spPr>
            <a:xfrm>
              <a:off x="4580382" y="1740635"/>
              <a:ext cx="1684108" cy="312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3260" rIns="0" bIns="0" rtlCol="0" anchor="ctr">
              <a:spAutoFit/>
            </a:bodyPr>
            <a:lstStyle/>
            <a:p>
              <a:pPr algn="ctr" defTabSz="932597">
                <a:defRPr/>
              </a:pPr>
              <a:r>
                <a:rPr lang="en-US" sz="1428" b="1" dirty="0">
                  <a:solidFill>
                    <a:srgbClr val="0078D7"/>
                  </a:solidFill>
                  <a:latin typeface="Segoe UI" panose="020B0502040204020203" pitchFamily="34" charset="0"/>
                  <a:cs typeface="Segoe UI" panose="020B0502040204020203" pitchFamily="34" charset="0"/>
                </a:rPr>
                <a:t>Azure HDInsight</a:t>
              </a:r>
            </a:p>
          </p:txBody>
        </p:sp>
        <p:sp>
          <p:nvSpPr>
            <p:cNvPr id="36" name="Rectangle 35">
              <a:extLst>
                <a:ext uri="{FF2B5EF4-FFF2-40B4-BE49-F238E27FC236}">
                  <a16:creationId xmlns:a16="http://schemas.microsoft.com/office/drawing/2014/main" id="{8A47707E-4F5F-4018-9010-548F5A4DBD98}"/>
                </a:ext>
              </a:extLst>
            </p:cNvPr>
            <p:cNvSpPr/>
            <p:nvPr/>
          </p:nvSpPr>
          <p:spPr>
            <a:xfrm>
              <a:off x="6540287" y="1270504"/>
              <a:ext cx="1818806" cy="2238931"/>
            </a:xfrm>
            <a:prstGeom prst="rect">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46083" rtlCol="0" anchor="b"/>
            <a:lstStyle/>
            <a:p>
              <a:pPr algn="ctr" defTabSz="932597">
                <a:defRPr/>
              </a:pPr>
              <a:r>
                <a:rPr lang="en-US" sz="1071" dirty="0">
                  <a:solidFill>
                    <a:srgbClr val="505050"/>
                  </a:solidFill>
                  <a:latin typeface="Segoe UI" panose="020B0502040204020203" pitchFamily="34" charset="0"/>
                  <a:cs typeface="Segoe UI" panose="020B0502040204020203" pitchFamily="34" charset="0"/>
                </a:rPr>
                <a:t>Frictionless &amp; Optimized Spark clusters</a:t>
              </a:r>
            </a:p>
          </p:txBody>
        </p:sp>
        <p:sp>
          <p:nvSpPr>
            <p:cNvPr id="42" name="Rectangle 41">
              <a:extLst>
                <a:ext uri="{FF2B5EF4-FFF2-40B4-BE49-F238E27FC236}">
                  <a16:creationId xmlns:a16="http://schemas.microsoft.com/office/drawing/2014/main" id="{567A21CE-8837-49AC-9D4B-E0F089F05E09}"/>
                </a:ext>
              </a:extLst>
            </p:cNvPr>
            <p:cNvSpPr/>
            <p:nvPr/>
          </p:nvSpPr>
          <p:spPr>
            <a:xfrm>
              <a:off x="6611452" y="1240720"/>
              <a:ext cx="1684108" cy="3120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93260" rIns="0" bIns="0" rtlCol="0" anchor="ctr">
              <a:spAutoFit/>
            </a:bodyPr>
            <a:lstStyle/>
            <a:p>
              <a:pPr algn="ctr" defTabSz="932597">
                <a:defRPr/>
              </a:pPr>
              <a:r>
                <a:rPr lang="en-US" sz="1428" b="1" dirty="0">
                  <a:solidFill>
                    <a:srgbClr val="0078D7"/>
                  </a:solidFill>
                  <a:latin typeface="Segoe UI" panose="020B0502040204020203" pitchFamily="34" charset="0"/>
                  <a:cs typeface="Segoe UI" panose="020B0502040204020203" pitchFamily="34" charset="0"/>
                </a:rPr>
                <a:t>Azure </a:t>
              </a:r>
              <a:r>
                <a:rPr lang="en-US" sz="1428" b="1" dirty="0" err="1">
                  <a:solidFill>
                    <a:srgbClr val="0078D7"/>
                  </a:solidFill>
                  <a:latin typeface="Segoe UI" panose="020B0502040204020203" pitchFamily="34" charset="0"/>
                  <a:cs typeface="Segoe UI" panose="020B0502040204020203" pitchFamily="34" charset="0"/>
                </a:rPr>
                <a:t>Databricks</a:t>
              </a:r>
              <a:endParaRPr lang="en-US" sz="1428" b="1" dirty="0">
                <a:solidFill>
                  <a:srgbClr val="0078D7"/>
                </a:solidFill>
                <a:latin typeface="Segoe UI" panose="020B0502040204020203" pitchFamily="34" charset="0"/>
                <a:cs typeface="Segoe UI" panose="020B0502040204020203" pitchFamily="34" charset="0"/>
              </a:endParaRPr>
            </a:p>
          </p:txBody>
        </p:sp>
      </p:grpSp>
      <p:sp>
        <p:nvSpPr>
          <p:cNvPr id="3" name="TextBox 2"/>
          <p:cNvSpPr txBox="1"/>
          <p:nvPr/>
        </p:nvSpPr>
        <p:spPr>
          <a:xfrm rot="16200000">
            <a:off x="9975776" y="5428441"/>
            <a:ext cx="1374640" cy="6471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224" b="1" dirty="0">
                <a:solidFill>
                  <a:srgbClr val="505050"/>
                </a:solidFill>
                <a:latin typeface="Segoe UI"/>
                <a:ea typeface="Segoe UI" pitchFamily="34" charset="0"/>
                <a:cs typeface="Segoe UI" pitchFamily="34" charset="0"/>
              </a:rPr>
              <a:t>BIG DATA STORAGE</a:t>
            </a:r>
          </a:p>
        </p:txBody>
      </p:sp>
      <p:sp>
        <p:nvSpPr>
          <p:cNvPr id="24" name="TextBox 23"/>
          <p:cNvSpPr txBox="1"/>
          <p:nvPr/>
        </p:nvSpPr>
        <p:spPr>
          <a:xfrm rot="16200000">
            <a:off x="9360491" y="3341971"/>
            <a:ext cx="2605208" cy="647165"/>
          </a:xfrm>
          <a:prstGeom prst="rect">
            <a:avLst/>
          </a:prstGeom>
          <a:noFill/>
        </p:spPr>
        <p:txBody>
          <a:bodyPr wrap="square" lIns="186521" tIns="149217" rIns="186521" bIns="149217" rtlCol="0">
            <a:spAutoFit/>
          </a:bodyPr>
          <a:lstStyle/>
          <a:p>
            <a:pPr algn="ctr" defTabSz="932597">
              <a:lnSpc>
                <a:spcPct val="90000"/>
              </a:lnSpc>
              <a:spcAft>
                <a:spcPts val="612"/>
              </a:spcAft>
              <a:defRPr/>
            </a:pPr>
            <a:r>
              <a:rPr lang="en-US" sz="1224" b="1" dirty="0">
                <a:solidFill>
                  <a:srgbClr val="505050"/>
                </a:solidFill>
                <a:latin typeface="Segoe UI"/>
                <a:ea typeface="Segoe UI" pitchFamily="34" charset="0"/>
                <a:cs typeface="Segoe UI" pitchFamily="34" charset="0"/>
              </a:rPr>
              <a:t>BIG DATA </a:t>
            </a:r>
            <a:br>
              <a:rPr lang="en-US" sz="1224" b="1" dirty="0">
                <a:solidFill>
                  <a:srgbClr val="505050"/>
                </a:solidFill>
                <a:latin typeface="Segoe UI"/>
                <a:ea typeface="Segoe UI" pitchFamily="34" charset="0"/>
                <a:cs typeface="Segoe UI" pitchFamily="34" charset="0"/>
              </a:rPr>
            </a:br>
            <a:r>
              <a:rPr lang="en-US" sz="1224" b="1" dirty="0">
                <a:solidFill>
                  <a:srgbClr val="505050"/>
                </a:solidFill>
                <a:latin typeface="Segoe UI"/>
                <a:ea typeface="Segoe UI" pitchFamily="34" charset="0"/>
                <a:cs typeface="Segoe UI" pitchFamily="34" charset="0"/>
              </a:rPr>
              <a:t>ANALYTICS</a:t>
            </a:r>
          </a:p>
        </p:txBody>
      </p:sp>
      <p:sp>
        <p:nvSpPr>
          <p:cNvPr id="25" name="Rectangle 24"/>
          <p:cNvSpPr/>
          <p:nvPr/>
        </p:nvSpPr>
        <p:spPr>
          <a:xfrm>
            <a:off x="2241755" y="1786196"/>
            <a:ext cx="8145074" cy="315661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9" name="Pentagon 63"/>
          <p:cNvSpPr/>
          <p:nvPr/>
        </p:nvSpPr>
        <p:spPr bwMode="auto">
          <a:xfrm rot="16200000">
            <a:off x="235356" y="3069706"/>
            <a:ext cx="3303134" cy="443082"/>
          </a:xfrm>
          <a:prstGeom prst="homePlat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r" defTabSz="950846" fontAlgn="base">
              <a:lnSpc>
                <a:spcPct val="90000"/>
              </a:lnSpc>
              <a:spcBef>
                <a:spcPct val="0"/>
              </a:spcBef>
              <a:spcAft>
                <a:spcPct val="0"/>
              </a:spcAft>
              <a:defRPr/>
            </a:pPr>
            <a:r>
              <a:rPr lang="en-US" sz="1428" b="1" kern="0" dirty="0">
                <a:solidFill>
                  <a:srgbClr val="FFFFFF"/>
                </a:solidFill>
                <a:latin typeface="Segoe UI"/>
                <a:ea typeface="Segoe UI" pitchFamily="34" charset="0"/>
                <a:cs typeface="Segoe UI Semibold" panose="020B0702040204020203" pitchFamily="34" charset="0"/>
              </a:rPr>
              <a:t>Reduced Administration</a:t>
            </a:r>
          </a:p>
        </p:txBody>
      </p:sp>
      <p:sp>
        <p:nvSpPr>
          <p:cNvPr id="27" name="Title 3"/>
          <p:cNvSpPr txBox="1">
            <a:spLocks/>
          </p:cNvSpPr>
          <p:nvPr/>
        </p:nvSpPr>
        <p:spPr>
          <a:xfrm>
            <a:off x="96197" y="-73890"/>
            <a:ext cx="11887878" cy="917575"/>
          </a:xfrm>
          <a:prstGeom prst="rect">
            <a:avLst/>
          </a:prstGeom>
        </p:spPr>
        <p:txBody>
          <a:bodyPr vert="horz" wrap="square" lIns="149217" tIns="93260" rIns="149217" bIns="93260" rtlCol="0" anchor="t">
            <a:normAutofit fontScale="97500"/>
          </a:bodyPr>
          <a:lstStyle>
            <a:lvl1pPr algn="l" defTabSz="914367" rtl="0" eaLnBrk="1" latinLnBrk="0" hangingPunct="1">
              <a:lnSpc>
                <a:spcPct val="90000"/>
              </a:lnSpc>
              <a:spcBef>
                <a:spcPct val="0"/>
              </a:spcBef>
              <a:buNone/>
              <a:defRPr lang="en-US" sz="4400" b="0" kern="1200" cap="none" spc="-100" baseline="0">
                <a:ln w="3175">
                  <a:noFill/>
                </a:ln>
                <a:solidFill>
                  <a:schemeClr val="bg1"/>
                </a:solidFill>
                <a:effectLst/>
                <a:latin typeface="+mj-lt"/>
                <a:ea typeface="+mn-ea"/>
                <a:cs typeface="Segoe UI" pitchFamily="34" charset="0"/>
              </a:defRPr>
            </a:lvl1pPr>
          </a:lstStyle>
          <a:p>
            <a:pPr defTabSz="932563">
              <a:lnSpc>
                <a:spcPct val="100000"/>
              </a:lnSpc>
              <a:spcBef>
                <a:spcPts val="0"/>
              </a:spcBef>
              <a:defRPr/>
            </a:pPr>
            <a:endParaRPr lang="en-US" sz="4488" spc="-102" dirty="0">
              <a:solidFill>
                <a:srgbClr val="505050"/>
              </a:solidFill>
              <a:latin typeface="Segoe UI Light"/>
            </a:endParaRPr>
          </a:p>
        </p:txBody>
      </p:sp>
      <p:sp>
        <p:nvSpPr>
          <p:cNvPr id="2" name="Text Placeholder 1">
            <a:extLst>
              <a:ext uri="{FF2B5EF4-FFF2-40B4-BE49-F238E27FC236}">
                <a16:creationId xmlns:a16="http://schemas.microsoft.com/office/drawing/2014/main" id="{434F770F-8BD8-40AF-91FF-015B10FCBEB4}"/>
              </a:ext>
            </a:extLst>
          </p:cNvPr>
          <p:cNvSpPr>
            <a:spLocks noGrp="1"/>
          </p:cNvSpPr>
          <p:nvPr>
            <p:ph type="body" sz="quarter" idx="11"/>
          </p:nvPr>
        </p:nvSpPr>
        <p:spPr/>
        <p:txBody>
          <a:bodyPr/>
          <a:lstStyle/>
          <a:p>
            <a:r>
              <a:rPr lang="en-US"/>
              <a:t>POSITIONING THE DIFFERENT BIG DATA SOLUTIONS</a:t>
            </a:r>
            <a:endParaRPr lang="en-US" dirty="0"/>
          </a:p>
        </p:txBody>
      </p:sp>
      <p:pic>
        <p:nvPicPr>
          <p:cNvPr id="14" name="Picture 13">
            <a:extLst>
              <a:ext uri="{FF2B5EF4-FFF2-40B4-BE49-F238E27FC236}">
                <a16:creationId xmlns:a16="http://schemas.microsoft.com/office/drawing/2014/main" id="{8A2DB137-D386-461C-84A4-CBC41773D1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86112" y="5231816"/>
            <a:ext cx="460569" cy="460569"/>
          </a:xfrm>
          <a:prstGeom prst="rect">
            <a:avLst/>
          </a:prstGeom>
        </p:spPr>
      </p:pic>
      <p:sp>
        <p:nvSpPr>
          <p:cNvPr id="20" name="Freeform: Shape 19">
            <a:extLst>
              <a:ext uri="{FF2B5EF4-FFF2-40B4-BE49-F238E27FC236}">
                <a16:creationId xmlns:a16="http://schemas.microsoft.com/office/drawing/2014/main" id="{B5FECA09-3268-4F4D-B90C-3CF0F10B4BD3}"/>
              </a:ext>
            </a:extLst>
          </p:cNvPr>
          <p:cNvSpPr/>
          <p:nvPr/>
        </p:nvSpPr>
        <p:spPr>
          <a:xfrm>
            <a:off x="3773530" y="5898393"/>
            <a:ext cx="485731" cy="417729"/>
          </a:xfrm>
          <a:custGeom>
            <a:avLst/>
            <a:gdLst/>
            <a:ahLst/>
            <a:cxnLst/>
            <a:rect l="0" t="0" r="0" b="0"/>
            <a:pathLst>
              <a:path w="476250" h="409575">
                <a:moveTo>
                  <a:pt x="407670" y="160972"/>
                </a:moveTo>
                <a:lnTo>
                  <a:pt x="376238" y="160972"/>
                </a:lnTo>
                <a:lnTo>
                  <a:pt x="376238" y="14288"/>
                </a:lnTo>
                <a:cubicBezTo>
                  <a:pt x="376238" y="6668"/>
                  <a:pt x="369570" y="0"/>
                  <a:pt x="361950" y="0"/>
                </a:cubicBezTo>
                <a:lnTo>
                  <a:pt x="14288" y="0"/>
                </a:lnTo>
                <a:cubicBezTo>
                  <a:pt x="6668" y="0"/>
                  <a:pt x="0" y="6668"/>
                  <a:pt x="0" y="14288"/>
                </a:cubicBezTo>
                <a:lnTo>
                  <a:pt x="0" y="306705"/>
                </a:lnTo>
                <a:cubicBezTo>
                  <a:pt x="0" y="314325"/>
                  <a:pt x="6668" y="320993"/>
                  <a:pt x="14288" y="320993"/>
                </a:cubicBezTo>
                <a:lnTo>
                  <a:pt x="211455" y="320993"/>
                </a:lnTo>
                <a:lnTo>
                  <a:pt x="262890" y="410528"/>
                </a:lnTo>
                <a:lnTo>
                  <a:pt x="406718" y="410528"/>
                </a:lnTo>
                <a:lnTo>
                  <a:pt x="478155" y="285750"/>
                </a:lnTo>
                <a:lnTo>
                  <a:pt x="407670" y="160972"/>
                </a:lnTo>
                <a:close/>
                <a:moveTo>
                  <a:pt x="279083" y="83820"/>
                </a:moveTo>
                <a:lnTo>
                  <a:pt x="348615" y="83820"/>
                </a:lnTo>
                <a:lnTo>
                  <a:pt x="348615" y="125730"/>
                </a:lnTo>
                <a:lnTo>
                  <a:pt x="279083" y="125730"/>
                </a:lnTo>
                <a:lnTo>
                  <a:pt x="279083" y="83820"/>
                </a:lnTo>
                <a:close/>
                <a:moveTo>
                  <a:pt x="348615" y="140018"/>
                </a:moveTo>
                <a:lnTo>
                  <a:pt x="348615" y="160972"/>
                </a:lnTo>
                <a:lnTo>
                  <a:pt x="279083" y="160972"/>
                </a:lnTo>
                <a:lnTo>
                  <a:pt x="279083" y="140018"/>
                </a:lnTo>
                <a:lnTo>
                  <a:pt x="348615" y="140018"/>
                </a:lnTo>
                <a:close/>
                <a:moveTo>
                  <a:pt x="195263" y="83820"/>
                </a:moveTo>
                <a:lnTo>
                  <a:pt x="264795" y="83820"/>
                </a:lnTo>
                <a:lnTo>
                  <a:pt x="264795" y="125730"/>
                </a:lnTo>
                <a:lnTo>
                  <a:pt x="195263" y="125730"/>
                </a:lnTo>
                <a:lnTo>
                  <a:pt x="195263" y="83820"/>
                </a:lnTo>
                <a:close/>
                <a:moveTo>
                  <a:pt x="195263" y="140018"/>
                </a:moveTo>
                <a:lnTo>
                  <a:pt x="264795" y="140018"/>
                </a:lnTo>
                <a:lnTo>
                  <a:pt x="264795" y="160972"/>
                </a:lnTo>
                <a:lnTo>
                  <a:pt x="262890" y="160972"/>
                </a:lnTo>
                <a:lnTo>
                  <a:pt x="250508" y="181927"/>
                </a:lnTo>
                <a:lnTo>
                  <a:pt x="194310" y="181927"/>
                </a:lnTo>
                <a:lnTo>
                  <a:pt x="194310" y="140018"/>
                </a:lnTo>
                <a:close/>
                <a:moveTo>
                  <a:pt x="195263" y="195263"/>
                </a:moveTo>
                <a:lnTo>
                  <a:pt x="242888" y="195263"/>
                </a:lnTo>
                <a:lnTo>
                  <a:pt x="219075" y="237172"/>
                </a:lnTo>
                <a:lnTo>
                  <a:pt x="195263" y="237172"/>
                </a:lnTo>
                <a:lnTo>
                  <a:pt x="195263" y="195263"/>
                </a:lnTo>
                <a:close/>
                <a:moveTo>
                  <a:pt x="211455" y="250508"/>
                </a:moveTo>
                <a:lnTo>
                  <a:pt x="195263" y="278130"/>
                </a:lnTo>
                <a:lnTo>
                  <a:pt x="195263" y="250508"/>
                </a:lnTo>
                <a:lnTo>
                  <a:pt x="211455" y="250508"/>
                </a:lnTo>
                <a:close/>
                <a:moveTo>
                  <a:pt x="98107" y="292418"/>
                </a:moveTo>
                <a:lnTo>
                  <a:pt x="28575" y="292418"/>
                </a:lnTo>
                <a:lnTo>
                  <a:pt x="28575" y="250508"/>
                </a:lnTo>
                <a:lnTo>
                  <a:pt x="98107" y="250508"/>
                </a:lnTo>
                <a:lnTo>
                  <a:pt x="98107" y="292418"/>
                </a:lnTo>
                <a:close/>
                <a:moveTo>
                  <a:pt x="98107" y="237172"/>
                </a:moveTo>
                <a:lnTo>
                  <a:pt x="28575" y="237172"/>
                </a:lnTo>
                <a:lnTo>
                  <a:pt x="28575" y="195263"/>
                </a:lnTo>
                <a:lnTo>
                  <a:pt x="98107" y="195263"/>
                </a:lnTo>
                <a:lnTo>
                  <a:pt x="98107" y="237172"/>
                </a:lnTo>
                <a:close/>
                <a:moveTo>
                  <a:pt x="98107" y="180975"/>
                </a:moveTo>
                <a:lnTo>
                  <a:pt x="28575" y="180975"/>
                </a:lnTo>
                <a:lnTo>
                  <a:pt x="28575" y="139065"/>
                </a:lnTo>
                <a:lnTo>
                  <a:pt x="98107" y="139065"/>
                </a:lnTo>
                <a:lnTo>
                  <a:pt x="98107" y="180975"/>
                </a:lnTo>
                <a:close/>
                <a:moveTo>
                  <a:pt x="98107" y="125730"/>
                </a:moveTo>
                <a:lnTo>
                  <a:pt x="28575" y="125730"/>
                </a:lnTo>
                <a:lnTo>
                  <a:pt x="28575" y="83820"/>
                </a:lnTo>
                <a:lnTo>
                  <a:pt x="98107" y="83820"/>
                </a:lnTo>
                <a:lnTo>
                  <a:pt x="98107" y="125730"/>
                </a:lnTo>
                <a:close/>
                <a:moveTo>
                  <a:pt x="181928" y="292418"/>
                </a:moveTo>
                <a:lnTo>
                  <a:pt x="112395" y="292418"/>
                </a:lnTo>
                <a:lnTo>
                  <a:pt x="112395" y="250508"/>
                </a:lnTo>
                <a:lnTo>
                  <a:pt x="181928" y="250508"/>
                </a:lnTo>
                <a:lnTo>
                  <a:pt x="181928" y="292418"/>
                </a:lnTo>
                <a:close/>
                <a:moveTo>
                  <a:pt x="181928" y="237172"/>
                </a:moveTo>
                <a:lnTo>
                  <a:pt x="112395" y="237172"/>
                </a:lnTo>
                <a:lnTo>
                  <a:pt x="112395" y="195263"/>
                </a:lnTo>
                <a:lnTo>
                  <a:pt x="181928" y="195263"/>
                </a:lnTo>
                <a:lnTo>
                  <a:pt x="181928" y="237172"/>
                </a:lnTo>
                <a:close/>
                <a:moveTo>
                  <a:pt x="181928" y="180975"/>
                </a:moveTo>
                <a:lnTo>
                  <a:pt x="112395" y="180975"/>
                </a:lnTo>
                <a:lnTo>
                  <a:pt x="112395" y="139065"/>
                </a:lnTo>
                <a:lnTo>
                  <a:pt x="181928" y="139065"/>
                </a:lnTo>
                <a:lnTo>
                  <a:pt x="181928" y="180975"/>
                </a:lnTo>
                <a:close/>
                <a:moveTo>
                  <a:pt x="181928" y="125730"/>
                </a:moveTo>
                <a:lnTo>
                  <a:pt x="112395" y="125730"/>
                </a:lnTo>
                <a:lnTo>
                  <a:pt x="112395" y="83820"/>
                </a:lnTo>
                <a:lnTo>
                  <a:pt x="181928" y="83820"/>
                </a:lnTo>
                <a:lnTo>
                  <a:pt x="181928" y="125730"/>
                </a:lnTo>
                <a:close/>
                <a:moveTo>
                  <a:pt x="195263" y="292418"/>
                </a:moveTo>
                <a:lnTo>
                  <a:pt x="195263" y="291465"/>
                </a:lnTo>
                <a:lnTo>
                  <a:pt x="195263" y="292418"/>
                </a:lnTo>
                <a:lnTo>
                  <a:pt x="195263" y="292418"/>
                </a:lnTo>
                <a:close/>
              </a:path>
            </a:pathLst>
          </a:custGeom>
          <a:solidFill>
            <a:srgbClr val="0078D7"/>
          </a:solidFill>
          <a:ln w="9525" cap="flat">
            <a:noFill/>
            <a:prstDash val="solid"/>
            <a:miter/>
          </a:ln>
        </p:spPr>
        <p:txBody>
          <a:bodyPr/>
          <a:lstStyle/>
          <a:p>
            <a:pPr defTabSz="932597">
              <a:defRPr/>
            </a:pPr>
            <a:endParaRPr lang="en-US" sz="1836">
              <a:solidFill>
                <a:srgbClr val="505050"/>
              </a:solidFill>
              <a:latin typeface="Segoe UI"/>
            </a:endParaRPr>
          </a:p>
        </p:txBody>
      </p:sp>
      <p:pic>
        <p:nvPicPr>
          <p:cNvPr id="22" name="Graphic 21">
            <a:extLst>
              <a:ext uri="{FF2B5EF4-FFF2-40B4-BE49-F238E27FC236}">
                <a16:creationId xmlns:a16="http://schemas.microsoft.com/office/drawing/2014/main" id="{B66793F1-1CA2-4963-9028-C2C1B383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71206" y="3304118"/>
            <a:ext cx="605963" cy="605963"/>
          </a:xfrm>
          <a:prstGeom prst="rect">
            <a:avLst/>
          </a:prstGeom>
        </p:spPr>
      </p:pic>
      <p:grpSp>
        <p:nvGrpSpPr>
          <p:cNvPr id="35" name="Group 34">
            <a:extLst>
              <a:ext uri="{FF2B5EF4-FFF2-40B4-BE49-F238E27FC236}">
                <a16:creationId xmlns:a16="http://schemas.microsoft.com/office/drawing/2014/main" id="{DCD0CB27-7762-48ED-B17A-5D731C9E1F4B}"/>
              </a:ext>
            </a:extLst>
          </p:cNvPr>
          <p:cNvGrpSpPr/>
          <p:nvPr/>
        </p:nvGrpSpPr>
        <p:grpSpPr>
          <a:xfrm>
            <a:off x="9021427" y="2823752"/>
            <a:ext cx="740153" cy="752073"/>
            <a:chOff x="8428618" y="2891968"/>
            <a:chExt cx="780290" cy="780290"/>
          </a:xfrm>
        </p:grpSpPr>
        <p:sp>
          <p:nvSpPr>
            <p:cNvPr id="30" name="Rectangle: Rounded Corners 29">
              <a:extLst>
                <a:ext uri="{FF2B5EF4-FFF2-40B4-BE49-F238E27FC236}">
                  <a16:creationId xmlns:a16="http://schemas.microsoft.com/office/drawing/2014/main" id="{58DA2030-B520-44B0-9957-FBA4BAA708FE}"/>
                </a:ext>
              </a:extLst>
            </p:cNvPr>
            <p:cNvSpPr/>
            <p:nvPr/>
          </p:nvSpPr>
          <p:spPr bwMode="auto">
            <a:xfrm>
              <a:off x="8539085" y="2982852"/>
              <a:ext cx="567688" cy="588659"/>
            </a:xfrm>
            <a:prstGeom prst="roundRect">
              <a:avLst>
                <a:gd name="adj" fmla="val 6789"/>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 name="Picture 25">
              <a:extLst>
                <a:ext uri="{FF2B5EF4-FFF2-40B4-BE49-F238E27FC236}">
                  <a16:creationId xmlns:a16="http://schemas.microsoft.com/office/drawing/2014/main" id="{33F94691-10A2-43A3-848F-12844A0907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8618" y="2891968"/>
              <a:ext cx="780290" cy="780290"/>
            </a:xfrm>
            <a:prstGeom prst="rect">
              <a:avLst/>
            </a:prstGeom>
          </p:spPr>
        </p:pic>
      </p:grpSp>
      <p:pic>
        <p:nvPicPr>
          <p:cNvPr id="34" name="Graphic 33">
            <a:extLst>
              <a:ext uri="{FF2B5EF4-FFF2-40B4-BE49-F238E27FC236}">
                <a16:creationId xmlns:a16="http://schemas.microsoft.com/office/drawing/2014/main" id="{9441363C-A32C-4657-9D55-038B651E9A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53793" y="3799559"/>
            <a:ext cx="315932" cy="315932"/>
          </a:xfrm>
          <a:prstGeom prst="rect">
            <a:avLst/>
          </a:prstGeom>
        </p:spPr>
      </p:pic>
      <p:pic>
        <p:nvPicPr>
          <p:cNvPr id="43" name="Picture 42">
            <a:extLst>
              <a:ext uri="{FF2B5EF4-FFF2-40B4-BE49-F238E27FC236}">
                <a16:creationId xmlns:a16="http://schemas.microsoft.com/office/drawing/2014/main" id="{922BA05C-6146-4814-A942-67A1298C2B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3358" y="2972215"/>
            <a:ext cx="842318" cy="842318"/>
          </a:xfrm>
          <a:prstGeom prst="rect">
            <a:avLst/>
          </a:prstGeom>
        </p:spPr>
      </p:pic>
      <p:sp>
        <p:nvSpPr>
          <p:cNvPr id="45" name="Title 1">
            <a:extLst>
              <a:ext uri="{FF2B5EF4-FFF2-40B4-BE49-F238E27FC236}">
                <a16:creationId xmlns:a16="http://schemas.microsoft.com/office/drawing/2014/main" id="{B877D358-EF59-463F-8C72-2FE417FC1230}"/>
              </a:ext>
            </a:extLst>
          </p:cNvPr>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ifferent Big Data Solutions</a:t>
            </a:r>
          </a:p>
        </p:txBody>
      </p:sp>
    </p:spTree>
    <p:extLst>
      <p:ext uri="{BB962C8B-B14F-4D97-AF65-F5344CB8AC3E}">
        <p14:creationId xmlns:p14="http://schemas.microsoft.com/office/powerpoint/2010/main" val="19520347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5990F-8377-46B4-9411-EC7409972715}"/>
              </a:ext>
            </a:extLst>
          </p:cNvPr>
          <p:cNvSpPr>
            <a:spLocks noGrp="1"/>
          </p:cNvSpPr>
          <p:nvPr>
            <p:ph type="title"/>
          </p:nvPr>
        </p:nvSpPr>
        <p:spPr/>
        <p:txBody>
          <a:bodyPr/>
          <a:lstStyle/>
          <a:p>
            <a:r>
              <a:rPr lang="en-AU" dirty="0"/>
              <a:t>Spark Fundamentals</a:t>
            </a:r>
          </a:p>
        </p:txBody>
      </p:sp>
    </p:spTree>
    <p:extLst>
      <p:ext uri="{BB962C8B-B14F-4D97-AF65-F5344CB8AC3E}">
        <p14:creationId xmlns:p14="http://schemas.microsoft.com/office/powerpoint/2010/main" val="27110433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8" name="Picture 6" descr="Image result for apache tez">
            <a:extLst>
              <a:ext uri="{FF2B5EF4-FFF2-40B4-BE49-F238E27FC236}">
                <a16:creationId xmlns:a16="http://schemas.microsoft.com/office/drawing/2014/main" id="{775F7378-3BF4-4765-9524-1F8240107A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702" y="2849190"/>
            <a:ext cx="2363201" cy="1211140"/>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Image result for hive">
            <a:extLst>
              <a:ext uri="{FF2B5EF4-FFF2-40B4-BE49-F238E27FC236}">
                <a16:creationId xmlns:a16="http://schemas.microsoft.com/office/drawing/2014/main" id="{2094DA44-FDE1-499A-A182-4A32A0C133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7644" y="952333"/>
            <a:ext cx="2003355" cy="1802855"/>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descr="Image result for mahout">
            <a:extLst>
              <a:ext uri="{FF2B5EF4-FFF2-40B4-BE49-F238E27FC236}">
                <a16:creationId xmlns:a16="http://schemas.microsoft.com/office/drawing/2014/main" id="{C78DC43E-C268-4FAD-8B6C-BEF5F091CB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6718" y="3102025"/>
            <a:ext cx="3112791" cy="1302423"/>
          </a:xfrm>
          <a:prstGeom prst="rect">
            <a:avLst/>
          </a:prstGeom>
          <a:noFill/>
          <a:extLst>
            <a:ext uri="{909E8E84-426E-40DD-AFC4-6F175D3DCCD1}">
              <a14:hiddenFill xmlns:a14="http://schemas.microsoft.com/office/drawing/2010/main">
                <a:solidFill>
                  <a:srgbClr val="FFFFFF"/>
                </a:solidFill>
              </a14:hiddenFill>
            </a:ext>
          </a:extLst>
        </p:spPr>
      </p:pic>
      <p:pic>
        <p:nvPicPr>
          <p:cNvPr id="18446" name="Picture 14" descr="Image result for apache pig'">
            <a:extLst>
              <a:ext uri="{FF2B5EF4-FFF2-40B4-BE49-F238E27FC236}">
                <a16:creationId xmlns:a16="http://schemas.microsoft.com/office/drawing/2014/main" id="{48DEE3C1-42D6-472E-A344-85EFCB56F8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0457" y="2635106"/>
            <a:ext cx="2097631" cy="2501826"/>
          </a:xfrm>
          <a:prstGeom prst="rect">
            <a:avLst/>
          </a:prstGeom>
          <a:noFill/>
          <a:extLst>
            <a:ext uri="{909E8E84-426E-40DD-AFC4-6F175D3DCCD1}">
              <a14:hiddenFill xmlns:a14="http://schemas.microsoft.com/office/drawing/2010/main">
                <a:solidFill>
                  <a:srgbClr val="FFFFFF"/>
                </a:solidFill>
              </a14:hiddenFill>
            </a:ext>
          </a:extLst>
        </p:spPr>
      </p:pic>
      <p:pic>
        <p:nvPicPr>
          <p:cNvPr id="18448" name="Picture 16" descr="Image result for apache storm">
            <a:extLst>
              <a:ext uri="{FF2B5EF4-FFF2-40B4-BE49-F238E27FC236}">
                <a16:creationId xmlns:a16="http://schemas.microsoft.com/office/drawing/2014/main" id="{596C269B-D0B3-4316-AAED-5610E20F67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83055" y="1608029"/>
            <a:ext cx="3403789" cy="1242383"/>
          </a:xfrm>
          <a:prstGeom prst="rect">
            <a:avLst/>
          </a:prstGeom>
          <a:noFill/>
          <a:extLst>
            <a:ext uri="{909E8E84-426E-40DD-AFC4-6F175D3DCCD1}">
              <a14:hiddenFill xmlns:a14="http://schemas.microsoft.com/office/drawing/2010/main">
                <a:solidFill>
                  <a:srgbClr val="FFFFFF"/>
                </a:solidFill>
              </a14:hiddenFill>
            </a:ext>
          </a:extLst>
        </p:spPr>
      </p:pic>
      <p:pic>
        <p:nvPicPr>
          <p:cNvPr id="18450" name="Picture 18" descr="Image result for mapreduce logo">
            <a:extLst>
              <a:ext uri="{FF2B5EF4-FFF2-40B4-BE49-F238E27FC236}">
                <a16:creationId xmlns:a16="http://schemas.microsoft.com/office/drawing/2014/main" id="{E407D20F-07B7-40B2-B25E-0868B8969DE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779" y="1460494"/>
            <a:ext cx="3485943" cy="1067570"/>
          </a:xfrm>
          <a:prstGeom prst="rect">
            <a:avLst/>
          </a:prstGeom>
          <a:noFill/>
          <a:extLst>
            <a:ext uri="{909E8E84-426E-40DD-AFC4-6F175D3DCCD1}">
              <a14:hiddenFill xmlns:a14="http://schemas.microsoft.com/office/drawing/2010/main">
                <a:solidFill>
                  <a:srgbClr val="FFFFFF"/>
                </a:solidFill>
              </a14:hiddenFill>
            </a:ext>
          </a:extLst>
        </p:spPr>
      </p:pic>
      <p:pic>
        <p:nvPicPr>
          <p:cNvPr id="18458" name="Picture 26" descr="Image result for apache giraph logo">
            <a:extLst>
              <a:ext uri="{FF2B5EF4-FFF2-40B4-BE49-F238E27FC236}">
                <a16:creationId xmlns:a16="http://schemas.microsoft.com/office/drawing/2014/main" id="{FAF6951F-D53F-4AF8-9253-0C8F1E443B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00862" y="5025682"/>
            <a:ext cx="3204155" cy="916174"/>
          </a:xfrm>
          <a:prstGeom prst="rect">
            <a:avLst/>
          </a:prstGeom>
          <a:noFill/>
          <a:extLst>
            <a:ext uri="{909E8E84-426E-40DD-AFC4-6F175D3DCCD1}">
              <a14:hiddenFill xmlns:a14="http://schemas.microsoft.com/office/drawing/2010/main">
                <a:solidFill>
                  <a:srgbClr val="FFFFFF"/>
                </a:solidFill>
              </a14:hiddenFill>
            </a:ext>
          </a:extLst>
        </p:spPr>
      </p:pic>
      <p:pic>
        <p:nvPicPr>
          <p:cNvPr id="18460" name="Picture 28" descr="Image result for apache flume logo">
            <a:extLst>
              <a:ext uri="{FF2B5EF4-FFF2-40B4-BE49-F238E27FC236}">
                <a16:creationId xmlns:a16="http://schemas.microsoft.com/office/drawing/2014/main" id="{FCAEDF36-D623-44C5-BA98-AFEC201AA13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79222" y="4274414"/>
            <a:ext cx="1736084" cy="1736084"/>
          </a:xfrm>
          <a:prstGeom prst="rect">
            <a:avLst/>
          </a:prstGeom>
          <a:noFill/>
          <a:extLst>
            <a:ext uri="{909E8E84-426E-40DD-AFC4-6F175D3DCCD1}">
              <a14:hiddenFill xmlns:a14="http://schemas.microsoft.com/office/drawing/2010/main">
                <a:solidFill>
                  <a:srgbClr val="FFFFFF"/>
                </a:solidFill>
              </a14:hiddenFill>
            </a:ext>
          </a:extLst>
        </p:spPr>
      </p:pic>
      <p:pic>
        <p:nvPicPr>
          <p:cNvPr id="18466" name="Picture 34" descr="Image result for apache flink">
            <a:extLst>
              <a:ext uri="{FF2B5EF4-FFF2-40B4-BE49-F238E27FC236}">
                <a16:creationId xmlns:a16="http://schemas.microsoft.com/office/drawing/2014/main" id="{50E9E84D-98D4-4B3B-8E17-54CC61F7D90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82533" y="2635106"/>
            <a:ext cx="2448272" cy="1808094"/>
          </a:xfrm>
          <a:prstGeom prst="rect">
            <a:avLst/>
          </a:prstGeom>
          <a:noFill/>
          <a:extLst>
            <a:ext uri="{909E8E84-426E-40DD-AFC4-6F175D3DCCD1}">
              <a14:hiddenFill xmlns:a14="http://schemas.microsoft.com/office/drawing/2010/main">
                <a:solidFill>
                  <a:srgbClr val="FFFFFF"/>
                </a:solidFill>
              </a14:hiddenFill>
            </a:ext>
          </a:extLst>
        </p:spPr>
      </p:pic>
      <p:pic>
        <p:nvPicPr>
          <p:cNvPr id="18468" name="Picture 36" descr="Image result for sqoop logo">
            <a:extLst>
              <a:ext uri="{FF2B5EF4-FFF2-40B4-BE49-F238E27FC236}">
                <a16:creationId xmlns:a16="http://schemas.microsoft.com/office/drawing/2014/main" id="{885D422B-D42D-4CE4-B0A2-69A136D22D5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34497" y="4777242"/>
            <a:ext cx="2419284" cy="638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29997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2B558-927F-40EA-8AE8-AC60209BDDEA}"/>
              </a:ext>
            </a:extLst>
          </p:cNvPr>
          <p:cNvSpPr>
            <a:spLocks noGrp="1"/>
          </p:cNvSpPr>
          <p:nvPr>
            <p:ph type="title"/>
          </p:nvPr>
        </p:nvSpPr>
        <p:spPr/>
        <p:txBody>
          <a:bodyPr/>
          <a:lstStyle/>
          <a:p>
            <a:r>
              <a:rPr lang="en-AU" dirty="0"/>
              <a:t>Apache Spark</a:t>
            </a:r>
          </a:p>
        </p:txBody>
      </p:sp>
      <p:sp>
        <p:nvSpPr>
          <p:cNvPr id="3" name="Text Placeholder 2">
            <a:extLst>
              <a:ext uri="{FF2B5EF4-FFF2-40B4-BE49-F238E27FC236}">
                <a16:creationId xmlns:a16="http://schemas.microsoft.com/office/drawing/2014/main" id="{E5EF157F-384B-40D2-82D0-6077D03B4A98}"/>
              </a:ext>
            </a:extLst>
          </p:cNvPr>
          <p:cNvSpPr>
            <a:spLocks noGrp="1"/>
          </p:cNvSpPr>
          <p:nvPr>
            <p:ph type="body" sz="quarter" idx="10"/>
          </p:nvPr>
        </p:nvSpPr>
        <p:spPr>
          <a:xfrm>
            <a:off x="274639" y="1211287"/>
            <a:ext cx="5486399" cy="2416046"/>
          </a:xfrm>
        </p:spPr>
        <p:txBody>
          <a:bodyPr/>
          <a:lstStyle/>
          <a:p>
            <a:r>
              <a:rPr lang="en-AU" dirty="0"/>
              <a:t>a </a:t>
            </a:r>
            <a:r>
              <a:rPr lang="en-AU" b="1" dirty="0"/>
              <a:t>unified computing engine</a:t>
            </a:r>
            <a:r>
              <a:rPr lang="en-AU" dirty="0"/>
              <a:t> and a set of libraries for parallel data processing on computer clusters</a:t>
            </a:r>
          </a:p>
          <a:p>
            <a:endParaRPr lang="en-AU" dirty="0"/>
          </a:p>
        </p:txBody>
      </p:sp>
      <p:pic>
        <p:nvPicPr>
          <p:cNvPr id="20482" name="Picture 2" descr="Image result for apache spark">
            <a:extLst>
              <a:ext uri="{FF2B5EF4-FFF2-40B4-BE49-F238E27FC236}">
                <a16:creationId xmlns:a16="http://schemas.microsoft.com/office/drawing/2014/main" id="{82AAA0F9-A947-4B98-847A-2E5B4FA642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85" y="4524941"/>
            <a:ext cx="2448272" cy="130227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E8912581-E054-4503-BFB7-09BAF7C36AE2}"/>
              </a:ext>
            </a:extLst>
          </p:cNvPr>
          <p:cNvGrpSpPr/>
          <p:nvPr/>
        </p:nvGrpSpPr>
        <p:grpSpPr>
          <a:xfrm>
            <a:off x="5761038" y="976982"/>
            <a:ext cx="6355637" cy="5328592"/>
            <a:chOff x="5756094" y="1120998"/>
            <a:chExt cx="6355637" cy="5328592"/>
          </a:xfrm>
        </p:grpSpPr>
        <p:sp>
          <p:nvSpPr>
            <p:cNvPr id="5" name="Rectangle 4">
              <a:extLst>
                <a:ext uri="{FF2B5EF4-FFF2-40B4-BE49-F238E27FC236}">
                  <a16:creationId xmlns:a16="http://schemas.microsoft.com/office/drawing/2014/main" id="{1702119B-C0CF-4EBE-8CB5-B85FF355DB8E}"/>
                </a:ext>
              </a:extLst>
            </p:cNvPr>
            <p:cNvSpPr/>
            <p:nvPr/>
          </p:nvSpPr>
          <p:spPr>
            <a:xfrm>
              <a:off x="5793321" y="4160631"/>
              <a:ext cx="6318409" cy="945591"/>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AU" sz="2400" b="1" dirty="0"/>
                <a:t>Apache Spark Core APIs</a:t>
              </a:r>
            </a:p>
            <a:p>
              <a:pPr algn="ctr"/>
              <a:r>
                <a:rPr lang="en-AU" sz="1200" dirty="0"/>
                <a:t>RDDs, DataFrame, Datasets</a:t>
              </a:r>
              <a:endParaRPr lang="en-AU" sz="2800" dirty="0"/>
            </a:p>
          </p:txBody>
        </p:sp>
        <p:sp>
          <p:nvSpPr>
            <p:cNvPr id="6" name="Rectangle 5">
              <a:extLst>
                <a:ext uri="{FF2B5EF4-FFF2-40B4-BE49-F238E27FC236}">
                  <a16:creationId xmlns:a16="http://schemas.microsoft.com/office/drawing/2014/main" id="{2349EEE4-8FAE-4A2C-A05A-B1C56CEE4AF4}"/>
                </a:ext>
              </a:extLst>
            </p:cNvPr>
            <p:cNvSpPr/>
            <p:nvPr/>
          </p:nvSpPr>
          <p:spPr>
            <a:xfrm>
              <a:off x="5793322" y="2523503"/>
              <a:ext cx="1501213"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park SQL</a:t>
              </a:r>
            </a:p>
          </p:txBody>
        </p:sp>
        <p:sp>
          <p:nvSpPr>
            <p:cNvPr id="7" name="Rectangle 6">
              <a:extLst>
                <a:ext uri="{FF2B5EF4-FFF2-40B4-BE49-F238E27FC236}">
                  <a16:creationId xmlns:a16="http://schemas.microsoft.com/office/drawing/2014/main" id="{FEBF490E-3D64-413D-84D1-12E0FB0E347C}"/>
                </a:ext>
              </a:extLst>
            </p:cNvPr>
            <p:cNvSpPr/>
            <p:nvPr/>
          </p:nvSpPr>
          <p:spPr>
            <a:xfrm>
              <a:off x="10619056" y="2523504"/>
              <a:ext cx="1492675"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GraphX</a:t>
              </a:r>
              <a:endParaRPr lang="en-AU" dirty="0"/>
            </a:p>
            <a:p>
              <a:pPr algn="ctr"/>
              <a:r>
                <a:rPr lang="en-AU" dirty="0"/>
                <a:t>(graph)</a:t>
              </a:r>
            </a:p>
          </p:txBody>
        </p:sp>
        <p:sp>
          <p:nvSpPr>
            <p:cNvPr id="8" name="Rectangle 7">
              <a:extLst>
                <a:ext uri="{FF2B5EF4-FFF2-40B4-BE49-F238E27FC236}">
                  <a16:creationId xmlns:a16="http://schemas.microsoft.com/office/drawing/2014/main" id="{E15ED148-7651-44E6-9EA6-C95DEA4300F9}"/>
                </a:ext>
              </a:extLst>
            </p:cNvPr>
            <p:cNvSpPr/>
            <p:nvPr/>
          </p:nvSpPr>
          <p:spPr>
            <a:xfrm>
              <a:off x="7407592" y="2523504"/>
              <a:ext cx="1492675"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Structured Streaming</a:t>
              </a:r>
            </a:p>
          </p:txBody>
        </p:sp>
        <p:sp>
          <p:nvSpPr>
            <p:cNvPr id="9" name="Rectangle 8">
              <a:extLst>
                <a:ext uri="{FF2B5EF4-FFF2-40B4-BE49-F238E27FC236}">
                  <a16:creationId xmlns:a16="http://schemas.microsoft.com/office/drawing/2014/main" id="{7FA9178B-078D-4192-9D5B-8FDE953B7ECC}"/>
                </a:ext>
              </a:extLst>
            </p:cNvPr>
            <p:cNvSpPr/>
            <p:nvPr/>
          </p:nvSpPr>
          <p:spPr>
            <a:xfrm>
              <a:off x="9013324" y="2531685"/>
              <a:ext cx="1492675" cy="15193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err="1"/>
                <a:t>Mllib</a:t>
              </a:r>
              <a:endParaRPr lang="en-AU" dirty="0"/>
            </a:p>
            <a:p>
              <a:pPr algn="ctr"/>
              <a:r>
                <a:rPr lang="en-AU" dirty="0"/>
                <a:t>(machine learning)</a:t>
              </a:r>
            </a:p>
          </p:txBody>
        </p:sp>
        <p:pic>
          <p:nvPicPr>
            <p:cNvPr id="10" name="Picture 2" descr="Image result for R logo">
              <a:extLst>
                <a:ext uri="{FF2B5EF4-FFF2-40B4-BE49-F238E27FC236}">
                  <a16:creationId xmlns:a16="http://schemas.microsoft.com/office/drawing/2014/main" id="{53F24BE5-0C5E-4EF4-963E-6AF4630C60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73096" y="1460602"/>
              <a:ext cx="1069677" cy="8288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Image result for python logo">
              <a:extLst>
                <a:ext uri="{FF2B5EF4-FFF2-40B4-BE49-F238E27FC236}">
                  <a16:creationId xmlns:a16="http://schemas.microsoft.com/office/drawing/2014/main" id="{03619D09-02FB-44ED-9D3C-B180C0B1A4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2294" y="1352142"/>
              <a:ext cx="1068351" cy="10683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result for scala logo">
              <a:extLst>
                <a:ext uri="{FF2B5EF4-FFF2-40B4-BE49-F238E27FC236}">
                  <a16:creationId xmlns:a16="http://schemas.microsoft.com/office/drawing/2014/main" id="{86462092-BE6A-4064-9081-4B1D9BDB46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3811" y="1382556"/>
              <a:ext cx="1034586" cy="103458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mage result for java logo">
              <a:extLst>
                <a:ext uri="{FF2B5EF4-FFF2-40B4-BE49-F238E27FC236}">
                  <a16:creationId xmlns:a16="http://schemas.microsoft.com/office/drawing/2014/main" id="{21A67EEF-B2BB-4780-A4E5-1E25E86D24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81767" y="1120998"/>
              <a:ext cx="684742" cy="1255022"/>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descr="Image result for hdfs logo">
              <a:extLst>
                <a:ext uri="{FF2B5EF4-FFF2-40B4-BE49-F238E27FC236}">
                  <a16:creationId xmlns:a16="http://schemas.microsoft.com/office/drawing/2014/main" id="{67460602-DCE2-4F70-9C6E-A37A31C582E5}"/>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0000" l="4688" r="96250">
                          <a14:foregroundMark x1="8438" y1="47813" x2="8438" y2="47813"/>
                          <a14:foregroundMark x1="7500" y1="45000" x2="4688" y2="52812"/>
                          <a14:foregroundMark x1="89063" y1="46563" x2="89375" y2="53438"/>
                          <a14:foregroundMark x1="94688" y1="45938" x2="94688" y2="45938"/>
                          <a14:foregroundMark x1="96250" y1="45938" x2="95313" y2="51875"/>
                          <a14:foregroundMark x1="6563" y1="41875" x2="4688" y2="41875"/>
                        </a14:backgroundRemoval>
                      </a14:imgEffect>
                    </a14:imgLayer>
                  </a14:imgProps>
                </a:ext>
                <a:ext uri="{28A0092B-C50C-407E-A947-70E740481C1C}">
                  <a14:useLocalDpi xmlns:a14="http://schemas.microsoft.com/office/drawing/2010/main" val="0"/>
                </a:ext>
              </a:extLst>
            </a:blip>
            <a:srcRect/>
            <a:stretch>
              <a:fillRect/>
            </a:stretch>
          </p:blipFill>
          <p:spPr bwMode="auto">
            <a:xfrm>
              <a:off x="5756094" y="4835319"/>
              <a:ext cx="1614271" cy="1614271"/>
            </a:xfrm>
            <a:prstGeom prst="rect">
              <a:avLst/>
            </a:prstGeom>
            <a:noFill/>
            <a:extLst>
              <a:ext uri="{909E8E84-426E-40DD-AFC4-6F175D3DCCD1}">
                <a14:hiddenFill xmlns:a14="http://schemas.microsoft.com/office/drawing/2010/main">
                  <a:solidFill>
                    <a:srgbClr val="FFFFFF"/>
                  </a:solidFill>
                </a14:hiddenFill>
              </a:ext>
            </a:extLst>
          </p:spPr>
        </p:pic>
        <p:pic>
          <p:nvPicPr>
            <p:cNvPr id="20486" name="Picture 6" descr="Image result for azure blob storage">
              <a:extLst>
                <a:ext uri="{FF2B5EF4-FFF2-40B4-BE49-F238E27FC236}">
                  <a16:creationId xmlns:a16="http://schemas.microsoft.com/office/drawing/2014/main" id="{323EAA8E-6845-45F3-AE6B-24948ED3AFC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88667" y="5259535"/>
              <a:ext cx="773145" cy="773145"/>
            </a:xfrm>
            <a:prstGeom prst="rect">
              <a:avLst/>
            </a:prstGeom>
            <a:noFill/>
            <a:extLst>
              <a:ext uri="{909E8E84-426E-40DD-AFC4-6F175D3DCCD1}">
                <a14:hiddenFill xmlns:a14="http://schemas.microsoft.com/office/drawing/2010/main">
                  <a:solidFill>
                    <a:srgbClr val="FFFFFF"/>
                  </a:solidFill>
                </a14:hiddenFill>
              </a:ext>
            </a:extLst>
          </p:spPr>
        </p:pic>
        <p:pic>
          <p:nvPicPr>
            <p:cNvPr id="20488" name="Picture 8" descr="Image result for amazon s3 logo">
              <a:extLst>
                <a:ext uri="{FF2B5EF4-FFF2-40B4-BE49-F238E27FC236}">
                  <a16:creationId xmlns:a16="http://schemas.microsoft.com/office/drawing/2014/main" id="{1B6B559F-EB8C-4104-AFF1-D18EB946A03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50485" y="5327162"/>
              <a:ext cx="839346" cy="660285"/>
            </a:xfrm>
            <a:prstGeom prst="rect">
              <a:avLst/>
            </a:prstGeom>
            <a:noFill/>
            <a:extLst>
              <a:ext uri="{909E8E84-426E-40DD-AFC4-6F175D3DCCD1}">
                <a14:hiddenFill xmlns:a14="http://schemas.microsoft.com/office/drawing/2010/main">
                  <a:solidFill>
                    <a:srgbClr val="FFFFFF"/>
                  </a:solidFill>
                </a14:hiddenFill>
              </a:ext>
            </a:extLst>
          </p:spPr>
        </p:pic>
        <p:pic>
          <p:nvPicPr>
            <p:cNvPr id="20490" name="Picture 10" descr="Image result for cassandra logo">
              <a:extLst>
                <a:ext uri="{FF2B5EF4-FFF2-40B4-BE49-F238E27FC236}">
                  <a16:creationId xmlns:a16="http://schemas.microsoft.com/office/drawing/2014/main" id="{EEB910D1-F35E-4813-A11C-9C39DA00BD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16319" y="5353459"/>
              <a:ext cx="921327" cy="617770"/>
            </a:xfrm>
            <a:prstGeom prst="rect">
              <a:avLst/>
            </a:prstGeom>
            <a:noFill/>
            <a:extLst>
              <a:ext uri="{909E8E84-426E-40DD-AFC4-6F175D3DCCD1}">
                <a14:hiddenFill xmlns:a14="http://schemas.microsoft.com/office/drawing/2010/main">
                  <a:solidFill>
                    <a:srgbClr val="FFFFFF"/>
                  </a:solidFill>
                </a14:hiddenFill>
              </a:ext>
            </a:extLst>
          </p:spPr>
        </p:pic>
        <p:pic>
          <p:nvPicPr>
            <p:cNvPr id="20494" name="Picture 14" descr="Image result for hbase logo">
              <a:extLst>
                <a:ext uri="{FF2B5EF4-FFF2-40B4-BE49-F238E27FC236}">
                  <a16:creationId xmlns:a16="http://schemas.microsoft.com/office/drawing/2014/main" id="{0E3FF9CD-CD80-427D-8C2A-4A0EADF0C47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98470" y="5306315"/>
              <a:ext cx="1717849" cy="668052"/>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25312A9A-6CA5-486B-BABE-3370468A4119}"/>
              </a:ext>
            </a:extLst>
          </p:cNvPr>
          <p:cNvSpPr txBox="1"/>
          <p:nvPr/>
        </p:nvSpPr>
        <p:spPr>
          <a:xfrm>
            <a:off x="-76538" y="6017542"/>
            <a:ext cx="4566583" cy="422873"/>
          </a:xfrm>
          <a:prstGeom prst="rect">
            <a:avLst/>
          </a:prstGeom>
          <a:noFill/>
        </p:spPr>
        <p:txBody>
          <a:bodyPr wrap="square" lIns="182880" tIns="146304" rIns="182880" bIns="146304" rtlCol="0">
            <a:spAutoFit/>
          </a:bodyPr>
          <a:lstStyle/>
          <a:p>
            <a:pPr>
              <a:lnSpc>
                <a:spcPct val="90000"/>
              </a:lnSpc>
              <a:spcAft>
                <a:spcPts val="600"/>
              </a:spcAft>
            </a:pPr>
            <a:r>
              <a:rPr lang="en-AU" sz="920" dirty="0"/>
              <a:t>Spark: The Definitive Guide</a:t>
            </a:r>
            <a:r>
              <a:rPr lang="en-AU" sz="920" dirty="0">
                <a:gradFill>
                  <a:gsLst>
                    <a:gs pos="2917">
                      <a:schemeClr val="tx1"/>
                    </a:gs>
                    <a:gs pos="30000">
                      <a:schemeClr val="tx1"/>
                    </a:gs>
                  </a:gsLst>
                  <a:lin ang="5400000" scaled="0"/>
                </a:gradFill>
              </a:rPr>
              <a:t>, </a:t>
            </a:r>
            <a:r>
              <a:rPr lang="en-AU" sz="920" dirty="0" err="1">
                <a:gradFill>
                  <a:gsLst>
                    <a:gs pos="2917">
                      <a:schemeClr val="tx1"/>
                    </a:gs>
                    <a:gs pos="30000">
                      <a:schemeClr val="tx1"/>
                    </a:gs>
                  </a:gsLst>
                  <a:lin ang="5400000" scaled="0"/>
                </a:gradFill>
              </a:rPr>
              <a:t>Matei</a:t>
            </a:r>
            <a:r>
              <a:rPr lang="en-AU" sz="920" dirty="0">
                <a:gradFill>
                  <a:gsLst>
                    <a:gs pos="2917">
                      <a:schemeClr val="tx1"/>
                    </a:gs>
                    <a:gs pos="30000">
                      <a:schemeClr val="tx1"/>
                    </a:gs>
                  </a:gsLst>
                  <a:lin ang="5400000" scaled="0"/>
                </a:gradFill>
              </a:rPr>
              <a:t> </a:t>
            </a:r>
            <a:r>
              <a:rPr lang="en-AU" sz="920" dirty="0" err="1">
                <a:gradFill>
                  <a:gsLst>
                    <a:gs pos="2917">
                      <a:schemeClr val="tx1"/>
                    </a:gs>
                    <a:gs pos="30000">
                      <a:schemeClr val="tx1"/>
                    </a:gs>
                  </a:gsLst>
                  <a:lin ang="5400000" scaled="0"/>
                </a:gradFill>
              </a:rPr>
              <a:t>Zaharia</a:t>
            </a:r>
            <a:r>
              <a:rPr lang="en-AU" sz="920" dirty="0">
                <a:gradFill>
                  <a:gsLst>
                    <a:gs pos="2917">
                      <a:schemeClr val="tx1"/>
                    </a:gs>
                    <a:gs pos="30000">
                      <a:schemeClr val="tx1"/>
                    </a:gs>
                  </a:gsLst>
                  <a:lin ang="5400000" scaled="0"/>
                </a:gradFill>
              </a:rPr>
              <a:t>, Bill Chambers</a:t>
            </a:r>
            <a:endParaRPr lang="en-AU" sz="920" dirty="0"/>
          </a:p>
        </p:txBody>
      </p:sp>
    </p:spTree>
    <p:extLst>
      <p:ext uri="{BB962C8B-B14F-4D97-AF65-F5344CB8AC3E}">
        <p14:creationId xmlns:p14="http://schemas.microsoft.com/office/powerpoint/2010/main" val="34572392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BF66C-3C1A-495B-B189-5951CC51C045}"/>
              </a:ext>
            </a:extLst>
          </p:cNvPr>
          <p:cNvSpPr>
            <a:spLocks noGrp="1"/>
          </p:cNvSpPr>
          <p:nvPr>
            <p:ph type="title"/>
          </p:nvPr>
        </p:nvSpPr>
        <p:spPr/>
        <p:txBody>
          <a:bodyPr/>
          <a:lstStyle/>
          <a:p>
            <a:r>
              <a:rPr lang="en-AU" dirty="0"/>
              <a:t>Why Spark is fast</a:t>
            </a:r>
          </a:p>
        </p:txBody>
      </p:sp>
      <p:pic>
        <p:nvPicPr>
          <p:cNvPr id="3" name="Picture 2">
            <a:extLst>
              <a:ext uri="{FF2B5EF4-FFF2-40B4-BE49-F238E27FC236}">
                <a16:creationId xmlns:a16="http://schemas.microsoft.com/office/drawing/2014/main" id="{47772DCC-C0A1-4A09-9476-84EC5F01CFFB}"/>
              </a:ext>
            </a:extLst>
          </p:cNvPr>
          <p:cNvPicPr>
            <a:picLocks noChangeAspect="1"/>
          </p:cNvPicPr>
          <p:nvPr/>
        </p:nvPicPr>
        <p:blipFill>
          <a:blip r:embed="rId3"/>
          <a:stretch>
            <a:fillRect/>
          </a:stretch>
        </p:blipFill>
        <p:spPr>
          <a:xfrm>
            <a:off x="2702449" y="1837767"/>
            <a:ext cx="671521" cy="741365"/>
          </a:xfrm>
          <a:prstGeom prst="rect">
            <a:avLst/>
          </a:prstGeom>
        </p:spPr>
      </p:pic>
      <p:sp>
        <p:nvSpPr>
          <p:cNvPr id="7" name="TextBox 6">
            <a:extLst>
              <a:ext uri="{FF2B5EF4-FFF2-40B4-BE49-F238E27FC236}">
                <a16:creationId xmlns:a16="http://schemas.microsoft.com/office/drawing/2014/main" id="{3970A19B-9E25-4CBA-A11D-9CE940295918}"/>
              </a:ext>
            </a:extLst>
          </p:cNvPr>
          <p:cNvSpPr txBox="1"/>
          <p:nvPr/>
        </p:nvSpPr>
        <p:spPr>
          <a:xfrm>
            <a:off x="39646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pic>
        <p:nvPicPr>
          <p:cNvPr id="12" name="Picture 11">
            <a:extLst>
              <a:ext uri="{FF2B5EF4-FFF2-40B4-BE49-F238E27FC236}">
                <a16:creationId xmlns:a16="http://schemas.microsoft.com/office/drawing/2014/main" id="{C055D804-C24F-4105-8DD6-0C56852F053B}"/>
              </a:ext>
            </a:extLst>
          </p:cNvPr>
          <p:cNvPicPr>
            <a:picLocks noChangeAspect="1"/>
          </p:cNvPicPr>
          <p:nvPr/>
        </p:nvPicPr>
        <p:blipFill>
          <a:blip r:embed="rId4"/>
          <a:stretch>
            <a:fillRect/>
          </a:stretch>
        </p:blipFill>
        <p:spPr>
          <a:xfrm>
            <a:off x="5215041" y="4022190"/>
            <a:ext cx="1008112" cy="587967"/>
          </a:xfrm>
          <a:prstGeom prst="rect">
            <a:avLst/>
          </a:prstGeom>
        </p:spPr>
      </p:pic>
      <p:pic>
        <p:nvPicPr>
          <p:cNvPr id="13" name="Picture 12">
            <a:extLst>
              <a:ext uri="{FF2B5EF4-FFF2-40B4-BE49-F238E27FC236}">
                <a16:creationId xmlns:a16="http://schemas.microsoft.com/office/drawing/2014/main" id="{D7DE12B2-7508-4D05-8FAD-7BCEC01265BB}"/>
              </a:ext>
            </a:extLst>
          </p:cNvPr>
          <p:cNvPicPr>
            <a:picLocks noChangeAspect="1"/>
          </p:cNvPicPr>
          <p:nvPr/>
        </p:nvPicPr>
        <p:blipFill>
          <a:blip r:embed="rId4"/>
          <a:stretch>
            <a:fillRect/>
          </a:stretch>
        </p:blipFill>
        <p:spPr>
          <a:xfrm>
            <a:off x="7861426" y="4022190"/>
            <a:ext cx="1008112" cy="587967"/>
          </a:xfrm>
          <a:prstGeom prst="rect">
            <a:avLst/>
          </a:prstGeom>
        </p:spPr>
      </p:pic>
      <p:pic>
        <p:nvPicPr>
          <p:cNvPr id="14" name="Picture 13">
            <a:extLst>
              <a:ext uri="{FF2B5EF4-FFF2-40B4-BE49-F238E27FC236}">
                <a16:creationId xmlns:a16="http://schemas.microsoft.com/office/drawing/2014/main" id="{85256265-D442-45F7-986A-D62C5A97D323}"/>
              </a:ext>
            </a:extLst>
          </p:cNvPr>
          <p:cNvPicPr>
            <a:picLocks noChangeAspect="1"/>
          </p:cNvPicPr>
          <p:nvPr/>
        </p:nvPicPr>
        <p:blipFill>
          <a:blip r:embed="rId4"/>
          <a:stretch>
            <a:fillRect/>
          </a:stretch>
        </p:blipFill>
        <p:spPr>
          <a:xfrm>
            <a:off x="10620844" y="4022189"/>
            <a:ext cx="1008112" cy="587967"/>
          </a:xfrm>
          <a:prstGeom prst="rect">
            <a:avLst/>
          </a:prstGeom>
        </p:spPr>
      </p:pic>
      <p:sp>
        <p:nvSpPr>
          <p:cNvPr id="15" name="Arrow: Right 14">
            <a:extLst>
              <a:ext uri="{FF2B5EF4-FFF2-40B4-BE49-F238E27FC236}">
                <a16:creationId xmlns:a16="http://schemas.microsoft.com/office/drawing/2014/main" id="{BB27B627-3DFF-4F99-971D-B1C2841DEB19}"/>
              </a:ext>
            </a:extLst>
          </p:cNvPr>
          <p:cNvSpPr/>
          <p:nvPr/>
        </p:nvSpPr>
        <p:spPr bwMode="auto">
          <a:xfrm>
            <a:off x="37070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5FB998D1-B87B-4F7F-9CEB-4E743B5D3ED1}"/>
              </a:ext>
            </a:extLst>
          </p:cNvPr>
          <p:cNvPicPr>
            <a:picLocks noChangeAspect="1"/>
          </p:cNvPicPr>
          <p:nvPr/>
        </p:nvPicPr>
        <p:blipFill>
          <a:blip r:embed="rId3"/>
          <a:stretch>
            <a:fillRect/>
          </a:stretch>
        </p:blipFill>
        <p:spPr>
          <a:xfrm>
            <a:off x="5426149" y="1837767"/>
            <a:ext cx="671521" cy="741365"/>
          </a:xfrm>
          <a:prstGeom prst="rect">
            <a:avLst/>
          </a:prstGeom>
        </p:spPr>
      </p:pic>
      <p:sp>
        <p:nvSpPr>
          <p:cNvPr id="17" name="TextBox 16">
            <a:extLst>
              <a:ext uri="{FF2B5EF4-FFF2-40B4-BE49-F238E27FC236}">
                <a16:creationId xmlns:a16="http://schemas.microsoft.com/office/drawing/2014/main" id="{B4E1B64E-C0A5-4DCB-ABC9-9D1236EC0E1E}"/>
              </a:ext>
            </a:extLst>
          </p:cNvPr>
          <p:cNvSpPr txBox="1"/>
          <p:nvPr/>
        </p:nvSpPr>
        <p:spPr>
          <a:xfrm>
            <a:off x="66883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18" name="Arrow: Right 17">
            <a:extLst>
              <a:ext uri="{FF2B5EF4-FFF2-40B4-BE49-F238E27FC236}">
                <a16:creationId xmlns:a16="http://schemas.microsoft.com/office/drawing/2014/main" id="{FE196ADF-1ABE-4EA8-B5CC-53EAA5699F1E}"/>
              </a:ext>
            </a:extLst>
          </p:cNvPr>
          <p:cNvSpPr/>
          <p:nvPr/>
        </p:nvSpPr>
        <p:spPr bwMode="auto">
          <a:xfrm>
            <a:off x="64307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3333505E-DF12-43A9-AAF4-1AC3311E0CA9}"/>
              </a:ext>
            </a:extLst>
          </p:cNvPr>
          <p:cNvPicPr>
            <a:picLocks noChangeAspect="1"/>
          </p:cNvPicPr>
          <p:nvPr/>
        </p:nvPicPr>
        <p:blipFill>
          <a:blip r:embed="rId3"/>
          <a:stretch>
            <a:fillRect/>
          </a:stretch>
        </p:blipFill>
        <p:spPr>
          <a:xfrm>
            <a:off x="8149849" y="1856174"/>
            <a:ext cx="671521" cy="741365"/>
          </a:xfrm>
          <a:prstGeom prst="rect">
            <a:avLst/>
          </a:prstGeom>
        </p:spPr>
      </p:pic>
      <p:sp>
        <p:nvSpPr>
          <p:cNvPr id="20" name="TextBox 19">
            <a:extLst>
              <a:ext uri="{FF2B5EF4-FFF2-40B4-BE49-F238E27FC236}">
                <a16:creationId xmlns:a16="http://schemas.microsoft.com/office/drawing/2014/main" id="{B61F036B-5586-4051-BD7C-C0D45662F5CD}"/>
              </a:ext>
            </a:extLst>
          </p:cNvPr>
          <p:cNvSpPr txBox="1"/>
          <p:nvPr/>
        </p:nvSpPr>
        <p:spPr>
          <a:xfrm>
            <a:off x="9412023" y="173177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1" name="Arrow: Right 20">
            <a:extLst>
              <a:ext uri="{FF2B5EF4-FFF2-40B4-BE49-F238E27FC236}">
                <a16:creationId xmlns:a16="http://schemas.microsoft.com/office/drawing/2014/main" id="{7B284056-2E21-4E62-AF09-F9CAE16C8699}"/>
              </a:ext>
            </a:extLst>
          </p:cNvPr>
          <p:cNvSpPr/>
          <p:nvPr/>
        </p:nvSpPr>
        <p:spPr bwMode="auto">
          <a:xfrm>
            <a:off x="9154431" y="213053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F8507C0C-7A16-40D1-BB47-390282BAA5F7}"/>
              </a:ext>
            </a:extLst>
          </p:cNvPr>
          <p:cNvPicPr>
            <a:picLocks noChangeAspect="1"/>
          </p:cNvPicPr>
          <p:nvPr/>
        </p:nvPicPr>
        <p:blipFill>
          <a:blip r:embed="rId3"/>
          <a:stretch>
            <a:fillRect/>
          </a:stretch>
        </p:blipFill>
        <p:spPr>
          <a:xfrm>
            <a:off x="10798080" y="1856173"/>
            <a:ext cx="671521" cy="741365"/>
          </a:xfrm>
          <a:prstGeom prst="rect">
            <a:avLst/>
          </a:prstGeom>
        </p:spPr>
      </p:pic>
      <p:pic>
        <p:nvPicPr>
          <p:cNvPr id="23" name="Picture 22">
            <a:extLst>
              <a:ext uri="{FF2B5EF4-FFF2-40B4-BE49-F238E27FC236}">
                <a16:creationId xmlns:a16="http://schemas.microsoft.com/office/drawing/2014/main" id="{535D3CFD-8B41-4DFE-81DC-6B3174FBF7A9}"/>
              </a:ext>
            </a:extLst>
          </p:cNvPr>
          <p:cNvPicPr>
            <a:picLocks noChangeAspect="1"/>
          </p:cNvPicPr>
          <p:nvPr/>
        </p:nvPicPr>
        <p:blipFill>
          <a:blip r:embed="rId3"/>
          <a:stretch>
            <a:fillRect/>
          </a:stretch>
        </p:blipFill>
        <p:spPr>
          <a:xfrm>
            <a:off x="2676398" y="3927084"/>
            <a:ext cx="671521" cy="741365"/>
          </a:xfrm>
          <a:prstGeom prst="rect">
            <a:avLst/>
          </a:prstGeom>
        </p:spPr>
      </p:pic>
      <p:sp>
        <p:nvSpPr>
          <p:cNvPr id="24" name="TextBox 23">
            <a:extLst>
              <a:ext uri="{FF2B5EF4-FFF2-40B4-BE49-F238E27FC236}">
                <a16:creationId xmlns:a16="http://schemas.microsoft.com/office/drawing/2014/main" id="{86933CA2-A8D1-4250-B63A-640D8A0534EF}"/>
              </a:ext>
            </a:extLst>
          </p:cNvPr>
          <p:cNvSpPr txBox="1"/>
          <p:nvPr/>
        </p:nvSpPr>
        <p:spPr>
          <a:xfrm>
            <a:off x="39385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5" name="Arrow: Right 24">
            <a:extLst>
              <a:ext uri="{FF2B5EF4-FFF2-40B4-BE49-F238E27FC236}">
                <a16:creationId xmlns:a16="http://schemas.microsoft.com/office/drawing/2014/main" id="{AD4814A0-D06C-40DE-8A45-9AC8566A4A42}"/>
              </a:ext>
            </a:extLst>
          </p:cNvPr>
          <p:cNvSpPr/>
          <p:nvPr/>
        </p:nvSpPr>
        <p:spPr bwMode="auto">
          <a:xfrm>
            <a:off x="36809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A2338703-FB3B-4676-BF5D-9298C4C0CBF6}"/>
              </a:ext>
            </a:extLst>
          </p:cNvPr>
          <p:cNvSpPr txBox="1"/>
          <p:nvPr/>
        </p:nvSpPr>
        <p:spPr>
          <a:xfrm>
            <a:off x="66622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8" name="Arrow: Right 27">
            <a:extLst>
              <a:ext uri="{FF2B5EF4-FFF2-40B4-BE49-F238E27FC236}">
                <a16:creationId xmlns:a16="http://schemas.microsoft.com/office/drawing/2014/main" id="{F6A66483-167D-4E43-898F-1F9C9E7E99A4}"/>
              </a:ext>
            </a:extLst>
          </p:cNvPr>
          <p:cNvSpPr/>
          <p:nvPr/>
        </p:nvSpPr>
        <p:spPr bwMode="auto">
          <a:xfrm>
            <a:off x="64046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D75867E8-DF42-45C4-932A-D12D43C2E1D0}"/>
              </a:ext>
            </a:extLst>
          </p:cNvPr>
          <p:cNvSpPr txBox="1"/>
          <p:nvPr/>
        </p:nvSpPr>
        <p:spPr>
          <a:xfrm>
            <a:off x="9385972" y="3821088"/>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31" name="Arrow: Right 30">
            <a:extLst>
              <a:ext uri="{FF2B5EF4-FFF2-40B4-BE49-F238E27FC236}">
                <a16:creationId xmlns:a16="http://schemas.microsoft.com/office/drawing/2014/main" id="{9D629CD5-103C-4A21-8CBA-768DCB2EF969}"/>
              </a:ext>
            </a:extLst>
          </p:cNvPr>
          <p:cNvSpPr/>
          <p:nvPr/>
        </p:nvSpPr>
        <p:spPr bwMode="auto">
          <a:xfrm>
            <a:off x="9128380" y="4219854"/>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18" descr="Image result for mapreduce logo">
            <a:extLst>
              <a:ext uri="{FF2B5EF4-FFF2-40B4-BE49-F238E27FC236}">
                <a16:creationId xmlns:a16="http://schemas.microsoft.com/office/drawing/2014/main" id="{E0E2C7A2-1002-421C-B700-8A8EB387FF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216" y="1871346"/>
            <a:ext cx="1692676" cy="5183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mage result for apache spark">
            <a:extLst>
              <a:ext uri="{FF2B5EF4-FFF2-40B4-BE49-F238E27FC236}">
                <a16:creationId xmlns:a16="http://schemas.microsoft.com/office/drawing/2014/main" id="{D13DF4AE-8720-4643-9696-20BD8D1FE5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194" y="3922885"/>
            <a:ext cx="1409551" cy="74976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05DF312D-FFCE-4D11-AA47-EDFCCFDCDC28}"/>
              </a:ext>
            </a:extLst>
          </p:cNvPr>
          <p:cNvSpPr txBox="1"/>
          <p:nvPr/>
        </p:nvSpPr>
        <p:spPr>
          <a:xfrm>
            <a:off x="2595487"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7" name="TextBox 36">
            <a:extLst>
              <a:ext uri="{FF2B5EF4-FFF2-40B4-BE49-F238E27FC236}">
                <a16:creationId xmlns:a16="http://schemas.microsoft.com/office/drawing/2014/main" id="{51582871-4FA4-4DEE-B795-7390A579BD18}"/>
              </a:ext>
            </a:extLst>
          </p:cNvPr>
          <p:cNvSpPr txBox="1"/>
          <p:nvPr/>
        </p:nvSpPr>
        <p:spPr>
          <a:xfrm>
            <a:off x="53349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8" name="TextBox 37">
            <a:extLst>
              <a:ext uri="{FF2B5EF4-FFF2-40B4-BE49-F238E27FC236}">
                <a16:creationId xmlns:a16="http://schemas.microsoft.com/office/drawing/2014/main" id="{99B369E6-1BB3-49B9-8E8B-BF42F9E8730E}"/>
              </a:ext>
            </a:extLst>
          </p:cNvPr>
          <p:cNvSpPr txBox="1"/>
          <p:nvPr/>
        </p:nvSpPr>
        <p:spPr>
          <a:xfrm>
            <a:off x="80586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9" name="TextBox 38">
            <a:extLst>
              <a:ext uri="{FF2B5EF4-FFF2-40B4-BE49-F238E27FC236}">
                <a16:creationId xmlns:a16="http://schemas.microsoft.com/office/drawing/2014/main" id="{4A8630D7-42A8-44BE-9B7B-B6391D023838}"/>
              </a:ext>
            </a:extLst>
          </p:cNvPr>
          <p:cNvSpPr txBox="1"/>
          <p:nvPr/>
        </p:nvSpPr>
        <p:spPr>
          <a:xfrm>
            <a:off x="10697924"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40" name="TextBox 39">
            <a:extLst>
              <a:ext uri="{FF2B5EF4-FFF2-40B4-BE49-F238E27FC236}">
                <a16:creationId xmlns:a16="http://schemas.microsoft.com/office/drawing/2014/main" id="{CE16F16E-A54F-46DC-8740-5A00C16BFB07}"/>
              </a:ext>
            </a:extLst>
          </p:cNvPr>
          <p:cNvSpPr txBox="1"/>
          <p:nvPr/>
        </p:nvSpPr>
        <p:spPr>
          <a:xfrm>
            <a:off x="2595487" y="4780397"/>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2" name="TextBox 31">
            <a:extLst>
              <a:ext uri="{FF2B5EF4-FFF2-40B4-BE49-F238E27FC236}">
                <a16:creationId xmlns:a16="http://schemas.microsoft.com/office/drawing/2014/main" id="{B6C79EB5-6A3F-4FFC-BB77-8A90BAB5A52E}"/>
              </a:ext>
            </a:extLst>
          </p:cNvPr>
          <p:cNvSpPr txBox="1"/>
          <p:nvPr/>
        </p:nvSpPr>
        <p:spPr>
          <a:xfrm>
            <a:off x="5243718"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1" name="TextBox 40">
            <a:extLst>
              <a:ext uri="{FF2B5EF4-FFF2-40B4-BE49-F238E27FC236}">
                <a16:creationId xmlns:a16="http://schemas.microsoft.com/office/drawing/2014/main" id="{E41B0165-C9DB-4E10-A710-D34C1FFF15B2}"/>
              </a:ext>
            </a:extLst>
          </p:cNvPr>
          <p:cNvSpPr txBox="1"/>
          <p:nvPr/>
        </p:nvSpPr>
        <p:spPr>
          <a:xfrm>
            <a:off x="7967616"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2" name="TextBox 41">
            <a:extLst>
              <a:ext uri="{FF2B5EF4-FFF2-40B4-BE49-F238E27FC236}">
                <a16:creationId xmlns:a16="http://schemas.microsoft.com/office/drawing/2014/main" id="{159F64AE-EAC6-4886-8B19-A83334B13FDE}"/>
              </a:ext>
            </a:extLst>
          </p:cNvPr>
          <p:cNvSpPr txBox="1"/>
          <p:nvPr/>
        </p:nvSpPr>
        <p:spPr>
          <a:xfrm>
            <a:off x="10735974" y="4780396"/>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Tree>
    <p:extLst>
      <p:ext uri="{BB962C8B-B14F-4D97-AF65-F5344CB8AC3E}">
        <p14:creationId xmlns:p14="http://schemas.microsoft.com/office/powerpoint/2010/main" val="15987888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BF66C-3C1A-495B-B189-5951CC51C045}"/>
              </a:ext>
            </a:extLst>
          </p:cNvPr>
          <p:cNvSpPr>
            <a:spLocks noGrp="1"/>
          </p:cNvSpPr>
          <p:nvPr>
            <p:ph type="title"/>
          </p:nvPr>
        </p:nvSpPr>
        <p:spPr/>
        <p:txBody>
          <a:bodyPr/>
          <a:lstStyle/>
          <a:p>
            <a:r>
              <a:rPr lang="en-AU" dirty="0"/>
              <a:t>Why Spark is fast</a:t>
            </a:r>
          </a:p>
        </p:txBody>
      </p:sp>
      <p:pic>
        <p:nvPicPr>
          <p:cNvPr id="3" name="Picture 2">
            <a:extLst>
              <a:ext uri="{FF2B5EF4-FFF2-40B4-BE49-F238E27FC236}">
                <a16:creationId xmlns:a16="http://schemas.microsoft.com/office/drawing/2014/main" id="{47772DCC-C0A1-4A09-9476-84EC5F01CFFB}"/>
              </a:ext>
            </a:extLst>
          </p:cNvPr>
          <p:cNvPicPr>
            <a:picLocks noChangeAspect="1"/>
          </p:cNvPicPr>
          <p:nvPr/>
        </p:nvPicPr>
        <p:blipFill>
          <a:blip r:embed="rId3"/>
          <a:stretch>
            <a:fillRect/>
          </a:stretch>
        </p:blipFill>
        <p:spPr>
          <a:xfrm>
            <a:off x="2702449" y="1837767"/>
            <a:ext cx="671521" cy="741365"/>
          </a:xfrm>
          <a:prstGeom prst="rect">
            <a:avLst/>
          </a:prstGeom>
        </p:spPr>
      </p:pic>
      <p:sp>
        <p:nvSpPr>
          <p:cNvPr id="7" name="TextBox 6">
            <a:extLst>
              <a:ext uri="{FF2B5EF4-FFF2-40B4-BE49-F238E27FC236}">
                <a16:creationId xmlns:a16="http://schemas.microsoft.com/office/drawing/2014/main" id="{3970A19B-9E25-4CBA-A11D-9CE940295918}"/>
              </a:ext>
            </a:extLst>
          </p:cNvPr>
          <p:cNvSpPr txBox="1"/>
          <p:nvPr/>
        </p:nvSpPr>
        <p:spPr>
          <a:xfrm>
            <a:off x="39646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pic>
        <p:nvPicPr>
          <p:cNvPr id="12" name="Picture 11">
            <a:extLst>
              <a:ext uri="{FF2B5EF4-FFF2-40B4-BE49-F238E27FC236}">
                <a16:creationId xmlns:a16="http://schemas.microsoft.com/office/drawing/2014/main" id="{C055D804-C24F-4105-8DD6-0C56852F053B}"/>
              </a:ext>
            </a:extLst>
          </p:cNvPr>
          <p:cNvPicPr>
            <a:picLocks noChangeAspect="1"/>
          </p:cNvPicPr>
          <p:nvPr/>
        </p:nvPicPr>
        <p:blipFill>
          <a:blip r:embed="rId4"/>
          <a:stretch>
            <a:fillRect/>
          </a:stretch>
        </p:blipFill>
        <p:spPr>
          <a:xfrm>
            <a:off x="5215041" y="4022190"/>
            <a:ext cx="1008112" cy="587967"/>
          </a:xfrm>
          <a:prstGeom prst="rect">
            <a:avLst/>
          </a:prstGeom>
        </p:spPr>
      </p:pic>
      <p:pic>
        <p:nvPicPr>
          <p:cNvPr id="13" name="Picture 12">
            <a:extLst>
              <a:ext uri="{FF2B5EF4-FFF2-40B4-BE49-F238E27FC236}">
                <a16:creationId xmlns:a16="http://schemas.microsoft.com/office/drawing/2014/main" id="{D7DE12B2-7508-4D05-8FAD-7BCEC01265BB}"/>
              </a:ext>
            </a:extLst>
          </p:cNvPr>
          <p:cNvPicPr>
            <a:picLocks noChangeAspect="1"/>
          </p:cNvPicPr>
          <p:nvPr/>
        </p:nvPicPr>
        <p:blipFill>
          <a:blip r:embed="rId4"/>
          <a:stretch>
            <a:fillRect/>
          </a:stretch>
        </p:blipFill>
        <p:spPr>
          <a:xfrm>
            <a:off x="7861426" y="4022190"/>
            <a:ext cx="1008112" cy="587967"/>
          </a:xfrm>
          <a:prstGeom prst="rect">
            <a:avLst/>
          </a:prstGeom>
        </p:spPr>
      </p:pic>
      <p:pic>
        <p:nvPicPr>
          <p:cNvPr id="14" name="Picture 13">
            <a:extLst>
              <a:ext uri="{FF2B5EF4-FFF2-40B4-BE49-F238E27FC236}">
                <a16:creationId xmlns:a16="http://schemas.microsoft.com/office/drawing/2014/main" id="{85256265-D442-45F7-986A-D62C5A97D323}"/>
              </a:ext>
            </a:extLst>
          </p:cNvPr>
          <p:cNvPicPr>
            <a:picLocks noChangeAspect="1"/>
          </p:cNvPicPr>
          <p:nvPr/>
        </p:nvPicPr>
        <p:blipFill>
          <a:blip r:embed="rId4"/>
          <a:stretch>
            <a:fillRect/>
          </a:stretch>
        </p:blipFill>
        <p:spPr>
          <a:xfrm>
            <a:off x="10620844" y="4022189"/>
            <a:ext cx="1008112" cy="587967"/>
          </a:xfrm>
          <a:prstGeom prst="rect">
            <a:avLst/>
          </a:prstGeom>
        </p:spPr>
      </p:pic>
      <p:sp>
        <p:nvSpPr>
          <p:cNvPr id="15" name="Arrow: Right 14">
            <a:extLst>
              <a:ext uri="{FF2B5EF4-FFF2-40B4-BE49-F238E27FC236}">
                <a16:creationId xmlns:a16="http://schemas.microsoft.com/office/drawing/2014/main" id="{BB27B627-3DFF-4F99-971D-B1C2841DEB19}"/>
              </a:ext>
            </a:extLst>
          </p:cNvPr>
          <p:cNvSpPr/>
          <p:nvPr/>
        </p:nvSpPr>
        <p:spPr bwMode="auto">
          <a:xfrm>
            <a:off x="37070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5FB998D1-B87B-4F7F-9CEB-4E743B5D3ED1}"/>
              </a:ext>
            </a:extLst>
          </p:cNvPr>
          <p:cNvPicPr>
            <a:picLocks noChangeAspect="1"/>
          </p:cNvPicPr>
          <p:nvPr/>
        </p:nvPicPr>
        <p:blipFill>
          <a:blip r:embed="rId3"/>
          <a:stretch>
            <a:fillRect/>
          </a:stretch>
        </p:blipFill>
        <p:spPr>
          <a:xfrm>
            <a:off x="5426149" y="1837767"/>
            <a:ext cx="671521" cy="741365"/>
          </a:xfrm>
          <a:prstGeom prst="rect">
            <a:avLst/>
          </a:prstGeom>
        </p:spPr>
      </p:pic>
      <p:sp>
        <p:nvSpPr>
          <p:cNvPr id="17" name="TextBox 16">
            <a:extLst>
              <a:ext uri="{FF2B5EF4-FFF2-40B4-BE49-F238E27FC236}">
                <a16:creationId xmlns:a16="http://schemas.microsoft.com/office/drawing/2014/main" id="{B4E1B64E-C0A5-4DCB-ABC9-9D1236EC0E1E}"/>
              </a:ext>
            </a:extLst>
          </p:cNvPr>
          <p:cNvSpPr txBox="1"/>
          <p:nvPr/>
        </p:nvSpPr>
        <p:spPr>
          <a:xfrm>
            <a:off x="6688323" y="1713364"/>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18" name="Arrow: Right 17">
            <a:extLst>
              <a:ext uri="{FF2B5EF4-FFF2-40B4-BE49-F238E27FC236}">
                <a16:creationId xmlns:a16="http://schemas.microsoft.com/office/drawing/2014/main" id="{FE196ADF-1ABE-4EA8-B5CC-53EAA5699F1E}"/>
              </a:ext>
            </a:extLst>
          </p:cNvPr>
          <p:cNvSpPr/>
          <p:nvPr/>
        </p:nvSpPr>
        <p:spPr bwMode="auto">
          <a:xfrm>
            <a:off x="6430731" y="2112130"/>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a:extLst>
              <a:ext uri="{FF2B5EF4-FFF2-40B4-BE49-F238E27FC236}">
                <a16:creationId xmlns:a16="http://schemas.microsoft.com/office/drawing/2014/main" id="{3333505E-DF12-43A9-AAF4-1AC3311E0CA9}"/>
              </a:ext>
            </a:extLst>
          </p:cNvPr>
          <p:cNvPicPr>
            <a:picLocks noChangeAspect="1"/>
          </p:cNvPicPr>
          <p:nvPr/>
        </p:nvPicPr>
        <p:blipFill>
          <a:blip r:embed="rId3"/>
          <a:stretch>
            <a:fillRect/>
          </a:stretch>
        </p:blipFill>
        <p:spPr>
          <a:xfrm>
            <a:off x="8149849" y="1856174"/>
            <a:ext cx="671521" cy="741365"/>
          </a:xfrm>
          <a:prstGeom prst="rect">
            <a:avLst/>
          </a:prstGeom>
        </p:spPr>
      </p:pic>
      <p:sp>
        <p:nvSpPr>
          <p:cNvPr id="20" name="TextBox 19">
            <a:extLst>
              <a:ext uri="{FF2B5EF4-FFF2-40B4-BE49-F238E27FC236}">
                <a16:creationId xmlns:a16="http://schemas.microsoft.com/office/drawing/2014/main" id="{B61F036B-5586-4051-BD7C-C0D45662F5CD}"/>
              </a:ext>
            </a:extLst>
          </p:cNvPr>
          <p:cNvSpPr txBox="1"/>
          <p:nvPr/>
        </p:nvSpPr>
        <p:spPr>
          <a:xfrm>
            <a:off x="9412023" y="173177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1" name="Arrow: Right 20">
            <a:extLst>
              <a:ext uri="{FF2B5EF4-FFF2-40B4-BE49-F238E27FC236}">
                <a16:creationId xmlns:a16="http://schemas.microsoft.com/office/drawing/2014/main" id="{7B284056-2E21-4E62-AF09-F9CAE16C8699}"/>
              </a:ext>
            </a:extLst>
          </p:cNvPr>
          <p:cNvSpPr/>
          <p:nvPr/>
        </p:nvSpPr>
        <p:spPr bwMode="auto">
          <a:xfrm>
            <a:off x="9154431" y="213053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a:extLst>
              <a:ext uri="{FF2B5EF4-FFF2-40B4-BE49-F238E27FC236}">
                <a16:creationId xmlns:a16="http://schemas.microsoft.com/office/drawing/2014/main" id="{F8507C0C-7A16-40D1-BB47-390282BAA5F7}"/>
              </a:ext>
            </a:extLst>
          </p:cNvPr>
          <p:cNvPicPr>
            <a:picLocks noChangeAspect="1"/>
          </p:cNvPicPr>
          <p:nvPr/>
        </p:nvPicPr>
        <p:blipFill>
          <a:blip r:embed="rId3"/>
          <a:stretch>
            <a:fillRect/>
          </a:stretch>
        </p:blipFill>
        <p:spPr>
          <a:xfrm>
            <a:off x="10798080" y="1856173"/>
            <a:ext cx="671521" cy="741365"/>
          </a:xfrm>
          <a:prstGeom prst="rect">
            <a:avLst/>
          </a:prstGeom>
        </p:spPr>
      </p:pic>
      <p:pic>
        <p:nvPicPr>
          <p:cNvPr id="23" name="Picture 22">
            <a:extLst>
              <a:ext uri="{FF2B5EF4-FFF2-40B4-BE49-F238E27FC236}">
                <a16:creationId xmlns:a16="http://schemas.microsoft.com/office/drawing/2014/main" id="{535D3CFD-8B41-4DFE-81DC-6B3174FBF7A9}"/>
              </a:ext>
            </a:extLst>
          </p:cNvPr>
          <p:cNvPicPr>
            <a:picLocks noChangeAspect="1"/>
          </p:cNvPicPr>
          <p:nvPr/>
        </p:nvPicPr>
        <p:blipFill>
          <a:blip r:embed="rId3"/>
          <a:stretch>
            <a:fillRect/>
          </a:stretch>
        </p:blipFill>
        <p:spPr>
          <a:xfrm>
            <a:off x="2676398" y="3927084"/>
            <a:ext cx="671521" cy="741365"/>
          </a:xfrm>
          <a:prstGeom prst="rect">
            <a:avLst/>
          </a:prstGeom>
        </p:spPr>
      </p:pic>
      <p:sp>
        <p:nvSpPr>
          <p:cNvPr id="24" name="TextBox 23">
            <a:extLst>
              <a:ext uri="{FF2B5EF4-FFF2-40B4-BE49-F238E27FC236}">
                <a16:creationId xmlns:a16="http://schemas.microsoft.com/office/drawing/2014/main" id="{86933CA2-A8D1-4250-B63A-640D8A0534EF}"/>
              </a:ext>
            </a:extLst>
          </p:cNvPr>
          <p:cNvSpPr txBox="1"/>
          <p:nvPr/>
        </p:nvSpPr>
        <p:spPr>
          <a:xfrm>
            <a:off x="39385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5" name="Arrow: Right 24">
            <a:extLst>
              <a:ext uri="{FF2B5EF4-FFF2-40B4-BE49-F238E27FC236}">
                <a16:creationId xmlns:a16="http://schemas.microsoft.com/office/drawing/2014/main" id="{AD4814A0-D06C-40DE-8A45-9AC8566A4A42}"/>
              </a:ext>
            </a:extLst>
          </p:cNvPr>
          <p:cNvSpPr/>
          <p:nvPr/>
        </p:nvSpPr>
        <p:spPr bwMode="auto">
          <a:xfrm>
            <a:off x="36809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a:extLst>
              <a:ext uri="{FF2B5EF4-FFF2-40B4-BE49-F238E27FC236}">
                <a16:creationId xmlns:a16="http://schemas.microsoft.com/office/drawing/2014/main" id="{A2338703-FB3B-4676-BF5D-9298C4C0CBF6}"/>
              </a:ext>
            </a:extLst>
          </p:cNvPr>
          <p:cNvSpPr txBox="1"/>
          <p:nvPr/>
        </p:nvSpPr>
        <p:spPr>
          <a:xfrm>
            <a:off x="6662272" y="3802681"/>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28" name="Arrow: Right 27">
            <a:extLst>
              <a:ext uri="{FF2B5EF4-FFF2-40B4-BE49-F238E27FC236}">
                <a16:creationId xmlns:a16="http://schemas.microsoft.com/office/drawing/2014/main" id="{F6A66483-167D-4E43-898F-1F9C9E7E99A4}"/>
              </a:ext>
            </a:extLst>
          </p:cNvPr>
          <p:cNvSpPr/>
          <p:nvPr/>
        </p:nvSpPr>
        <p:spPr bwMode="auto">
          <a:xfrm>
            <a:off x="6404680" y="4201447"/>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TextBox 29">
            <a:extLst>
              <a:ext uri="{FF2B5EF4-FFF2-40B4-BE49-F238E27FC236}">
                <a16:creationId xmlns:a16="http://schemas.microsoft.com/office/drawing/2014/main" id="{D75867E8-DF42-45C4-932A-D12D43C2E1D0}"/>
              </a:ext>
            </a:extLst>
          </p:cNvPr>
          <p:cNvSpPr txBox="1"/>
          <p:nvPr/>
        </p:nvSpPr>
        <p:spPr>
          <a:xfrm>
            <a:off x="9385972" y="3821088"/>
            <a:ext cx="851195" cy="572464"/>
          </a:xfrm>
          <a:prstGeom prst="rect">
            <a:avLst/>
          </a:prstGeom>
          <a:noFill/>
        </p:spPr>
        <p:txBody>
          <a:bodyPr wrap="none" lIns="182880" tIns="146304" rIns="182880" bIns="146304" rtlCol="0">
            <a:spAutoFit/>
          </a:bodyPr>
          <a:lstStyle/>
          <a:p>
            <a:pPr>
              <a:lnSpc>
                <a:spcPct val="90000"/>
              </a:lnSpc>
              <a:spcAft>
                <a:spcPts val="600"/>
              </a:spcAft>
            </a:pPr>
            <a:r>
              <a:rPr lang="en-AU" sz="2000" dirty="0">
                <a:gradFill>
                  <a:gsLst>
                    <a:gs pos="2917">
                      <a:schemeClr val="tx1"/>
                    </a:gs>
                    <a:gs pos="30000">
                      <a:schemeClr val="tx1"/>
                    </a:gs>
                  </a:gsLst>
                  <a:lin ang="5400000" scaled="0"/>
                </a:gradFill>
              </a:rPr>
              <a:t>Step</a:t>
            </a:r>
          </a:p>
        </p:txBody>
      </p:sp>
      <p:sp>
        <p:nvSpPr>
          <p:cNvPr id="31" name="Arrow: Right 30">
            <a:extLst>
              <a:ext uri="{FF2B5EF4-FFF2-40B4-BE49-F238E27FC236}">
                <a16:creationId xmlns:a16="http://schemas.microsoft.com/office/drawing/2014/main" id="{9D629CD5-103C-4A21-8CBA-768DCB2EF969}"/>
              </a:ext>
            </a:extLst>
          </p:cNvPr>
          <p:cNvSpPr/>
          <p:nvPr/>
        </p:nvSpPr>
        <p:spPr bwMode="auto">
          <a:xfrm>
            <a:off x="9128380" y="4219854"/>
            <a:ext cx="1386057" cy="192640"/>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3" name="Picture 18" descr="Image result for mapreduce logo">
            <a:extLst>
              <a:ext uri="{FF2B5EF4-FFF2-40B4-BE49-F238E27FC236}">
                <a16:creationId xmlns:a16="http://schemas.microsoft.com/office/drawing/2014/main" id="{E0E2C7A2-1002-421C-B700-8A8EB387FF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216" y="1871346"/>
            <a:ext cx="1692676" cy="5183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mage result for apache spark">
            <a:extLst>
              <a:ext uri="{FF2B5EF4-FFF2-40B4-BE49-F238E27FC236}">
                <a16:creationId xmlns:a16="http://schemas.microsoft.com/office/drawing/2014/main" id="{D13DF4AE-8720-4643-9696-20BD8D1FE5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194" y="3922885"/>
            <a:ext cx="1409551" cy="74976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05DF312D-FFCE-4D11-AA47-EDFCCFDCDC28}"/>
              </a:ext>
            </a:extLst>
          </p:cNvPr>
          <p:cNvSpPr txBox="1"/>
          <p:nvPr/>
        </p:nvSpPr>
        <p:spPr>
          <a:xfrm>
            <a:off x="2595487"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7" name="TextBox 36">
            <a:extLst>
              <a:ext uri="{FF2B5EF4-FFF2-40B4-BE49-F238E27FC236}">
                <a16:creationId xmlns:a16="http://schemas.microsoft.com/office/drawing/2014/main" id="{51582871-4FA4-4DEE-B795-7390A579BD18}"/>
              </a:ext>
            </a:extLst>
          </p:cNvPr>
          <p:cNvSpPr txBox="1"/>
          <p:nvPr/>
        </p:nvSpPr>
        <p:spPr>
          <a:xfrm>
            <a:off x="53349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8" name="TextBox 37">
            <a:extLst>
              <a:ext uri="{FF2B5EF4-FFF2-40B4-BE49-F238E27FC236}">
                <a16:creationId xmlns:a16="http://schemas.microsoft.com/office/drawing/2014/main" id="{99B369E6-1BB3-49B9-8E8B-BF42F9E8730E}"/>
              </a:ext>
            </a:extLst>
          </p:cNvPr>
          <p:cNvSpPr txBox="1"/>
          <p:nvPr/>
        </p:nvSpPr>
        <p:spPr>
          <a:xfrm>
            <a:off x="8058633"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9" name="TextBox 38">
            <a:extLst>
              <a:ext uri="{FF2B5EF4-FFF2-40B4-BE49-F238E27FC236}">
                <a16:creationId xmlns:a16="http://schemas.microsoft.com/office/drawing/2014/main" id="{4A8630D7-42A8-44BE-9B7B-B6391D023838}"/>
              </a:ext>
            </a:extLst>
          </p:cNvPr>
          <p:cNvSpPr txBox="1"/>
          <p:nvPr/>
        </p:nvSpPr>
        <p:spPr>
          <a:xfrm>
            <a:off x="10697924" y="2579132"/>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40" name="TextBox 39">
            <a:extLst>
              <a:ext uri="{FF2B5EF4-FFF2-40B4-BE49-F238E27FC236}">
                <a16:creationId xmlns:a16="http://schemas.microsoft.com/office/drawing/2014/main" id="{CE16F16E-A54F-46DC-8740-5A00C16BFB07}"/>
              </a:ext>
            </a:extLst>
          </p:cNvPr>
          <p:cNvSpPr txBox="1"/>
          <p:nvPr/>
        </p:nvSpPr>
        <p:spPr>
          <a:xfrm>
            <a:off x="2595487" y="4780397"/>
            <a:ext cx="853952"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HDFS</a:t>
            </a:r>
          </a:p>
        </p:txBody>
      </p:sp>
      <p:sp>
        <p:nvSpPr>
          <p:cNvPr id="36" name="TextBox 35">
            <a:extLst>
              <a:ext uri="{FF2B5EF4-FFF2-40B4-BE49-F238E27FC236}">
                <a16:creationId xmlns:a16="http://schemas.microsoft.com/office/drawing/2014/main" id="{670AADB6-170E-4DCA-8AC7-2816D109B855}"/>
              </a:ext>
            </a:extLst>
          </p:cNvPr>
          <p:cNvSpPr txBox="1"/>
          <p:nvPr/>
        </p:nvSpPr>
        <p:spPr>
          <a:xfrm>
            <a:off x="6269238" y="3176291"/>
            <a:ext cx="909544"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Cache</a:t>
            </a:r>
          </a:p>
        </p:txBody>
      </p:sp>
      <p:sp>
        <p:nvSpPr>
          <p:cNvPr id="4" name="Speech Bubble: Rectangle 3">
            <a:extLst>
              <a:ext uri="{FF2B5EF4-FFF2-40B4-BE49-F238E27FC236}">
                <a16:creationId xmlns:a16="http://schemas.microsoft.com/office/drawing/2014/main" id="{15CA40FF-30E8-4DEB-98DA-653976AEB803}"/>
              </a:ext>
            </a:extLst>
          </p:cNvPr>
          <p:cNvSpPr/>
          <p:nvPr/>
        </p:nvSpPr>
        <p:spPr bwMode="auto">
          <a:xfrm>
            <a:off x="7609566" y="3176290"/>
            <a:ext cx="1399119" cy="638395"/>
          </a:xfrm>
          <a:prstGeom prst="wedgeRectCallout">
            <a:avLst>
              <a:gd name="adj1" fmla="val -22500"/>
              <a:gd name="adj2" fmla="val 93808"/>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AU" sz="2800" dirty="0">
                <a:gradFill>
                  <a:gsLst>
                    <a:gs pos="0">
                      <a:srgbClr val="FFFFFF"/>
                    </a:gs>
                    <a:gs pos="100000">
                      <a:srgbClr val="FFFFFF"/>
                    </a:gs>
                  </a:gsLst>
                  <a:lin ang="5400000" scaled="0"/>
                </a:gradFill>
                <a:ea typeface="Segoe UI" pitchFamily="34" charset="0"/>
                <a:cs typeface="Segoe UI" pitchFamily="34" charset="0"/>
              </a:rPr>
              <a:t>Cache</a:t>
            </a:r>
          </a:p>
        </p:txBody>
      </p:sp>
      <p:sp>
        <p:nvSpPr>
          <p:cNvPr id="32" name="TextBox 31">
            <a:extLst>
              <a:ext uri="{FF2B5EF4-FFF2-40B4-BE49-F238E27FC236}">
                <a16:creationId xmlns:a16="http://schemas.microsoft.com/office/drawing/2014/main" id="{918446A3-4F5B-4867-8779-F2E543B9D36A}"/>
              </a:ext>
            </a:extLst>
          </p:cNvPr>
          <p:cNvSpPr txBox="1"/>
          <p:nvPr/>
        </p:nvSpPr>
        <p:spPr>
          <a:xfrm>
            <a:off x="5243718"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1" name="TextBox 40">
            <a:extLst>
              <a:ext uri="{FF2B5EF4-FFF2-40B4-BE49-F238E27FC236}">
                <a16:creationId xmlns:a16="http://schemas.microsoft.com/office/drawing/2014/main" id="{F8A1009B-F69C-4701-8CB0-72A2151EB1E1}"/>
              </a:ext>
            </a:extLst>
          </p:cNvPr>
          <p:cNvSpPr txBox="1"/>
          <p:nvPr/>
        </p:nvSpPr>
        <p:spPr>
          <a:xfrm>
            <a:off x="7967616" y="4780397"/>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
        <p:nvSpPr>
          <p:cNvPr id="42" name="TextBox 41">
            <a:extLst>
              <a:ext uri="{FF2B5EF4-FFF2-40B4-BE49-F238E27FC236}">
                <a16:creationId xmlns:a16="http://schemas.microsoft.com/office/drawing/2014/main" id="{0BED3B2C-C500-4A4D-8EDD-6C66993DFB1B}"/>
              </a:ext>
            </a:extLst>
          </p:cNvPr>
          <p:cNvSpPr txBox="1"/>
          <p:nvPr/>
        </p:nvSpPr>
        <p:spPr>
          <a:xfrm>
            <a:off x="10735974" y="4780396"/>
            <a:ext cx="795731" cy="517065"/>
          </a:xfrm>
          <a:prstGeom prst="rect">
            <a:avLst/>
          </a:prstGeom>
          <a:noFill/>
        </p:spPr>
        <p:txBody>
          <a:bodyPr wrap="none" lIns="182880" tIns="146304" rIns="182880" bIns="146304" rtlCol="0">
            <a:spAutoFit/>
          </a:bodyPr>
          <a:lstStyle/>
          <a:p>
            <a:pPr>
              <a:lnSpc>
                <a:spcPct val="90000"/>
              </a:lnSpc>
              <a:spcAft>
                <a:spcPts val="600"/>
              </a:spcAft>
            </a:pPr>
            <a:r>
              <a:rPr lang="en-AU" sz="1600" dirty="0">
                <a:gradFill>
                  <a:gsLst>
                    <a:gs pos="2917">
                      <a:schemeClr val="tx1"/>
                    </a:gs>
                    <a:gs pos="30000">
                      <a:schemeClr val="tx1"/>
                    </a:gs>
                  </a:gsLst>
                  <a:lin ang="5400000" scaled="0"/>
                </a:gradFill>
              </a:rPr>
              <a:t>RAM</a:t>
            </a:r>
          </a:p>
        </p:txBody>
      </p:sp>
    </p:spTree>
    <p:extLst>
      <p:ext uri="{BB962C8B-B14F-4D97-AF65-F5344CB8AC3E}">
        <p14:creationId xmlns:p14="http://schemas.microsoft.com/office/powerpoint/2010/main" val="12818812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0.potx" id="{17662C09-4D96-42AE-AE74-219D1A618C70}" vid="{1C005FCB-3EFD-459A-9B3C-100EE6B65A57}"/>
    </a:ext>
  </a:extLst>
</a:theme>
</file>

<file path=ppt/theme/theme2.xml><?xml version="1.0" encoding="utf-8"?>
<a:theme xmlns:a="http://schemas.openxmlformats.org/drawingml/2006/main" name="LIGHT GRAY TEMPLATE">
  <a:themeElements>
    <a:clrScheme name="BT - Dark Blue - Light gray background">
      <a:dk1>
        <a:srgbClr val="353535"/>
      </a:dk1>
      <a:lt1>
        <a:srgbClr val="FFFFFF"/>
      </a:lt1>
      <a:dk2>
        <a:srgbClr val="002050"/>
      </a:dk2>
      <a:lt2>
        <a:srgbClr val="E6E6E6"/>
      </a:lt2>
      <a:accent1>
        <a:srgbClr val="002050"/>
      </a:accent1>
      <a:accent2>
        <a:srgbClr val="0078D7"/>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0.potx" id="{17662C09-4D96-42AE-AE74-219D1A618C70}" vid="{95337A88-F4DF-4C60-8E6B-1CC04ADFC789}"/>
    </a:ext>
  </a:extLst>
</a:theme>
</file>

<file path=ppt/theme/theme3.xml><?xml version="1.0" encoding="utf-8"?>
<a:theme xmlns:a="http://schemas.openxmlformats.org/drawingml/2006/main" name="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10.potx" id="{17662C09-4D96-42AE-AE74-219D1A618C70}" vid="{6DAD0A7F-D469-4B06-AC33-D846E2F82413}"/>
    </a:ext>
  </a:extLst>
</a:theme>
</file>

<file path=ppt/theme/theme4.xml><?xml version="1.0" encoding="utf-8"?>
<a:theme xmlns:a="http://schemas.openxmlformats.org/drawingml/2006/main" name="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purl.org/dc/terms/"/>
    <ds:schemaRef ds:uri="http://schemas.openxmlformats.org/package/2006/metadata/core-properties"/>
    <ds:schemaRef ds:uri="630a2e83-186a-4a0f-ab27-bee8a8096abc"/>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330841A-A209-44E7-824E-9DDB4DE0DC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6-9_Business_DK_BLUE_2017_10</Template>
  <TotalTime>19413</TotalTime>
  <Words>2689</Words>
  <Application>Microsoft Office PowerPoint</Application>
  <PresentationFormat>Custom</PresentationFormat>
  <Paragraphs>584</Paragraphs>
  <Slides>44</Slides>
  <Notes>41</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64" baseType="lpstr">
      <vt:lpstr>MS PGothic</vt:lpstr>
      <vt:lpstr>Arial</vt:lpstr>
      <vt:lpstr>Calibri</vt:lpstr>
      <vt:lpstr>Calibri Light</vt:lpstr>
      <vt:lpstr>Consolas</vt:lpstr>
      <vt:lpstr>Courier New</vt:lpstr>
      <vt:lpstr>Segoe UI</vt:lpstr>
      <vt:lpstr>Segoe UI Light</vt:lpstr>
      <vt:lpstr>Segoe UI Semibold</vt:lpstr>
      <vt:lpstr>Segoe UI Semilight</vt:lpstr>
      <vt:lpstr>Source Sans Pro</vt:lpstr>
      <vt:lpstr>Source Sans Pro Light</vt:lpstr>
      <vt:lpstr>Source Sans Pro SemiBold</vt:lpstr>
      <vt:lpstr>Wingdings</vt:lpstr>
      <vt:lpstr>Wingdings 3</vt:lpstr>
      <vt:lpstr>WHITE TEMPLATE</vt:lpstr>
      <vt:lpstr>LIGHT GRAY TEMPLATE</vt:lpstr>
      <vt:lpstr>DARK GRAY TEMPLATE</vt:lpstr>
      <vt:lpstr>5-50173_Microsoft_Ready_Light_Template</vt:lpstr>
      <vt:lpstr>think-cell Slide</vt:lpstr>
      <vt:lpstr>Spark as a service with Azure Databricks</vt:lpstr>
      <vt:lpstr>Session objective</vt:lpstr>
      <vt:lpstr>Hello, I’m Lace</vt:lpstr>
      <vt:lpstr>Agenda</vt:lpstr>
      <vt:lpstr>Spark Fundamentals</vt:lpstr>
      <vt:lpstr>PowerPoint Presentation</vt:lpstr>
      <vt:lpstr>Apache Spark</vt:lpstr>
      <vt:lpstr>Why Spark is fast</vt:lpstr>
      <vt:lpstr>Why Spark is fast</vt:lpstr>
      <vt:lpstr>Why Spark is fast</vt:lpstr>
      <vt:lpstr>Apache Spark: APIs</vt:lpstr>
      <vt:lpstr>Transformations and Actions</vt:lpstr>
      <vt:lpstr>Transformations and Actions</vt:lpstr>
      <vt:lpstr>Inside a Spark Application</vt:lpstr>
      <vt:lpstr>Azure Databricks Spark as a managed service on Azure</vt:lpstr>
      <vt:lpstr>Azure Databricks</vt:lpstr>
      <vt:lpstr>Demo</vt:lpstr>
      <vt:lpstr>Hidden Technical Debt in ML Systems</vt:lpstr>
      <vt:lpstr>PowerPoint Presentation</vt:lpstr>
      <vt:lpstr>Azure Integration</vt:lpstr>
      <vt:lpstr>Databricks Core Concepts</vt:lpstr>
      <vt:lpstr>Databricks Core Concepts</vt:lpstr>
      <vt:lpstr>Databricks File System (DBFS)</vt:lpstr>
      <vt:lpstr>Demo</vt:lpstr>
      <vt:lpstr>Movie Recommendation System</vt:lpstr>
      <vt:lpstr>Demo Architecture</vt:lpstr>
      <vt:lpstr>Spark SQL</vt:lpstr>
      <vt:lpstr>Demo</vt:lpstr>
      <vt:lpstr>Spark Structured Streaming</vt:lpstr>
      <vt:lpstr>Demo Architecture</vt:lpstr>
      <vt:lpstr>Demo</vt:lpstr>
      <vt:lpstr>Spark MLlib</vt:lpstr>
      <vt:lpstr>Demo Architecture</vt:lpstr>
      <vt:lpstr>Demo</vt:lpstr>
      <vt:lpstr>Productionizing Machine Learning Workloads</vt:lpstr>
      <vt:lpstr>Demo Architecture</vt:lpstr>
      <vt:lpstr>Demo</vt:lpstr>
      <vt:lpstr>Visualize with Dashboards</vt:lpstr>
      <vt:lpstr>Demo Architecture</vt:lpstr>
      <vt:lpstr>Demo</vt:lpstr>
      <vt:lpstr>Try the demo!</vt:lpstr>
      <vt:lpstr>More resources</vt:lpstr>
      <vt:lpstr>Thank you!</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Lace Lofranco</dc:creator>
  <cp:keywords/>
  <dc:description>Template: _x000d_
Formatting: _x000d_
Audience Type:</dc:description>
  <cp:lastModifiedBy>Lace Lofranco</cp:lastModifiedBy>
  <cp:revision>135</cp:revision>
  <dcterms:created xsi:type="dcterms:W3CDTF">2018-01-23T07:14:31Z</dcterms:created>
  <dcterms:modified xsi:type="dcterms:W3CDTF">2018-04-20T14:3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lalofran@microsoft.com</vt:lpwstr>
  </property>
  <property fmtid="{D5CDD505-2E9C-101B-9397-08002B2CF9AE}" pid="14" name="MSIP_Label_f42aa342-8706-4288-bd11-ebb85995028c_SetDate">
    <vt:lpwstr>2018-01-23T07:14:40.5258466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